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comments/modernComment_7FFE68D6_D5871361.xml" ContentType="application/vnd.ms-powerpoint.comments+xml"/>
  <Override PartName="/ppt/charts/chart3.xml" ContentType="application/vnd.openxmlformats-officedocument.drawingml.chart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charts/chart4.xml" ContentType="application/vnd.openxmlformats-officedocument.drawingml.chart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tags/tag220.xml" ContentType="application/vnd.openxmlformats-officedocument.presentationml.tags+xml"/>
  <Override PartName="/ppt/notesSlides/notesSlide2.xml" ContentType="application/vnd.openxmlformats-officedocument.presentationml.notesSlide+xml"/>
  <Override PartName="/ppt/tags/tag221.xml" ContentType="application/vnd.openxmlformats-officedocument.presentationml.tags+xml"/>
  <Override PartName="/ppt/notesSlides/notesSlide3.xml" ContentType="application/vnd.openxmlformats-officedocument.presentationml.notesSlide+xml"/>
  <Override PartName="/ppt/tags/tag222.xml" ContentType="application/vnd.openxmlformats-officedocument.presentationml.tags+xml"/>
  <Override PartName="/ppt/notesSlides/notesSlide4.xml" ContentType="application/vnd.openxmlformats-officedocument.presentationml.notesSlide+xml"/>
  <Override PartName="/ppt/tags/tag22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2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4"/>
    <p:sldMasterId id="2147483735" r:id="rId5"/>
  </p:sldMasterIdLst>
  <p:notesMasterIdLst>
    <p:notesMasterId r:id="rId24"/>
  </p:notesMasterIdLst>
  <p:sldIdLst>
    <p:sldId id="2062411715" r:id="rId6"/>
    <p:sldId id="2147379408" r:id="rId7"/>
    <p:sldId id="2147379404" r:id="rId8"/>
    <p:sldId id="2147379414" r:id="rId9"/>
    <p:sldId id="2147379426" r:id="rId10"/>
    <p:sldId id="2147379416" r:id="rId11"/>
    <p:sldId id="2147379424" r:id="rId12"/>
    <p:sldId id="2147379400" r:id="rId13"/>
    <p:sldId id="2147379406" r:id="rId14"/>
    <p:sldId id="2147379401" r:id="rId15"/>
    <p:sldId id="2147379418" r:id="rId16"/>
    <p:sldId id="2147379417" r:id="rId17"/>
    <p:sldId id="2147379419" r:id="rId18"/>
    <p:sldId id="2147379420" r:id="rId19"/>
    <p:sldId id="2147379421" r:id="rId20"/>
    <p:sldId id="2147379422" r:id="rId21"/>
    <p:sldId id="2147379423" r:id="rId22"/>
    <p:sldId id="2147379371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2A00491-8873-4E8F-8146-828DAF2D9A25}">
          <p14:sldIdLst>
            <p14:sldId id="2062411715"/>
            <p14:sldId id="2147379408"/>
            <p14:sldId id="2147379404"/>
            <p14:sldId id="2147379414"/>
            <p14:sldId id="2147379426"/>
            <p14:sldId id="2147379416"/>
            <p14:sldId id="2147379424"/>
            <p14:sldId id="2147379400"/>
            <p14:sldId id="2147379406"/>
            <p14:sldId id="2147379401"/>
            <p14:sldId id="2147379418"/>
            <p14:sldId id="2147379417"/>
            <p14:sldId id="2147379419"/>
            <p14:sldId id="2147379420"/>
            <p14:sldId id="2147379421"/>
            <p14:sldId id="2147379422"/>
            <p14:sldId id="2147379423"/>
            <p14:sldId id="2147379371"/>
          </p14:sldIdLst>
        </p14:section>
      </p14:sectionLst>
    </p:ext>
    <p:ext uri="{EFAFB233-063F-42B5-8137-9DF3F51BA10A}">
      <p15:sldGuideLst xmlns:p15="http://schemas.microsoft.com/office/powerpoint/2012/main">
        <p15:guide id="6" pos="7368" userDrawn="1">
          <p15:clr>
            <a:srgbClr val="A4A3A4"/>
          </p15:clr>
        </p15:guide>
        <p15:guide id="8" orient="horz" pos="864" userDrawn="1">
          <p15:clr>
            <a:srgbClr val="A4A3A4"/>
          </p15:clr>
        </p15:guide>
        <p15:guide id="9" orient="horz" pos="4048" userDrawn="1">
          <p15:clr>
            <a:srgbClr val="A4A3A4"/>
          </p15:clr>
        </p15:guide>
        <p15:guide id="10" pos="296" userDrawn="1">
          <p15:clr>
            <a:srgbClr val="A4A3A4"/>
          </p15:clr>
        </p15:guide>
        <p15:guide id="11" orient="horz" pos="720" userDrawn="1">
          <p15:clr>
            <a:srgbClr val="A4A3A4"/>
          </p15:clr>
        </p15:guide>
        <p15:guide id="12" orient="horz" pos="1011" userDrawn="1">
          <p15:clr>
            <a:srgbClr val="A4A3A4"/>
          </p15:clr>
        </p15:guide>
        <p15:guide id="13" pos="7404" userDrawn="1">
          <p15:clr>
            <a:srgbClr val="A4A3A4"/>
          </p15:clr>
        </p15:guide>
        <p15:guide id="14" pos="4476" userDrawn="1">
          <p15:clr>
            <a:srgbClr val="A4A3A4"/>
          </p15:clr>
        </p15:guide>
        <p15:guide id="15" pos="7401" userDrawn="1">
          <p15:clr>
            <a:srgbClr val="A4A3A4"/>
          </p15:clr>
        </p15:guide>
        <p15:guide id="16" pos="535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018CC5D-4DC0-C959-A05C-2412BFEA1F92}" name="Sekgota, Khutso" initials="SK" userId="S::khutso.sekgota@hatch.com::a0375046-58ca-4a89-bd34-1f5efbd05e4f" providerId="AD"/>
  <p188:author id="{1E90807F-E8CF-DF25-600F-2B5AB3D4F194}" name="De Villa, Gino" initials="DVG" userId="S::gino.devilla@hatch.com::bdc41c54-d53c-4349-b04f-b51f1d2e24df" providerId="AD"/>
  <p188:author id="{EF5949CD-BE65-7B65-5612-78C5BA636397}" name="Elder, John" initials="EJ" userId="S::john.elder@hatch.com::af14bc5d-bd60-4e40-8469-fc15d0c19a90" providerId="AD"/>
  <p188:author id="{D140CBF5-557A-09A7-06B0-B569BD57910F}" name="Chagwedera, Taona" initials="CT" userId="S::taona.chagwedera@hatch.com::a2eb7365-7662-46ce-bee1-3106c891aa7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utty, Matthew" initials="TM" lastIdx="3" clrIdx="0">
    <p:extLst>
      <p:ext uri="{19B8F6BF-5375-455C-9EA6-DF929625EA0E}">
        <p15:presenceInfo xmlns:p15="http://schemas.microsoft.com/office/powerpoint/2012/main" userId="S::matthew.tutty@hatch.com::64d080b9-a4fc-44e9-b845-f386c805850b" providerId="AD"/>
      </p:ext>
    </p:extLst>
  </p:cmAuthor>
  <p:cmAuthor id="2" name="De Villa, Gino" initials="DVG" lastIdx="7" clrIdx="1">
    <p:extLst>
      <p:ext uri="{19B8F6BF-5375-455C-9EA6-DF929625EA0E}">
        <p15:presenceInfo xmlns:p15="http://schemas.microsoft.com/office/powerpoint/2012/main" userId="S::gino.devilla@hatch.com::bdc41c54-d53c-4349-b04f-b51f1d2e24df" providerId="AD"/>
      </p:ext>
    </p:extLst>
  </p:cmAuthor>
  <p:cmAuthor id="3" name="Edou, Edwin" initials="EE" lastIdx="4" clrIdx="2">
    <p:extLst>
      <p:ext uri="{19B8F6BF-5375-455C-9EA6-DF929625EA0E}">
        <p15:presenceInfo xmlns:p15="http://schemas.microsoft.com/office/powerpoint/2012/main" userId="S::edwin.edou@hatch.com::4a491ce0-c9ce-4cf6-938f-a2a51516ab6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4B37"/>
    <a:srgbClr val="DBDBDB"/>
    <a:srgbClr val="ACBCC8"/>
    <a:srgbClr val="DADADA"/>
    <a:srgbClr val="6F8DB9"/>
    <a:srgbClr val="E7E6E6"/>
    <a:srgbClr val="C0C0C0"/>
    <a:srgbClr val="929DA5"/>
    <a:srgbClr val="FFC00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B1A4B5-8957-48D4-B926-E5B30A118811}" v="5044" dt="2023-05-31T07:04:35.98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66"/>
    <p:restoredTop sz="95380" autoAdjust="0"/>
  </p:normalViewPr>
  <p:slideViewPr>
    <p:cSldViewPr snapToGrid="0">
      <p:cViewPr varScale="1">
        <p:scale>
          <a:sx n="59" d="100"/>
          <a:sy n="59" d="100"/>
        </p:scale>
        <p:origin x="1200" y="48"/>
      </p:cViewPr>
      <p:guideLst>
        <p:guide pos="7368"/>
        <p:guide orient="horz" pos="864"/>
        <p:guide orient="horz" pos="4048"/>
        <p:guide pos="296"/>
        <p:guide orient="horz" pos="720"/>
        <p:guide orient="horz" pos="1011"/>
        <p:guide pos="7404"/>
        <p:guide pos="4476"/>
        <p:guide pos="7401"/>
        <p:guide pos="535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kgota, Khutso" userId="S::khutso.sekgota@hatch.com::a0375046-58ca-4a89-bd34-1f5efbd05e4f" providerId="AD" clId="Web-{647F93BF-542A-45EC-9F86-C4EFE3C3D041}"/>
    <pc:docChg chg="modSld">
      <pc:chgData name="Sekgota, Khutso" userId="S::khutso.sekgota@hatch.com::a0375046-58ca-4a89-bd34-1f5efbd05e4f" providerId="AD" clId="Web-{647F93BF-542A-45EC-9F86-C4EFE3C3D041}" dt="2023-05-30T02:57:34.672" v="13" actId="20577"/>
      <pc:docMkLst>
        <pc:docMk/>
      </pc:docMkLst>
      <pc:sldChg chg="modSp">
        <pc:chgData name="Sekgota, Khutso" userId="S::khutso.sekgota@hatch.com::a0375046-58ca-4a89-bd34-1f5efbd05e4f" providerId="AD" clId="Web-{647F93BF-542A-45EC-9F86-C4EFE3C3D041}" dt="2023-05-30T02:50:38.641" v="9" actId="1076"/>
        <pc:sldMkLst>
          <pc:docMk/>
          <pc:sldMk cId="2255316931" sldId="2147379404"/>
        </pc:sldMkLst>
        <pc:graphicFrameChg chg="mod">
          <ac:chgData name="Sekgota, Khutso" userId="S::khutso.sekgota@hatch.com::a0375046-58ca-4a89-bd34-1f5efbd05e4f" providerId="AD" clId="Web-{647F93BF-542A-45EC-9F86-C4EFE3C3D041}" dt="2023-05-30T02:50:38.641" v="9" actId="1076"/>
          <ac:graphicFrameMkLst>
            <pc:docMk/>
            <pc:sldMk cId="2255316931" sldId="2147379404"/>
            <ac:graphicFrameMk id="5" creationId="{D94C28E7-DDB9-811E-BD5E-DF0B6A15865B}"/>
          </ac:graphicFrameMkLst>
        </pc:graphicFrameChg>
      </pc:sldChg>
      <pc:sldChg chg="modSp">
        <pc:chgData name="Sekgota, Khutso" userId="S::khutso.sekgota@hatch.com::a0375046-58ca-4a89-bd34-1f5efbd05e4f" providerId="AD" clId="Web-{647F93BF-542A-45EC-9F86-C4EFE3C3D041}" dt="2023-05-30T02:09:18.719" v="8" actId="14100"/>
        <pc:sldMkLst>
          <pc:docMk/>
          <pc:sldMk cId="246402879" sldId="2147379408"/>
        </pc:sldMkLst>
        <pc:spChg chg="mod">
          <ac:chgData name="Sekgota, Khutso" userId="S::khutso.sekgota@hatch.com::a0375046-58ca-4a89-bd34-1f5efbd05e4f" providerId="AD" clId="Web-{647F93BF-542A-45EC-9F86-C4EFE3C3D041}" dt="2023-05-30T02:09:18.719" v="8" actId="14100"/>
          <ac:spMkLst>
            <pc:docMk/>
            <pc:sldMk cId="246402879" sldId="2147379408"/>
            <ac:spMk id="12" creationId="{29AEAA47-D94E-C091-1912-C9FAE0FBDDFC}"/>
          </ac:spMkLst>
        </pc:spChg>
      </pc:sldChg>
      <pc:sldChg chg="modSp">
        <pc:chgData name="Sekgota, Khutso" userId="S::khutso.sekgota@hatch.com::a0375046-58ca-4a89-bd34-1f5efbd05e4f" providerId="AD" clId="Web-{647F93BF-542A-45EC-9F86-C4EFE3C3D041}" dt="2023-05-30T02:57:34.672" v="13" actId="20577"/>
        <pc:sldMkLst>
          <pc:docMk/>
          <pc:sldMk cId="3180697616" sldId="2147379416"/>
        </pc:sldMkLst>
        <pc:spChg chg="mod">
          <ac:chgData name="Sekgota, Khutso" userId="S::khutso.sekgota@hatch.com::a0375046-58ca-4a89-bd34-1f5efbd05e4f" providerId="AD" clId="Web-{647F93BF-542A-45EC-9F86-C4EFE3C3D041}" dt="2023-05-30T02:57:34.672" v="13" actId="20577"/>
          <ac:spMkLst>
            <pc:docMk/>
            <pc:sldMk cId="3180697616" sldId="2147379416"/>
            <ac:spMk id="12" creationId="{29AEAA47-D94E-C091-1912-C9FAE0FBDDFC}"/>
          </ac:spMkLst>
        </pc:spChg>
      </pc:sldChg>
    </pc:docChg>
  </pc:docChgLst>
  <pc:docChgLst>
    <pc:chgData name="Chagwedera, Taona" userId="a2eb7365-7662-46ce-bee1-3106c891aa74" providerId="ADAL" clId="{07B1A4B5-8957-48D4-B926-E5B30A118811}"/>
    <pc:docChg chg="undo redo custSel mod addSld delSld modSld sldOrd modSection replTag">
      <pc:chgData name="Chagwedera, Taona" userId="a2eb7365-7662-46ce-bee1-3106c891aa74" providerId="ADAL" clId="{07B1A4B5-8957-48D4-B926-E5B30A118811}" dt="2023-05-31T07:05:25.778" v="9541" actId="1076"/>
      <pc:docMkLst>
        <pc:docMk/>
      </pc:docMkLst>
      <pc:sldChg chg="modSp mod">
        <pc:chgData name="Chagwedera, Taona" userId="a2eb7365-7662-46ce-bee1-3106c891aa74" providerId="ADAL" clId="{07B1A4B5-8957-48D4-B926-E5B30A118811}" dt="2023-05-29T10:46:51.101" v="1111" actId="1076"/>
        <pc:sldMkLst>
          <pc:docMk/>
          <pc:sldMk cId="4244229517" sldId="2062411715"/>
        </pc:sldMkLst>
        <pc:spChg chg="mod">
          <ac:chgData name="Chagwedera, Taona" userId="a2eb7365-7662-46ce-bee1-3106c891aa74" providerId="ADAL" clId="{07B1A4B5-8957-48D4-B926-E5B30A118811}" dt="2023-05-29T10:46:38.273" v="1110" actId="14100"/>
          <ac:spMkLst>
            <pc:docMk/>
            <pc:sldMk cId="4244229517" sldId="2062411715"/>
            <ac:spMk id="10" creationId="{5EC99239-7550-7F16-C2F4-6D27E3EDFEBC}"/>
          </ac:spMkLst>
        </pc:spChg>
        <pc:spChg chg="mod">
          <ac:chgData name="Chagwedera, Taona" userId="a2eb7365-7662-46ce-bee1-3106c891aa74" providerId="ADAL" clId="{07B1A4B5-8957-48D4-B926-E5B30A118811}" dt="2023-05-29T10:46:51.101" v="1111" actId="1076"/>
          <ac:spMkLst>
            <pc:docMk/>
            <pc:sldMk cId="4244229517" sldId="2062411715"/>
            <ac:spMk id="11" creationId="{E347B7D0-886E-9624-EC5A-DCA379952BB6}"/>
          </ac:spMkLst>
        </pc:spChg>
      </pc:sldChg>
      <pc:sldChg chg="delSp modSp mod">
        <pc:chgData name="Chagwedera, Taona" userId="a2eb7365-7662-46ce-bee1-3106c891aa74" providerId="ADAL" clId="{07B1A4B5-8957-48D4-B926-E5B30A118811}" dt="2023-05-31T07:05:25.778" v="9541" actId="1076"/>
        <pc:sldMkLst>
          <pc:docMk/>
          <pc:sldMk cId="3153389427" sldId="2147379371"/>
        </pc:sldMkLst>
        <pc:spChg chg="del mod">
          <ac:chgData name="Chagwedera, Taona" userId="a2eb7365-7662-46ce-bee1-3106c891aa74" providerId="ADAL" clId="{07B1A4B5-8957-48D4-B926-E5B30A118811}" dt="2023-05-31T07:04:23.540" v="9537" actId="478"/>
          <ac:spMkLst>
            <pc:docMk/>
            <pc:sldMk cId="3153389427" sldId="2147379371"/>
            <ac:spMk id="3" creationId="{FCD38548-2CC3-D6BD-3655-2D585BAA1641}"/>
          </ac:spMkLst>
        </pc:spChg>
        <pc:spChg chg="mod">
          <ac:chgData name="Chagwedera, Taona" userId="a2eb7365-7662-46ce-bee1-3106c891aa74" providerId="ADAL" clId="{07B1A4B5-8957-48D4-B926-E5B30A118811}" dt="2023-05-31T07:05:25.778" v="9541" actId="1076"/>
          <ac:spMkLst>
            <pc:docMk/>
            <pc:sldMk cId="3153389427" sldId="2147379371"/>
            <ac:spMk id="8" creationId="{4E383C42-558A-2E1C-36AF-5EFD8F16245C}"/>
          </ac:spMkLst>
        </pc:spChg>
        <pc:spChg chg="mod">
          <ac:chgData name="Chagwedera, Taona" userId="a2eb7365-7662-46ce-bee1-3106c891aa74" providerId="ADAL" clId="{07B1A4B5-8957-48D4-B926-E5B30A118811}" dt="2023-05-31T07:05:11.924" v="9539" actId="1076"/>
          <ac:spMkLst>
            <pc:docMk/>
            <pc:sldMk cId="3153389427" sldId="2147379371"/>
            <ac:spMk id="11" creationId="{6E7048EB-126C-92ED-F719-9C8AC02F516E}"/>
          </ac:spMkLst>
        </pc:spChg>
        <pc:picChg chg="del">
          <ac:chgData name="Chagwedera, Taona" userId="a2eb7365-7662-46ce-bee1-3106c891aa74" providerId="ADAL" clId="{07B1A4B5-8957-48D4-B926-E5B30A118811}" dt="2023-05-31T07:05:13.989" v="9540" actId="478"/>
          <ac:picMkLst>
            <pc:docMk/>
            <pc:sldMk cId="3153389427" sldId="2147379371"/>
            <ac:picMk id="13" creationId="{D9324736-C3BD-5607-FB24-7E0D8EF6B36A}"/>
          </ac:picMkLst>
        </pc:picChg>
      </pc:sldChg>
      <pc:sldChg chg="del">
        <pc:chgData name="Chagwedera, Taona" userId="a2eb7365-7662-46ce-bee1-3106c891aa74" providerId="ADAL" clId="{07B1A4B5-8957-48D4-B926-E5B30A118811}" dt="2023-05-29T06:12:52.114" v="819" actId="47"/>
        <pc:sldMkLst>
          <pc:docMk/>
          <pc:sldMk cId="2655180152" sldId="2147379399"/>
        </pc:sldMkLst>
      </pc:sldChg>
      <pc:sldChg chg="addSp delSp modSp mod">
        <pc:chgData name="Chagwedera, Taona" userId="a2eb7365-7662-46ce-bee1-3106c891aa74" providerId="ADAL" clId="{07B1A4B5-8957-48D4-B926-E5B30A118811}" dt="2023-05-30T14:46:01.424" v="8422" actId="14100"/>
        <pc:sldMkLst>
          <pc:docMk/>
          <pc:sldMk cId="3531593510" sldId="2147379401"/>
        </pc:sldMkLst>
        <pc:spChg chg="mod">
          <ac:chgData name="Chagwedera, Taona" userId="a2eb7365-7662-46ce-bee1-3106c891aa74" providerId="ADAL" clId="{07B1A4B5-8957-48D4-B926-E5B30A118811}" dt="2023-05-30T14:09:17.309" v="7982" actId="1035"/>
          <ac:spMkLst>
            <pc:docMk/>
            <pc:sldMk cId="3531593510" sldId="2147379401"/>
            <ac:spMk id="5" creationId="{7DB70E1D-0F1A-71F1-15DD-F08BB6CCD66D}"/>
          </ac:spMkLst>
        </pc:spChg>
        <pc:spChg chg="mod">
          <ac:chgData name="Chagwedera, Taona" userId="a2eb7365-7662-46ce-bee1-3106c891aa74" providerId="ADAL" clId="{07B1A4B5-8957-48D4-B926-E5B30A118811}" dt="2023-05-30T14:09:10.868" v="7980" actId="1036"/>
          <ac:spMkLst>
            <pc:docMk/>
            <pc:sldMk cId="3531593510" sldId="2147379401"/>
            <ac:spMk id="6" creationId="{2B2C87FC-A4DA-FBA4-A6A6-04BCE2E409A5}"/>
          </ac:spMkLst>
        </pc:spChg>
        <pc:spChg chg="mod">
          <ac:chgData name="Chagwedera, Taona" userId="a2eb7365-7662-46ce-bee1-3106c891aa74" providerId="ADAL" clId="{07B1A4B5-8957-48D4-B926-E5B30A118811}" dt="2023-05-30T14:17:42.320" v="8135" actId="20577"/>
          <ac:spMkLst>
            <pc:docMk/>
            <pc:sldMk cId="3531593510" sldId="2147379401"/>
            <ac:spMk id="7" creationId="{BEC09CD2-E695-4546-3003-5BDAF4645E7D}"/>
          </ac:spMkLst>
        </pc:spChg>
        <pc:spChg chg="mod">
          <ac:chgData name="Chagwedera, Taona" userId="a2eb7365-7662-46ce-bee1-3106c891aa74" providerId="ADAL" clId="{07B1A4B5-8957-48D4-B926-E5B30A118811}" dt="2023-05-30T14:11:56.209" v="8024" actId="14100"/>
          <ac:spMkLst>
            <pc:docMk/>
            <pc:sldMk cId="3531593510" sldId="2147379401"/>
            <ac:spMk id="8" creationId="{F229C289-5ED6-9268-F763-6E9B16ED1F1E}"/>
          </ac:spMkLst>
        </pc:spChg>
        <pc:spChg chg="add mod">
          <ac:chgData name="Chagwedera, Taona" userId="a2eb7365-7662-46ce-bee1-3106c891aa74" providerId="ADAL" clId="{07B1A4B5-8957-48D4-B926-E5B30A118811}" dt="2023-05-30T14:08:23.316" v="7886" actId="1036"/>
          <ac:spMkLst>
            <pc:docMk/>
            <pc:sldMk cId="3531593510" sldId="2147379401"/>
            <ac:spMk id="9" creationId="{6474875B-530B-0198-06CE-099293036E1D}"/>
          </ac:spMkLst>
        </pc:spChg>
        <pc:spChg chg="mod">
          <ac:chgData name="Chagwedera, Taona" userId="a2eb7365-7662-46ce-bee1-3106c891aa74" providerId="ADAL" clId="{07B1A4B5-8957-48D4-B926-E5B30A118811}" dt="2023-05-30T14:00:41.545" v="7438" actId="1036"/>
          <ac:spMkLst>
            <pc:docMk/>
            <pc:sldMk cId="3531593510" sldId="2147379401"/>
            <ac:spMk id="15" creationId="{403907B5-A1A4-4450-247A-DAA0D18C2CEB}"/>
          </ac:spMkLst>
        </pc:spChg>
        <pc:spChg chg="mod">
          <ac:chgData name="Chagwedera, Taona" userId="a2eb7365-7662-46ce-bee1-3106c891aa74" providerId="ADAL" clId="{07B1A4B5-8957-48D4-B926-E5B30A118811}" dt="2023-05-30T14:00:41.545" v="7438" actId="1036"/>
          <ac:spMkLst>
            <pc:docMk/>
            <pc:sldMk cId="3531593510" sldId="2147379401"/>
            <ac:spMk id="16" creationId="{EAAD8772-410B-01FA-0DF4-D1866A90A129}"/>
          </ac:spMkLst>
        </pc:spChg>
        <pc:spChg chg="mod">
          <ac:chgData name="Chagwedera, Taona" userId="a2eb7365-7662-46ce-bee1-3106c891aa74" providerId="ADAL" clId="{07B1A4B5-8957-48D4-B926-E5B30A118811}" dt="2023-05-30T14:27:58.779" v="8262" actId="1076"/>
          <ac:spMkLst>
            <pc:docMk/>
            <pc:sldMk cId="3531593510" sldId="2147379401"/>
            <ac:spMk id="19" creationId="{D326192E-2510-407C-04BD-9C04E39F0BFD}"/>
          </ac:spMkLst>
        </pc:spChg>
        <pc:spChg chg="mod">
          <ac:chgData name="Chagwedera, Taona" userId="a2eb7365-7662-46ce-bee1-3106c891aa74" providerId="ADAL" clId="{07B1A4B5-8957-48D4-B926-E5B30A118811}" dt="2023-05-30T14:27:58.779" v="8262" actId="1076"/>
          <ac:spMkLst>
            <pc:docMk/>
            <pc:sldMk cId="3531593510" sldId="2147379401"/>
            <ac:spMk id="20" creationId="{6904FB11-C7DB-71BB-676C-099675F30535}"/>
          </ac:spMkLst>
        </pc:spChg>
        <pc:spChg chg="mod">
          <ac:chgData name="Chagwedera, Taona" userId="a2eb7365-7662-46ce-bee1-3106c891aa74" providerId="ADAL" clId="{07B1A4B5-8957-48D4-B926-E5B30A118811}" dt="2023-05-30T14:27:58.779" v="8262" actId="1076"/>
          <ac:spMkLst>
            <pc:docMk/>
            <pc:sldMk cId="3531593510" sldId="2147379401"/>
            <ac:spMk id="21" creationId="{CCD83300-5F29-5FD2-3C07-15E3DDDADBE0}"/>
          </ac:spMkLst>
        </pc:spChg>
        <pc:spChg chg="mod">
          <ac:chgData name="Chagwedera, Taona" userId="a2eb7365-7662-46ce-bee1-3106c891aa74" providerId="ADAL" clId="{07B1A4B5-8957-48D4-B926-E5B30A118811}" dt="2023-05-30T14:27:58.779" v="8262" actId="1076"/>
          <ac:spMkLst>
            <pc:docMk/>
            <pc:sldMk cId="3531593510" sldId="2147379401"/>
            <ac:spMk id="22" creationId="{C72EBF0D-2148-ACEC-587D-75BA73BBB1C8}"/>
          </ac:spMkLst>
        </pc:spChg>
        <pc:spChg chg="mod">
          <ac:chgData name="Chagwedera, Taona" userId="a2eb7365-7662-46ce-bee1-3106c891aa74" providerId="ADAL" clId="{07B1A4B5-8957-48D4-B926-E5B30A118811}" dt="2023-05-30T14:14:31.914" v="8121" actId="1076"/>
          <ac:spMkLst>
            <pc:docMk/>
            <pc:sldMk cId="3531593510" sldId="2147379401"/>
            <ac:spMk id="24" creationId="{57772616-F7E2-A0CA-63F7-B0808352D70F}"/>
          </ac:spMkLst>
        </pc:spChg>
        <pc:spChg chg="mod">
          <ac:chgData name="Chagwedera, Taona" userId="a2eb7365-7662-46ce-bee1-3106c891aa74" providerId="ADAL" clId="{07B1A4B5-8957-48D4-B926-E5B30A118811}" dt="2023-05-30T14:14:31.914" v="8121" actId="1076"/>
          <ac:spMkLst>
            <pc:docMk/>
            <pc:sldMk cId="3531593510" sldId="2147379401"/>
            <ac:spMk id="25" creationId="{E76DF7E9-B6B6-1436-5124-7D5DF0A3DE20}"/>
          </ac:spMkLst>
        </pc:spChg>
        <pc:spChg chg="mod">
          <ac:chgData name="Chagwedera, Taona" userId="a2eb7365-7662-46ce-bee1-3106c891aa74" providerId="ADAL" clId="{07B1A4B5-8957-48D4-B926-E5B30A118811}" dt="2023-05-30T14:14:31.914" v="8121" actId="1076"/>
          <ac:spMkLst>
            <pc:docMk/>
            <pc:sldMk cId="3531593510" sldId="2147379401"/>
            <ac:spMk id="26" creationId="{8CDDB084-CAA9-6F82-292D-B13BF495FD4E}"/>
          </ac:spMkLst>
        </pc:spChg>
        <pc:spChg chg="mod">
          <ac:chgData name="Chagwedera, Taona" userId="a2eb7365-7662-46ce-bee1-3106c891aa74" providerId="ADAL" clId="{07B1A4B5-8957-48D4-B926-E5B30A118811}" dt="2023-05-30T14:14:31.914" v="8121" actId="1076"/>
          <ac:spMkLst>
            <pc:docMk/>
            <pc:sldMk cId="3531593510" sldId="2147379401"/>
            <ac:spMk id="27" creationId="{D500D379-8259-8C98-52BA-EF43BF16C037}"/>
          </ac:spMkLst>
        </pc:spChg>
        <pc:spChg chg="mod">
          <ac:chgData name="Chagwedera, Taona" userId="a2eb7365-7662-46ce-bee1-3106c891aa74" providerId="ADAL" clId="{07B1A4B5-8957-48D4-B926-E5B30A118811}" dt="2023-05-30T14:14:31.914" v="8121" actId="1076"/>
          <ac:spMkLst>
            <pc:docMk/>
            <pc:sldMk cId="3531593510" sldId="2147379401"/>
            <ac:spMk id="28" creationId="{39E01AEA-ECD7-30DF-604B-670D7DA25FAD}"/>
          </ac:spMkLst>
        </pc:spChg>
        <pc:spChg chg="mod">
          <ac:chgData name="Chagwedera, Taona" userId="a2eb7365-7662-46ce-bee1-3106c891aa74" providerId="ADAL" clId="{07B1A4B5-8957-48D4-B926-E5B30A118811}" dt="2023-05-30T14:14:31.914" v="8121" actId="1076"/>
          <ac:spMkLst>
            <pc:docMk/>
            <pc:sldMk cId="3531593510" sldId="2147379401"/>
            <ac:spMk id="29" creationId="{8B7536C8-5ACC-ED8F-6EA9-A825197CD89B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31" creationId="{453A7652-5BFF-F9A2-B35F-EA9EDE5899AF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32" creationId="{15B23EFA-F837-58CE-11A1-B8A3BB426C8F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33" creationId="{E023664A-688C-8D58-74D1-0EE789A2971C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34" creationId="{1F042FD5-0BF0-9155-4FEF-1796C87BC2CB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35" creationId="{1FD145CE-6AD2-21A0-A879-F0A198DE3296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36" creationId="{376E84F3-1629-F86C-F024-4D22029E29AA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37" creationId="{C33B299B-940C-D6EA-A0AA-3026D0BFC7CB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38" creationId="{797E8B11-6A9F-8674-2FF9-6D582F898A7B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39" creationId="{4B8C4DA7-CA8E-4F1A-F28D-97AD2FB683B6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40" creationId="{617630FC-0AA9-0062-F385-59CDC3119905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41" creationId="{6310836D-4317-A3BC-B637-5F66174AF1B8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42" creationId="{270F2E16-20B0-98C5-52C9-3BCC485FD5EF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43" creationId="{F61FCC37-AEB9-75FD-1D42-A5E626F6E746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44" creationId="{927575C6-79C3-CFA7-3C7B-3C4FF5FD2063}"/>
          </ac:spMkLst>
        </pc:spChg>
        <pc:spChg chg="mod">
          <ac:chgData name="Chagwedera, Taona" userId="a2eb7365-7662-46ce-bee1-3106c891aa74" providerId="ADAL" clId="{07B1A4B5-8957-48D4-B926-E5B30A118811}" dt="2023-05-30T14:11:49.257" v="8023" actId="1076"/>
          <ac:spMkLst>
            <pc:docMk/>
            <pc:sldMk cId="3531593510" sldId="2147379401"/>
            <ac:spMk id="45" creationId="{6E1CA8A5-582E-9FE0-4A33-802E1EEB0297}"/>
          </ac:spMkLst>
        </pc:spChg>
        <pc:spChg chg="mod">
          <ac:chgData name="Chagwedera, Taona" userId="a2eb7365-7662-46ce-bee1-3106c891aa74" providerId="ADAL" clId="{07B1A4B5-8957-48D4-B926-E5B30A118811}" dt="2023-05-30T14:08:42.812" v="7901"/>
          <ac:spMkLst>
            <pc:docMk/>
            <pc:sldMk cId="3531593510" sldId="2147379401"/>
            <ac:spMk id="60" creationId="{D6E1A554-1B20-D6B4-A14A-82C0C337C0FE}"/>
          </ac:spMkLst>
        </pc:spChg>
        <pc:spChg chg="mod">
          <ac:chgData name="Chagwedera, Taona" userId="a2eb7365-7662-46ce-bee1-3106c891aa74" providerId="ADAL" clId="{07B1A4B5-8957-48D4-B926-E5B30A118811}" dt="2023-05-30T14:08:42.812" v="7901"/>
          <ac:spMkLst>
            <pc:docMk/>
            <pc:sldMk cId="3531593510" sldId="2147379401"/>
            <ac:spMk id="61" creationId="{8A6DFCBF-BC07-962F-D3DF-8191D9D3BB6A}"/>
          </ac:spMkLst>
        </pc:spChg>
        <pc:spChg chg="add mod">
          <ac:chgData name="Chagwedera, Taona" userId="a2eb7365-7662-46ce-bee1-3106c891aa74" providerId="ADAL" clId="{07B1A4B5-8957-48D4-B926-E5B30A118811}" dt="2023-05-30T14:19:55.447" v="8176" actId="1037"/>
          <ac:spMkLst>
            <pc:docMk/>
            <pc:sldMk cId="3531593510" sldId="2147379401"/>
            <ac:spMk id="62" creationId="{A9E80856-D452-9797-A489-E40E1BC22B5E}"/>
          </ac:spMkLst>
        </pc:spChg>
        <pc:spChg chg="add mod">
          <ac:chgData name="Chagwedera, Taona" userId="a2eb7365-7662-46ce-bee1-3106c891aa74" providerId="ADAL" clId="{07B1A4B5-8957-48D4-B926-E5B30A118811}" dt="2023-05-30T14:12:40.255" v="8039" actId="20577"/>
          <ac:spMkLst>
            <pc:docMk/>
            <pc:sldMk cId="3531593510" sldId="2147379401"/>
            <ac:spMk id="63" creationId="{D00BCF60-0BCF-F95C-C336-7327116B49E7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43" creationId="{58E64D44-A6F4-2EF7-3EF8-6BC060219058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44" creationId="{CB03F96B-B2C1-95F7-B893-A55907FD3D7C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46" creationId="{E15AE876-1DD9-12B9-E939-EE2915758472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52" creationId="{CA9317FD-F6F5-F29A-B766-1B7EA01BE7C1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53" creationId="{D6D52E92-E678-2F97-FC2B-40EDFED52604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54" creationId="{DFBF4D5E-ADD7-DF1F-C6F5-78B5027045EA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55" creationId="{63A86C56-66EA-9D71-049F-739D52ACE2AE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56" creationId="{BFBA6933-13AE-7FAA-E369-A41D4C9CC5EA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57" creationId="{AA984918-0741-34FB-DFCE-9AB09E64BA3E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58" creationId="{62EF4726-D5E1-A8C5-2BC9-1E0887E33026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59" creationId="{021EDCE2-5571-34BC-939F-4196DB66911E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0" creationId="{79F2A22E-0DE3-ADC0-B5F2-6E3B9ABBEDF8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1" creationId="{77FF4CC2-F931-878C-93F6-A79DE6D1D97F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2" creationId="{1CFB14CB-1B95-33C5-54C7-B05702BFB8E8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3" creationId="{2A466B99-8051-9EDA-2ADF-F36472344693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4" creationId="{FC619D65-FC44-03BB-FDE3-53DF8ECD3C5E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5" creationId="{BFD4196E-D724-84E3-B64F-0A172C562621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6" creationId="{EB73250E-A028-133F-2B8C-D18606D08FE9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7" creationId="{B614A45E-06E6-AE6A-E5B7-13169F57C9F4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8" creationId="{704D9793-C78D-5B46-238C-7B05CD4860AB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69" creationId="{1F7E50FD-5A24-E565-A404-38166AC6EF2A}"/>
          </ac:spMkLst>
        </pc:spChg>
        <pc:spChg chg="mod">
          <ac:chgData name="Chagwedera, Taona" userId="a2eb7365-7662-46ce-bee1-3106c891aa74" providerId="ADAL" clId="{07B1A4B5-8957-48D4-B926-E5B30A118811}" dt="2023-05-30T14:13:37.554" v="8045" actId="1076"/>
          <ac:spMkLst>
            <pc:docMk/>
            <pc:sldMk cId="3531593510" sldId="2147379401"/>
            <ac:spMk id="670" creationId="{91D97C07-533F-83F6-F730-30619EC1CC49}"/>
          </ac:spMkLst>
        </pc:spChg>
        <pc:spChg chg="mod">
          <ac:chgData name="Chagwedera, Taona" userId="a2eb7365-7662-46ce-bee1-3106c891aa74" providerId="ADAL" clId="{07B1A4B5-8957-48D4-B926-E5B30A118811}" dt="2023-05-30T14:14:08.002" v="8054"/>
          <ac:spMkLst>
            <pc:docMk/>
            <pc:sldMk cId="3531593510" sldId="2147379401"/>
            <ac:spMk id="672" creationId="{0C15A99B-478B-3F64-2C8D-E4AC27918CA0}"/>
          </ac:spMkLst>
        </pc:spChg>
        <pc:spChg chg="mod">
          <ac:chgData name="Chagwedera, Taona" userId="a2eb7365-7662-46ce-bee1-3106c891aa74" providerId="ADAL" clId="{07B1A4B5-8957-48D4-B926-E5B30A118811}" dt="2023-05-30T14:14:08.002" v="8054"/>
          <ac:spMkLst>
            <pc:docMk/>
            <pc:sldMk cId="3531593510" sldId="2147379401"/>
            <ac:spMk id="673" creationId="{ECBA98E1-E701-1778-FF0C-B2F2A4F7B6BF}"/>
          </ac:spMkLst>
        </pc:spChg>
        <pc:spChg chg="mod">
          <ac:chgData name="Chagwedera, Taona" userId="a2eb7365-7662-46ce-bee1-3106c891aa74" providerId="ADAL" clId="{07B1A4B5-8957-48D4-B926-E5B30A118811}" dt="2023-05-30T14:14:48.066" v="8124"/>
          <ac:spMkLst>
            <pc:docMk/>
            <pc:sldMk cId="3531593510" sldId="2147379401"/>
            <ac:spMk id="675" creationId="{DF38FC4E-3844-E142-4033-4B30541963F9}"/>
          </ac:spMkLst>
        </pc:spChg>
        <pc:spChg chg="mod">
          <ac:chgData name="Chagwedera, Taona" userId="a2eb7365-7662-46ce-bee1-3106c891aa74" providerId="ADAL" clId="{07B1A4B5-8957-48D4-B926-E5B30A118811}" dt="2023-05-30T14:14:48.066" v="8124"/>
          <ac:spMkLst>
            <pc:docMk/>
            <pc:sldMk cId="3531593510" sldId="2147379401"/>
            <ac:spMk id="687" creationId="{D449F22A-DF77-FA47-2532-3079E8420D65}"/>
          </ac:spMkLst>
        </pc:spChg>
        <pc:spChg chg="mod">
          <ac:chgData name="Chagwedera, Taona" userId="a2eb7365-7662-46ce-bee1-3106c891aa74" providerId="ADAL" clId="{07B1A4B5-8957-48D4-B926-E5B30A118811}" dt="2023-05-30T14:24:39.733" v="8203" actId="14100"/>
          <ac:spMkLst>
            <pc:docMk/>
            <pc:sldMk cId="3531593510" sldId="2147379401"/>
            <ac:spMk id="695" creationId="{D3964820-412E-FA02-C19C-E4A86D2F8B5B}"/>
          </ac:spMkLst>
        </pc:spChg>
        <pc:spChg chg="mod">
          <ac:chgData name="Chagwedera, Taona" userId="a2eb7365-7662-46ce-bee1-3106c891aa74" providerId="ADAL" clId="{07B1A4B5-8957-48D4-B926-E5B30A118811}" dt="2023-05-30T14:33:39.908" v="8281" actId="1076"/>
          <ac:spMkLst>
            <pc:docMk/>
            <pc:sldMk cId="3531593510" sldId="2147379401"/>
            <ac:spMk id="696" creationId="{EDA8B363-CD1D-585F-EDA7-6889FD6C8CA0}"/>
          </ac:spMkLst>
        </pc:spChg>
        <pc:spChg chg="mod">
          <ac:chgData name="Chagwedera, Taona" userId="a2eb7365-7662-46ce-bee1-3106c891aa74" providerId="ADAL" clId="{07B1A4B5-8957-48D4-B926-E5B30A118811}" dt="2023-05-30T14:35:48.224" v="8312" actId="14100"/>
          <ac:spMkLst>
            <pc:docMk/>
            <pc:sldMk cId="3531593510" sldId="2147379401"/>
            <ac:spMk id="697" creationId="{06D6248E-D7C1-AFCB-F2DA-536A3608BC8B}"/>
          </ac:spMkLst>
        </pc:spChg>
        <pc:spChg chg="mod">
          <ac:chgData name="Chagwedera, Taona" userId="a2eb7365-7662-46ce-bee1-3106c891aa74" providerId="ADAL" clId="{07B1A4B5-8957-48D4-B926-E5B30A118811}" dt="2023-05-30T14:36:28.134" v="8333" actId="1036"/>
          <ac:spMkLst>
            <pc:docMk/>
            <pc:sldMk cId="3531593510" sldId="2147379401"/>
            <ac:spMk id="698" creationId="{7B04E69F-3EC3-F7CB-2319-2526041A10FE}"/>
          </ac:spMkLst>
        </pc:spChg>
        <pc:spChg chg="mod">
          <ac:chgData name="Chagwedera, Taona" userId="a2eb7365-7662-46ce-bee1-3106c891aa74" providerId="ADAL" clId="{07B1A4B5-8957-48D4-B926-E5B30A118811}" dt="2023-05-30T14:33:51.277" v="8283" actId="1076"/>
          <ac:spMkLst>
            <pc:docMk/>
            <pc:sldMk cId="3531593510" sldId="2147379401"/>
            <ac:spMk id="699" creationId="{D2ABB79F-F0F0-FEB1-F066-294F94A66908}"/>
          </ac:spMkLst>
        </pc:spChg>
        <pc:spChg chg="mod">
          <ac:chgData name="Chagwedera, Taona" userId="a2eb7365-7662-46ce-bee1-3106c891aa74" providerId="ADAL" clId="{07B1A4B5-8957-48D4-B926-E5B30A118811}" dt="2023-05-30T14:32:21.771" v="8266" actId="1076"/>
          <ac:spMkLst>
            <pc:docMk/>
            <pc:sldMk cId="3531593510" sldId="2147379401"/>
            <ac:spMk id="700" creationId="{91807CDA-3466-5B81-D1E3-7BDB9D39F72B}"/>
          </ac:spMkLst>
        </pc:spChg>
        <pc:spChg chg="mod">
          <ac:chgData name="Chagwedera, Taona" userId="a2eb7365-7662-46ce-bee1-3106c891aa74" providerId="ADAL" clId="{07B1A4B5-8957-48D4-B926-E5B30A118811}" dt="2023-05-30T14:33:55.604" v="8284" actId="1076"/>
          <ac:spMkLst>
            <pc:docMk/>
            <pc:sldMk cId="3531593510" sldId="2147379401"/>
            <ac:spMk id="710" creationId="{E7DD6DFD-A8B0-8B41-DB69-ED779F205D43}"/>
          </ac:spMkLst>
        </pc:spChg>
        <pc:spChg chg="mod">
          <ac:chgData name="Chagwedera, Taona" userId="a2eb7365-7662-46ce-bee1-3106c891aa74" providerId="ADAL" clId="{07B1A4B5-8957-48D4-B926-E5B30A118811}" dt="2023-05-30T14:33:55.604" v="8284" actId="1076"/>
          <ac:spMkLst>
            <pc:docMk/>
            <pc:sldMk cId="3531593510" sldId="2147379401"/>
            <ac:spMk id="711" creationId="{425FBB08-0663-CCC3-6901-449F0C3C3A59}"/>
          </ac:spMkLst>
        </pc:spChg>
        <pc:spChg chg="mod">
          <ac:chgData name="Chagwedera, Taona" userId="a2eb7365-7662-46ce-bee1-3106c891aa74" providerId="ADAL" clId="{07B1A4B5-8957-48D4-B926-E5B30A118811}" dt="2023-05-30T14:33:55.604" v="8284" actId="1076"/>
          <ac:spMkLst>
            <pc:docMk/>
            <pc:sldMk cId="3531593510" sldId="2147379401"/>
            <ac:spMk id="712" creationId="{224767AA-41D8-572D-4521-2D446D3C9B13}"/>
          </ac:spMkLst>
        </pc:spChg>
        <pc:spChg chg="mod">
          <ac:chgData name="Chagwedera, Taona" userId="a2eb7365-7662-46ce-bee1-3106c891aa74" providerId="ADAL" clId="{07B1A4B5-8957-48D4-B926-E5B30A118811}" dt="2023-05-30T14:33:55.604" v="8284" actId="1076"/>
          <ac:spMkLst>
            <pc:docMk/>
            <pc:sldMk cId="3531593510" sldId="2147379401"/>
            <ac:spMk id="713" creationId="{0480233F-33D9-4DF6-9275-AF62F6FC0CD2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15" creationId="{26D5F624-E571-5302-2D17-90917F391B88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16" creationId="{6EE04593-6A57-6EAF-F8EB-BBA2C383DC85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17" creationId="{A5EB8BB7-BAAC-74BB-2AD0-FFCA45B30398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18" creationId="{68B0EB1F-81B3-5F04-A052-9AACA9316115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19" creationId="{AC5129D0-1338-99F6-82A3-A99B573258CA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0" creationId="{60BA4AA8-8788-3478-F214-99B5F558A342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1" creationId="{2822FEDB-9165-A647-6116-679CE2F8C16D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2" creationId="{0A079605-2E1B-3D81-3BB4-50901E69CF7E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3" creationId="{ADE0EF4C-CC70-A2D2-1E8D-E9586B5813F1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4" creationId="{B6BCAE6C-09C5-3A35-A9F4-D59851DCD540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5" creationId="{3F9A09A3-C172-8BF9-ACF9-36D4396DB38B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6" creationId="{244412CD-677F-53B3-DA11-35E370DE2E18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7" creationId="{EE045749-B71B-7925-531D-95165D52F90F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8" creationId="{FC5FFDB6-0A14-406F-6D84-3750B1C9AD70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29" creationId="{2CE0ACBA-5F92-1546-D7DB-9A670744C576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30" creationId="{AF8A72A3-2C6F-FF76-66AF-E75CB5515249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31" creationId="{2E7D9EEC-D6CE-7BB7-678A-90409332E37B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32" creationId="{2BAAFF89-99E0-2264-0722-4F1639E94B36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33" creationId="{50793F0C-CB55-0031-7202-4383C1AD5B9E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34" creationId="{050A0FBA-5D78-C804-F376-D03DF7DF3CF8}"/>
          </ac:spMkLst>
        </pc:spChg>
        <pc:spChg chg="mod">
          <ac:chgData name="Chagwedera, Taona" userId="a2eb7365-7662-46ce-bee1-3106c891aa74" providerId="ADAL" clId="{07B1A4B5-8957-48D4-B926-E5B30A118811}" dt="2023-05-30T14:36:35.309" v="8335" actId="1036"/>
          <ac:spMkLst>
            <pc:docMk/>
            <pc:sldMk cId="3531593510" sldId="2147379401"/>
            <ac:spMk id="735" creationId="{BBBE1E70-EB27-85EB-F0BC-5A132DD573E6}"/>
          </ac:spMkLst>
        </pc:spChg>
        <pc:spChg chg="mod">
          <ac:chgData name="Chagwedera, Taona" userId="a2eb7365-7662-46ce-bee1-3106c891aa74" providerId="ADAL" clId="{07B1A4B5-8957-48D4-B926-E5B30A118811}" dt="2023-05-30T14:34:49.538" v="8293" actId="1076"/>
          <ac:spMkLst>
            <pc:docMk/>
            <pc:sldMk cId="3531593510" sldId="2147379401"/>
            <ac:spMk id="737" creationId="{BC3C24A1-61C0-66BC-0B0B-AAB89C15DA04}"/>
          </ac:spMkLst>
        </pc:spChg>
        <pc:spChg chg="mod">
          <ac:chgData name="Chagwedera, Taona" userId="a2eb7365-7662-46ce-bee1-3106c891aa74" providerId="ADAL" clId="{07B1A4B5-8957-48D4-B926-E5B30A118811}" dt="2023-05-30T14:34:49.538" v="8293" actId="1076"/>
          <ac:spMkLst>
            <pc:docMk/>
            <pc:sldMk cId="3531593510" sldId="2147379401"/>
            <ac:spMk id="738" creationId="{4DD22BA1-37EB-34F4-BE95-6D51912458E6}"/>
          </ac:spMkLst>
        </pc:spChg>
        <pc:spChg chg="mod">
          <ac:chgData name="Chagwedera, Taona" userId="a2eb7365-7662-46ce-bee1-3106c891aa74" providerId="ADAL" clId="{07B1A4B5-8957-48D4-B926-E5B30A118811}" dt="2023-05-30T14:34:49.538" v="8293" actId="1076"/>
          <ac:spMkLst>
            <pc:docMk/>
            <pc:sldMk cId="3531593510" sldId="2147379401"/>
            <ac:spMk id="739" creationId="{217FE8CA-10AC-3421-BC74-F90EF33698C9}"/>
          </ac:spMkLst>
        </pc:spChg>
        <pc:spChg chg="mod">
          <ac:chgData name="Chagwedera, Taona" userId="a2eb7365-7662-46ce-bee1-3106c891aa74" providerId="ADAL" clId="{07B1A4B5-8957-48D4-B926-E5B30A118811}" dt="2023-05-30T14:34:49.538" v="8293" actId="1076"/>
          <ac:spMkLst>
            <pc:docMk/>
            <pc:sldMk cId="3531593510" sldId="2147379401"/>
            <ac:spMk id="740" creationId="{A663353A-8B97-52A1-788B-75470A222B1B}"/>
          </ac:spMkLst>
        </pc:spChg>
        <pc:spChg chg="mod">
          <ac:chgData name="Chagwedera, Taona" userId="a2eb7365-7662-46ce-bee1-3106c891aa74" providerId="ADAL" clId="{07B1A4B5-8957-48D4-B926-E5B30A118811}" dt="2023-05-30T14:34:49.538" v="8293" actId="1076"/>
          <ac:spMkLst>
            <pc:docMk/>
            <pc:sldMk cId="3531593510" sldId="2147379401"/>
            <ac:spMk id="741" creationId="{2058BBE8-5AA9-0749-2449-A3BD4CA7A630}"/>
          </ac:spMkLst>
        </pc:spChg>
        <pc:spChg chg="mod">
          <ac:chgData name="Chagwedera, Taona" userId="a2eb7365-7662-46ce-bee1-3106c891aa74" providerId="ADAL" clId="{07B1A4B5-8957-48D4-B926-E5B30A118811}" dt="2023-05-30T14:32:28.153" v="8267" actId="1076"/>
          <ac:spMkLst>
            <pc:docMk/>
            <pc:sldMk cId="3531593510" sldId="2147379401"/>
            <ac:spMk id="743" creationId="{0A586286-4C63-5BC0-3E67-DEC643F838ED}"/>
          </ac:spMkLst>
        </pc:spChg>
        <pc:spChg chg="mod">
          <ac:chgData name="Chagwedera, Taona" userId="a2eb7365-7662-46ce-bee1-3106c891aa74" providerId="ADAL" clId="{07B1A4B5-8957-48D4-B926-E5B30A118811}" dt="2023-05-30T14:32:28.153" v="8267" actId="1076"/>
          <ac:spMkLst>
            <pc:docMk/>
            <pc:sldMk cId="3531593510" sldId="2147379401"/>
            <ac:spMk id="744" creationId="{AF167B44-9225-3003-0CC1-8D64AD27A03A}"/>
          </ac:spMkLst>
        </pc:spChg>
        <pc:spChg chg="mod">
          <ac:chgData name="Chagwedera, Taona" userId="a2eb7365-7662-46ce-bee1-3106c891aa74" providerId="ADAL" clId="{07B1A4B5-8957-48D4-B926-E5B30A118811}" dt="2023-05-30T14:32:28.153" v="8267" actId="1076"/>
          <ac:spMkLst>
            <pc:docMk/>
            <pc:sldMk cId="3531593510" sldId="2147379401"/>
            <ac:spMk id="745" creationId="{2DE00B68-3C23-DE75-8C7D-97C5A1B57D8D}"/>
          </ac:spMkLst>
        </pc:spChg>
        <pc:spChg chg="mod">
          <ac:chgData name="Chagwedera, Taona" userId="a2eb7365-7662-46ce-bee1-3106c891aa74" providerId="ADAL" clId="{07B1A4B5-8957-48D4-B926-E5B30A118811}" dt="2023-05-29T06:18:50.367" v="860" actId="20577"/>
          <ac:spMkLst>
            <pc:docMk/>
            <pc:sldMk cId="3531593510" sldId="2147379401"/>
            <ac:spMk id="753" creationId="{63A26592-932D-8354-E410-AC88385AD7A2}"/>
          </ac:spMkLst>
        </pc:spChg>
        <pc:spChg chg="mod">
          <ac:chgData name="Chagwedera, Taona" userId="a2eb7365-7662-46ce-bee1-3106c891aa74" providerId="ADAL" clId="{07B1A4B5-8957-48D4-B926-E5B30A118811}" dt="2023-05-30T14:46:01.424" v="8422" actId="14100"/>
          <ac:spMkLst>
            <pc:docMk/>
            <pc:sldMk cId="3531593510" sldId="2147379401"/>
            <ac:spMk id="754" creationId="{7779B674-4438-2C05-DD08-4F756F6EB2E4}"/>
          </ac:spMkLst>
        </pc:spChg>
        <pc:spChg chg="mod">
          <ac:chgData name="Chagwedera, Taona" userId="a2eb7365-7662-46ce-bee1-3106c891aa74" providerId="ADAL" clId="{07B1A4B5-8957-48D4-B926-E5B30A118811}" dt="2023-05-30T14:45:36.285" v="8419" actId="1076"/>
          <ac:spMkLst>
            <pc:docMk/>
            <pc:sldMk cId="3531593510" sldId="2147379401"/>
            <ac:spMk id="756" creationId="{32288FB2-DE62-C08F-4E83-D0DC06FEF984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57" creationId="{2069AED7-96F9-7A64-496B-149FD3D4A307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63" creationId="{9D7F1A52-16BE-0621-5627-06A8FB1F3354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64" creationId="{83EC662C-0383-2C25-2A67-0B5E151E2FC3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65" creationId="{E7409F4D-8828-1DDA-FAAB-E142FFDD31D5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66" creationId="{E5BD82A9-5574-76FA-69A9-86DA09EEB188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67" creationId="{1991E967-DF12-8C81-C45D-6D3472507E6A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68" creationId="{786A833B-AC53-E38B-3768-F50B6C918B91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69" creationId="{8ED41FAA-0CAE-80D2-DA10-33704CD25064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0" creationId="{E2431323-6FA1-D1AA-6EC0-F2D728FE8CA3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1" creationId="{74DD3577-5C75-3C52-2ADA-5F63FF7E47C0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2" creationId="{AE6F1853-95F6-7A8D-D91C-36F5571204A2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3" creationId="{12365E23-40EF-78C7-B643-327C1A75B435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4" creationId="{A422B823-223C-B4C7-EDD8-5621BF56A1A5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5" creationId="{0A443A52-BB43-CB83-C1E8-3929A73CD1C4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6" creationId="{5141547F-63FF-CCC8-9FDE-A488B88CF432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7" creationId="{3FB11D19-4728-53F7-08BF-B0A7012F2E31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8" creationId="{97BF2EB5-7406-F58E-F413-E384D95652FC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79" creationId="{3707B893-2C4A-CCC9-53BE-D6BC40FDD083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80" creationId="{95694255-6E89-D1CF-DFDB-010CCD77F43B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81" creationId="{07B9004B-2452-3E8F-B337-3A66195880D7}"/>
          </ac:spMkLst>
        </pc:spChg>
        <pc:spChg chg="mod">
          <ac:chgData name="Chagwedera, Taona" userId="a2eb7365-7662-46ce-bee1-3106c891aa74" providerId="ADAL" clId="{07B1A4B5-8957-48D4-B926-E5B30A118811}" dt="2023-05-30T14:20:13.198" v="8179" actId="1076"/>
          <ac:spMkLst>
            <pc:docMk/>
            <pc:sldMk cId="3531593510" sldId="2147379401"/>
            <ac:spMk id="782" creationId="{9FE215CE-42BC-EFB4-C69B-AAE15D50A98E}"/>
          </ac:spMkLst>
        </pc:spChg>
        <pc:spChg chg="add mod">
          <ac:chgData name="Chagwedera, Taona" userId="a2eb7365-7662-46ce-bee1-3106c891aa74" providerId="ADAL" clId="{07B1A4B5-8957-48D4-B926-E5B30A118811}" dt="2023-05-30T14:33:15.107" v="8274" actId="1076"/>
          <ac:spMkLst>
            <pc:docMk/>
            <pc:sldMk cId="3531593510" sldId="2147379401"/>
            <ac:spMk id="787" creationId="{9ADC9174-4FD8-4A75-C22D-3769DA78DAEE}"/>
          </ac:spMkLst>
        </pc:spChg>
        <pc:spChg chg="add del mod">
          <ac:chgData name="Chagwedera, Taona" userId="a2eb7365-7662-46ce-bee1-3106c891aa74" providerId="ADAL" clId="{07B1A4B5-8957-48D4-B926-E5B30A118811}" dt="2023-05-30T14:33:30.063" v="8278"/>
          <ac:spMkLst>
            <pc:docMk/>
            <pc:sldMk cId="3531593510" sldId="2147379401"/>
            <ac:spMk id="789" creationId="{3A7E4A99-BE76-D6F9-997D-14CF01A01E68}"/>
          </ac:spMkLst>
        </pc:spChg>
        <pc:spChg chg="mod">
          <ac:chgData name="Chagwedera, Taona" userId="a2eb7365-7662-46ce-bee1-3106c891aa74" providerId="ADAL" clId="{07B1A4B5-8957-48D4-B926-E5B30A118811}" dt="2023-05-30T14:33:34.628" v="8279"/>
          <ac:spMkLst>
            <pc:docMk/>
            <pc:sldMk cId="3531593510" sldId="2147379401"/>
            <ac:spMk id="791" creationId="{E02A9BCF-ECB7-89D8-2AF3-03FED52D08CD}"/>
          </ac:spMkLst>
        </pc:spChg>
        <pc:spChg chg="mod">
          <ac:chgData name="Chagwedera, Taona" userId="a2eb7365-7662-46ce-bee1-3106c891aa74" providerId="ADAL" clId="{07B1A4B5-8957-48D4-B926-E5B30A118811}" dt="2023-05-30T14:33:34.628" v="8279"/>
          <ac:spMkLst>
            <pc:docMk/>
            <pc:sldMk cId="3531593510" sldId="2147379401"/>
            <ac:spMk id="792" creationId="{5390AB27-8CBA-7E75-4F84-CF6D1B6D546C}"/>
          </ac:spMkLst>
        </pc:spChg>
        <pc:spChg chg="add mod">
          <ac:chgData name="Chagwedera, Taona" userId="a2eb7365-7662-46ce-bee1-3106c891aa74" providerId="ADAL" clId="{07B1A4B5-8957-48D4-B926-E5B30A118811}" dt="2023-05-30T14:36:49.676" v="8360" actId="1035"/>
          <ac:spMkLst>
            <pc:docMk/>
            <pc:sldMk cId="3531593510" sldId="2147379401"/>
            <ac:spMk id="793" creationId="{D8867EFB-7B5A-7BEA-622E-44B07341FB6E}"/>
          </ac:spMkLst>
        </pc:spChg>
        <pc:spChg chg="add mod">
          <ac:chgData name="Chagwedera, Taona" userId="a2eb7365-7662-46ce-bee1-3106c891aa74" providerId="ADAL" clId="{07B1A4B5-8957-48D4-B926-E5B30A118811}" dt="2023-05-30T14:37:07.474" v="8366" actId="1035"/>
          <ac:spMkLst>
            <pc:docMk/>
            <pc:sldMk cId="3531593510" sldId="2147379401"/>
            <ac:spMk id="794" creationId="{8F226189-B3A2-21CC-8D1A-8E9886DF8A00}"/>
          </ac:spMkLst>
        </pc:spChg>
        <pc:spChg chg="mod">
          <ac:chgData name="Chagwedera, Taona" userId="a2eb7365-7662-46ce-bee1-3106c891aa74" providerId="ADAL" clId="{07B1A4B5-8957-48D4-B926-E5B30A118811}" dt="2023-05-30T14:36:55.640" v="8361"/>
          <ac:spMkLst>
            <pc:docMk/>
            <pc:sldMk cId="3531593510" sldId="2147379401"/>
            <ac:spMk id="796" creationId="{E8E010AD-8E92-8432-A018-EF102DE65C57}"/>
          </ac:spMkLst>
        </pc:spChg>
        <pc:spChg chg="mod">
          <ac:chgData name="Chagwedera, Taona" userId="a2eb7365-7662-46ce-bee1-3106c891aa74" providerId="ADAL" clId="{07B1A4B5-8957-48D4-B926-E5B30A118811}" dt="2023-05-30T14:36:55.640" v="8361"/>
          <ac:spMkLst>
            <pc:docMk/>
            <pc:sldMk cId="3531593510" sldId="2147379401"/>
            <ac:spMk id="797" creationId="{C58982F7-FB3A-6AFE-A1E2-D54A8B1B1D52}"/>
          </ac:spMkLst>
        </pc:spChg>
        <pc:spChg chg="mod">
          <ac:chgData name="Chagwedera, Taona" userId="a2eb7365-7662-46ce-bee1-3106c891aa74" providerId="ADAL" clId="{07B1A4B5-8957-48D4-B926-E5B30A118811}" dt="2023-05-30T14:37:13.371" v="8367"/>
          <ac:spMkLst>
            <pc:docMk/>
            <pc:sldMk cId="3531593510" sldId="2147379401"/>
            <ac:spMk id="799" creationId="{1D5B9070-9909-8E9D-E6B5-6B0D3CCDCB3A}"/>
          </ac:spMkLst>
        </pc:spChg>
        <pc:spChg chg="mod">
          <ac:chgData name="Chagwedera, Taona" userId="a2eb7365-7662-46ce-bee1-3106c891aa74" providerId="ADAL" clId="{07B1A4B5-8957-48D4-B926-E5B30A118811}" dt="2023-05-30T14:37:13.371" v="8367"/>
          <ac:spMkLst>
            <pc:docMk/>
            <pc:sldMk cId="3531593510" sldId="2147379401"/>
            <ac:spMk id="800" creationId="{BBD5F7FA-E3EB-759F-F6A5-66785C4DDF89}"/>
          </ac:spMkLst>
        </pc:spChg>
        <pc:grpChg chg="mod">
          <ac:chgData name="Chagwedera, Taona" userId="a2eb7365-7662-46ce-bee1-3106c891aa74" providerId="ADAL" clId="{07B1A4B5-8957-48D4-B926-E5B30A118811}" dt="2023-05-30T14:00:41.545" v="7438" actId="1036"/>
          <ac:grpSpMkLst>
            <pc:docMk/>
            <pc:sldMk cId="3531593510" sldId="2147379401"/>
            <ac:grpSpMk id="14" creationId="{47DEEA82-2549-3F8D-67C0-669F4FB65B33}"/>
          </ac:grpSpMkLst>
        </pc:grpChg>
        <pc:grpChg chg="mod">
          <ac:chgData name="Chagwedera, Taona" userId="a2eb7365-7662-46ce-bee1-3106c891aa74" providerId="ADAL" clId="{07B1A4B5-8957-48D4-B926-E5B30A118811}" dt="2023-05-30T14:27:58.779" v="8262" actId="1076"/>
          <ac:grpSpMkLst>
            <pc:docMk/>
            <pc:sldMk cId="3531593510" sldId="2147379401"/>
            <ac:grpSpMk id="17" creationId="{E5D8AF84-7D64-E3A9-0304-B08DF363F3A9}"/>
          </ac:grpSpMkLst>
        </pc:grpChg>
        <pc:grpChg chg="mod">
          <ac:chgData name="Chagwedera, Taona" userId="a2eb7365-7662-46ce-bee1-3106c891aa74" providerId="ADAL" clId="{07B1A4B5-8957-48D4-B926-E5B30A118811}" dt="2023-05-30T14:27:58.779" v="8262" actId="1076"/>
          <ac:grpSpMkLst>
            <pc:docMk/>
            <pc:sldMk cId="3531593510" sldId="2147379401"/>
            <ac:grpSpMk id="18" creationId="{679CE30F-E38B-992C-8482-7AAA1798BFE0}"/>
          </ac:grpSpMkLst>
        </pc:grpChg>
        <pc:grpChg chg="mod">
          <ac:chgData name="Chagwedera, Taona" userId="a2eb7365-7662-46ce-bee1-3106c891aa74" providerId="ADAL" clId="{07B1A4B5-8957-48D4-B926-E5B30A118811}" dt="2023-05-30T14:14:31.914" v="8121" actId="1076"/>
          <ac:grpSpMkLst>
            <pc:docMk/>
            <pc:sldMk cId="3531593510" sldId="2147379401"/>
            <ac:grpSpMk id="23" creationId="{6D9AAEE1-6B89-6996-95A9-EB87A8C0FFEE}"/>
          </ac:grpSpMkLst>
        </pc:grpChg>
        <pc:grpChg chg="mod">
          <ac:chgData name="Chagwedera, Taona" userId="a2eb7365-7662-46ce-bee1-3106c891aa74" providerId="ADAL" clId="{07B1A4B5-8957-48D4-B926-E5B30A118811}" dt="2023-05-30T14:11:49.257" v="8023" actId="1076"/>
          <ac:grpSpMkLst>
            <pc:docMk/>
            <pc:sldMk cId="3531593510" sldId="2147379401"/>
            <ac:grpSpMk id="30" creationId="{80184EB2-1AAC-1A66-C523-5E0CD0D4DBF0}"/>
          </ac:grpSpMkLst>
        </pc:grpChg>
        <pc:grpChg chg="add mod">
          <ac:chgData name="Chagwedera, Taona" userId="a2eb7365-7662-46ce-bee1-3106c891aa74" providerId="ADAL" clId="{07B1A4B5-8957-48D4-B926-E5B30A118811}" dt="2023-05-30T14:08:58.202" v="7969" actId="1036"/>
          <ac:grpSpMkLst>
            <pc:docMk/>
            <pc:sldMk cId="3531593510" sldId="2147379401"/>
            <ac:grpSpMk id="47" creationId="{F1F36D77-86FD-1230-C43B-3EF3FC089C33}"/>
          </ac:grpSpMkLst>
        </pc:grpChg>
        <pc:grpChg chg="mod">
          <ac:chgData name="Chagwedera, Taona" userId="a2eb7365-7662-46ce-bee1-3106c891aa74" providerId="ADAL" clId="{07B1A4B5-8957-48D4-B926-E5B30A118811}" dt="2023-05-30T14:00:19.151" v="7406" actId="1036"/>
          <ac:grpSpMkLst>
            <pc:docMk/>
            <pc:sldMk cId="3531593510" sldId="2147379401"/>
            <ac:grpSpMk id="50" creationId="{8DDAFBD3-8150-6786-5146-126F312BA5CA}"/>
          </ac:grpSpMkLst>
        </pc:grpChg>
        <pc:grpChg chg="mod">
          <ac:chgData name="Chagwedera, Taona" userId="a2eb7365-7662-46ce-bee1-3106c891aa74" providerId="ADAL" clId="{07B1A4B5-8957-48D4-B926-E5B30A118811}" dt="2023-05-30T14:09:23.695" v="7986" actId="1036"/>
          <ac:grpSpMkLst>
            <pc:docMk/>
            <pc:sldMk cId="3531593510" sldId="2147379401"/>
            <ac:grpSpMk id="51" creationId="{1BC7AD6C-9853-273A-53A1-365810824442}"/>
          </ac:grpSpMkLst>
        </pc:grpChg>
        <pc:grpChg chg="mod">
          <ac:chgData name="Chagwedera, Taona" userId="a2eb7365-7662-46ce-bee1-3106c891aa74" providerId="ADAL" clId="{07B1A4B5-8957-48D4-B926-E5B30A118811}" dt="2023-05-30T14:09:05.334" v="7978" actId="1036"/>
          <ac:grpSpMkLst>
            <pc:docMk/>
            <pc:sldMk cId="3531593510" sldId="2147379401"/>
            <ac:grpSpMk id="54" creationId="{7501483F-A30C-E7E5-C6C8-532AFD4C2DFF}"/>
          </ac:grpSpMkLst>
        </pc:grpChg>
        <pc:grpChg chg="mod">
          <ac:chgData name="Chagwedera, Taona" userId="a2eb7365-7662-46ce-bee1-3106c891aa74" providerId="ADAL" clId="{07B1A4B5-8957-48D4-B926-E5B30A118811}" dt="2023-05-30T14:42:28.333" v="8409" actId="1035"/>
          <ac:grpSpMkLst>
            <pc:docMk/>
            <pc:sldMk cId="3531593510" sldId="2147379401"/>
            <ac:grpSpMk id="57" creationId="{A634A50C-DD62-DFF7-49D2-A84A9A0D7E3C}"/>
          </ac:grpSpMkLst>
        </pc:grpChg>
        <pc:grpChg chg="add del mod">
          <ac:chgData name="Chagwedera, Taona" userId="a2eb7365-7662-46ce-bee1-3106c891aa74" providerId="ADAL" clId="{07B1A4B5-8957-48D4-B926-E5B30A118811}" dt="2023-05-30T14:19:00.062" v="8139" actId="478"/>
          <ac:grpSpMkLst>
            <pc:docMk/>
            <pc:sldMk cId="3531593510" sldId="2147379401"/>
            <ac:grpSpMk id="640" creationId="{407FA2AC-20A5-756A-ACD0-CE3EA5A992DF}"/>
          </ac:grpSpMkLst>
        </pc:grpChg>
        <pc:grpChg chg="add mod">
          <ac:chgData name="Chagwedera, Taona" userId="a2eb7365-7662-46ce-bee1-3106c891aa74" providerId="ADAL" clId="{07B1A4B5-8957-48D4-B926-E5B30A118811}" dt="2023-05-30T14:14:23.222" v="8119" actId="1038"/>
          <ac:grpSpMkLst>
            <pc:docMk/>
            <pc:sldMk cId="3531593510" sldId="2147379401"/>
            <ac:grpSpMk id="671" creationId="{FD615F5C-26C0-842B-8B3C-B525CA2845AC}"/>
          </ac:grpSpMkLst>
        </pc:grpChg>
        <pc:grpChg chg="add mod">
          <ac:chgData name="Chagwedera, Taona" userId="a2eb7365-7662-46ce-bee1-3106c891aa74" providerId="ADAL" clId="{07B1A4B5-8957-48D4-B926-E5B30A118811}" dt="2023-05-30T14:42:33.456" v="8411" actId="1035"/>
          <ac:grpSpMkLst>
            <pc:docMk/>
            <pc:sldMk cId="3531593510" sldId="2147379401"/>
            <ac:grpSpMk id="674" creationId="{2737FD8C-C758-3B2C-A25A-F0802778D0A5}"/>
          </ac:grpSpMkLst>
        </pc:grpChg>
        <pc:grpChg chg="mod">
          <ac:chgData name="Chagwedera, Taona" userId="a2eb7365-7662-46ce-bee1-3106c891aa74" providerId="ADAL" clId="{07B1A4B5-8957-48D4-B926-E5B30A118811}" dt="2023-05-30T14:36:42.577" v="8346" actId="1035"/>
          <ac:grpSpMkLst>
            <pc:docMk/>
            <pc:sldMk cId="3531593510" sldId="2147379401"/>
            <ac:grpSpMk id="701" creationId="{ABFF4B5F-2F9D-C76D-6F20-E0BA45AEBDBB}"/>
          </ac:grpSpMkLst>
        </pc:grpChg>
        <pc:grpChg chg="add del mod">
          <ac:chgData name="Chagwedera, Taona" userId="a2eb7365-7662-46ce-bee1-3106c891aa74" providerId="ADAL" clId="{07B1A4B5-8957-48D4-B926-E5B30A118811}" dt="2023-05-30T14:20:13.198" v="8179" actId="1076"/>
          <ac:grpSpMkLst>
            <pc:docMk/>
            <pc:sldMk cId="3531593510" sldId="2147379401"/>
            <ac:grpSpMk id="704" creationId="{726D5EFE-9E84-F213-201C-3E3F027BEFF3}"/>
          </ac:grpSpMkLst>
        </pc:grpChg>
        <pc:grpChg chg="mod">
          <ac:chgData name="Chagwedera, Taona" userId="a2eb7365-7662-46ce-bee1-3106c891aa74" providerId="ADAL" clId="{07B1A4B5-8957-48D4-B926-E5B30A118811}" dt="2023-05-30T14:33:22.377" v="8276" actId="1076"/>
          <ac:grpSpMkLst>
            <pc:docMk/>
            <pc:sldMk cId="3531593510" sldId="2147379401"/>
            <ac:grpSpMk id="705" creationId="{2E3566B7-91C1-28E3-F558-B357573A4329}"/>
          </ac:grpSpMkLst>
        </pc:grpChg>
        <pc:grpChg chg="mod">
          <ac:chgData name="Chagwedera, Taona" userId="a2eb7365-7662-46ce-bee1-3106c891aa74" providerId="ADAL" clId="{07B1A4B5-8957-48D4-B926-E5B30A118811}" dt="2023-05-30T14:33:55.604" v="8284" actId="1076"/>
          <ac:grpSpMkLst>
            <pc:docMk/>
            <pc:sldMk cId="3531593510" sldId="2147379401"/>
            <ac:grpSpMk id="708" creationId="{DFC88817-6BC1-02AE-3C12-1F6D993C4D2D}"/>
          </ac:grpSpMkLst>
        </pc:grpChg>
        <pc:grpChg chg="mod">
          <ac:chgData name="Chagwedera, Taona" userId="a2eb7365-7662-46ce-bee1-3106c891aa74" providerId="ADAL" clId="{07B1A4B5-8957-48D4-B926-E5B30A118811}" dt="2023-05-30T14:33:55.604" v="8284" actId="1076"/>
          <ac:grpSpMkLst>
            <pc:docMk/>
            <pc:sldMk cId="3531593510" sldId="2147379401"/>
            <ac:grpSpMk id="709" creationId="{F6D0B29C-656F-F119-1963-644FFA3AD5F9}"/>
          </ac:grpSpMkLst>
        </pc:grpChg>
        <pc:grpChg chg="mod">
          <ac:chgData name="Chagwedera, Taona" userId="a2eb7365-7662-46ce-bee1-3106c891aa74" providerId="ADAL" clId="{07B1A4B5-8957-48D4-B926-E5B30A118811}" dt="2023-05-30T14:36:35.309" v="8335" actId="1036"/>
          <ac:grpSpMkLst>
            <pc:docMk/>
            <pc:sldMk cId="3531593510" sldId="2147379401"/>
            <ac:grpSpMk id="714" creationId="{1C3CD0EE-4C5D-A852-1DB1-CC84B19AA95E}"/>
          </ac:grpSpMkLst>
        </pc:grpChg>
        <pc:grpChg chg="mod">
          <ac:chgData name="Chagwedera, Taona" userId="a2eb7365-7662-46ce-bee1-3106c891aa74" providerId="ADAL" clId="{07B1A4B5-8957-48D4-B926-E5B30A118811}" dt="2023-05-30T14:34:49.538" v="8293" actId="1076"/>
          <ac:grpSpMkLst>
            <pc:docMk/>
            <pc:sldMk cId="3531593510" sldId="2147379401"/>
            <ac:grpSpMk id="736" creationId="{E37662A1-4297-FFFA-C27D-EB6D869C0DBE}"/>
          </ac:grpSpMkLst>
        </pc:grpChg>
        <pc:grpChg chg="mod">
          <ac:chgData name="Chagwedera, Taona" userId="a2eb7365-7662-46ce-bee1-3106c891aa74" providerId="ADAL" clId="{07B1A4B5-8957-48D4-B926-E5B30A118811}" dt="2023-05-30T14:32:28.153" v="8267" actId="1076"/>
          <ac:grpSpMkLst>
            <pc:docMk/>
            <pc:sldMk cId="3531593510" sldId="2147379401"/>
            <ac:grpSpMk id="742" creationId="{D0AFE930-6EDE-91E3-A63E-73F6B85AABD4}"/>
          </ac:grpSpMkLst>
        </pc:grpChg>
        <pc:grpChg chg="add mod">
          <ac:chgData name="Chagwedera, Taona" userId="a2eb7365-7662-46ce-bee1-3106c891aa74" providerId="ADAL" clId="{07B1A4B5-8957-48D4-B926-E5B30A118811}" dt="2023-05-30T14:33:47.292" v="8282" actId="1076"/>
          <ac:grpSpMkLst>
            <pc:docMk/>
            <pc:sldMk cId="3531593510" sldId="2147379401"/>
            <ac:grpSpMk id="790" creationId="{A62171F2-0B0B-715C-86B8-704F59AB9F04}"/>
          </ac:grpSpMkLst>
        </pc:grpChg>
        <pc:grpChg chg="add mod">
          <ac:chgData name="Chagwedera, Taona" userId="a2eb7365-7662-46ce-bee1-3106c891aa74" providerId="ADAL" clId="{07B1A4B5-8957-48D4-B926-E5B30A118811}" dt="2023-05-30T14:37:04.334" v="8362" actId="1076"/>
          <ac:grpSpMkLst>
            <pc:docMk/>
            <pc:sldMk cId="3531593510" sldId="2147379401"/>
            <ac:grpSpMk id="795" creationId="{0501FD65-5003-FF1C-0B25-258280059552}"/>
          </ac:grpSpMkLst>
        </pc:grpChg>
        <pc:grpChg chg="add mod">
          <ac:chgData name="Chagwedera, Taona" userId="a2eb7365-7662-46ce-bee1-3106c891aa74" providerId="ADAL" clId="{07B1A4B5-8957-48D4-B926-E5B30A118811}" dt="2023-05-30T14:37:25.140" v="8368" actId="1076"/>
          <ac:grpSpMkLst>
            <pc:docMk/>
            <pc:sldMk cId="3531593510" sldId="2147379401"/>
            <ac:grpSpMk id="798" creationId="{2444FA5D-0123-E65C-46E8-31E6907BD75A}"/>
          </ac:grpSpMkLst>
        </pc:grpChg>
        <pc:picChg chg="add del mod">
          <ac:chgData name="Chagwedera, Taona" userId="a2eb7365-7662-46ce-bee1-3106c891aa74" providerId="ADAL" clId="{07B1A4B5-8957-48D4-B926-E5B30A118811}" dt="2023-05-30T14:20:57.642" v="8181" actId="478"/>
          <ac:picMkLst>
            <pc:docMk/>
            <pc:sldMk cId="3531593510" sldId="2147379401"/>
            <ac:picMk id="46" creationId="{785BC719-E0F6-3059-B10B-786BA749ED67}"/>
          </ac:picMkLst>
        </pc:picChg>
        <pc:picChg chg="add mod">
          <ac:chgData name="Chagwedera, Taona" userId="a2eb7365-7662-46ce-bee1-3106c891aa74" providerId="ADAL" clId="{07B1A4B5-8957-48D4-B926-E5B30A118811}" dt="2023-05-30T14:31:06.589" v="8263" actId="208"/>
          <ac:picMkLst>
            <pc:docMk/>
            <pc:sldMk cId="3531593510" sldId="2147379401"/>
            <ac:picMk id="784" creationId="{86A07F62-D71F-372F-9661-2394715F3CEA}"/>
          </ac:picMkLst>
        </pc:picChg>
        <pc:picChg chg="add mod">
          <ac:chgData name="Chagwedera, Taona" userId="a2eb7365-7662-46ce-bee1-3106c891aa74" providerId="ADAL" clId="{07B1A4B5-8957-48D4-B926-E5B30A118811}" dt="2023-05-30T14:23:29.849" v="8202" actId="1076"/>
          <ac:picMkLst>
            <pc:docMk/>
            <pc:sldMk cId="3531593510" sldId="2147379401"/>
            <ac:picMk id="786" creationId="{7B17A3A9-F57E-BF97-ACFD-6CACBF25B9B8}"/>
          </ac:picMkLst>
        </pc:picChg>
        <pc:picChg chg="add mod">
          <ac:chgData name="Chagwedera, Taona" userId="a2eb7365-7662-46ce-bee1-3106c891aa74" providerId="ADAL" clId="{07B1A4B5-8957-48D4-B926-E5B30A118811}" dt="2023-05-30T14:33:18.808" v="8275" actId="1076"/>
          <ac:picMkLst>
            <pc:docMk/>
            <pc:sldMk cId="3531593510" sldId="2147379401"/>
            <ac:picMk id="788" creationId="{15D9F5BA-23E4-4D82-C949-B831E45EFA75}"/>
          </ac:picMkLst>
        </pc:picChg>
        <pc:picChg chg="add mod">
          <ac:chgData name="Chagwedera, Taona" userId="a2eb7365-7662-46ce-bee1-3106c891aa74" providerId="ADAL" clId="{07B1A4B5-8957-48D4-B926-E5B30A118811}" dt="2023-05-30T14:38:23.405" v="8377" actId="1076"/>
          <ac:picMkLst>
            <pc:docMk/>
            <pc:sldMk cId="3531593510" sldId="2147379401"/>
            <ac:picMk id="802" creationId="{C580520C-235C-1864-DAD8-6B02A6A8BBBC}"/>
          </ac:picMkLst>
        </pc:picChg>
        <pc:picChg chg="add mod">
          <ac:chgData name="Chagwedera, Taona" userId="a2eb7365-7662-46ce-bee1-3106c891aa74" providerId="ADAL" clId="{07B1A4B5-8957-48D4-B926-E5B30A118811}" dt="2023-05-30T14:40:05.181" v="8381" actId="1076"/>
          <ac:picMkLst>
            <pc:docMk/>
            <pc:sldMk cId="3531593510" sldId="2147379401"/>
            <ac:picMk id="804" creationId="{582C9688-BC80-A242-5BCD-2C75B0C3F1F0}"/>
          </ac:picMkLst>
        </pc:picChg>
        <pc:cxnChg chg="add mod">
          <ac:chgData name="Chagwedera, Taona" userId="a2eb7365-7662-46ce-bee1-3106c891aa74" providerId="ADAL" clId="{07B1A4B5-8957-48D4-B926-E5B30A118811}" dt="2023-05-30T14:16:17.119" v="8131" actId="108"/>
          <ac:cxnSpMkLst>
            <pc:docMk/>
            <pc:sldMk cId="3531593510" sldId="2147379401"/>
            <ac:cxnSpMk id="689" creationId="{9E2240D4-4D6B-B96D-68A4-018A0CA50D39}"/>
          </ac:cxnSpMkLst>
        </pc:cxnChg>
        <pc:cxnChg chg="add mod">
          <ac:chgData name="Chagwedera, Taona" userId="a2eb7365-7662-46ce-bee1-3106c891aa74" providerId="ADAL" clId="{07B1A4B5-8957-48D4-B926-E5B30A118811}" dt="2023-05-30T14:42:33.456" v="8411" actId="1035"/>
          <ac:cxnSpMkLst>
            <pc:docMk/>
            <pc:sldMk cId="3531593510" sldId="2147379401"/>
            <ac:cxnSpMk id="694" creationId="{5C8AB664-1729-D971-4977-13D3A3855A00}"/>
          </ac:cxnSpMkLst>
        </pc:cxnChg>
        <pc:cxnChg chg="add mod">
          <ac:chgData name="Chagwedera, Taona" userId="a2eb7365-7662-46ce-bee1-3106c891aa74" providerId="ADAL" clId="{07B1A4B5-8957-48D4-B926-E5B30A118811}" dt="2023-05-30T14:42:28.333" v="8409" actId="1035"/>
          <ac:cxnSpMkLst>
            <pc:docMk/>
            <pc:sldMk cId="3531593510" sldId="2147379401"/>
            <ac:cxnSpMk id="806" creationId="{1DDB202F-8C94-D74E-A7F9-3F0AB8110338}"/>
          </ac:cxnSpMkLst>
        </pc:cxnChg>
      </pc:sldChg>
      <pc:sldChg chg="addSp delSp modSp mod">
        <pc:chgData name="Chagwedera, Taona" userId="a2eb7365-7662-46ce-bee1-3106c891aa74" providerId="ADAL" clId="{07B1A4B5-8957-48D4-B926-E5B30A118811}" dt="2023-05-29T06:01:24.486" v="583" actId="20577"/>
        <pc:sldMkLst>
          <pc:docMk/>
          <pc:sldMk cId="2255316931" sldId="2147379404"/>
        </pc:sldMkLst>
        <pc:spChg chg="add del mod modVis">
          <ac:chgData name="Chagwedera, Taona" userId="a2eb7365-7662-46ce-bee1-3106c891aa74" providerId="ADAL" clId="{07B1A4B5-8957-48D4-B926-E5B30A118811}" dt="2023-05-29T06:01:16.942" v="579"/>
          <ac:spMkLst>
            <pc:docMk/>
            <pc:sldMk cId="2255316931" sldId="2147379404"/>
            <ac:spMk id="2" creationId="{F950EE8F-EB9B-E931-2504-7D4F9951AC80}"/>
          </ac:spMkLst>
        </pc:spChg>
        <pc:spChg chg="mod ord">
          <ac:chgData name="Chagwedera, Taona" userId="a2eb7365-7662-46ce-bee1-3106c891aa74" providerId="ADAL" clId="{07B1A4B5-8957-48D4-B926-E5B30A118811}" dt="2023-05-29T06:01:16.879" v="473"/>
          <ac:spMkLst>
            <pc:docMk/>
            <pc:sldMk cId="2255316931" sldId="2147379404"/>
            <ac:spMk id="3" creationId="{36B439D5-ECB2-1A23-FD66-6E2186F274CF}"/>
          </ac:spMkLst>
        </pc:spChg>
        <pc:spChg chg="mod">
          <ac:chgData name="Chagwedera, Taona" userId="a2eb7365-7662-46ce-bee1-3106c891aa74" providerId="ADAL" clId="{07B1A4B5-8957-48D4-B926-E5B30A118811}" dt="2023-05-29T06:01:16.881" v="475"/>
          <ac:spMkLst>
            <pc:docMk/>
            <pc:sldMk cId="2255316931" sldId="2147379404"/>
            <ac:spMk id="103" creationId="{F5B36CC6-0B6E-07E5-3A34-F5F2DEBB4493}"/>
          </ac:spMkLst>
        </pc:spChg>
        <pc:spChg chg="mod">
          <ac:chgData name="Chagwedera, Taona" userId="a2eb7365-7662-46ce-bee1-3106c891aa74" providerId="ADAL" clId="{07B1A4B5-8957-48D4-B926-E5B30A118811}" dt="2023-05-29T06:01:16.882" v="476"/>
          <ac:spMkLst>
            <pc:docMk/>
            <pc:sldMk cId="2255316931" sldId="2147379404"/>
            <ac:spMk id="104" creationId="{F3B38BC6-39A8-A11B-C678-1FFF0F6D3504}"/>
          </ac:spMkLst>
        </pc:spChg>
        <pc:spChg chg="mod">
          <ac:chgData name="Chagwedera, Taona" userId="a2eb7365-7662-46ce-bee1-3106c891aa74" providerId="ADAL" clId="{07B1A4B5-8957-48D4-B926-E5B30A118811}" dt="2023-05-29T06:01:16.882" v="477"/>
          <ac:spMkLst>
            <pc:docMk/>
            <pc:sldMk cId="2255316931" sldId="2147379404"/>
            <ac:spMk id="105" creationId="{56CD839D-5CA3-72B4-8FDD-81322E6E08FD}"/>
          </ac:spMkLst>
        </pc:spChg>
        <pc:spChg chg="mod">
          <ac:chgData name="Chagwedera, Taona" userId="a2eb7365-7662-46ce-bee1-3106c891aa74" providerId="ADAL" clId="{07B1A4B5-8957-48D4-B926-E5B30A118811}" dt="2023-05-29T06:01:16.883" v="478"/>
          <ac:spMkLst>
            <pc:docMk/>
            <pc:sldMk cId="2255316931" sldId="2147379404"/>
            <ac:spMk id="106" creationId="{AEF553E9-6D13-3256-DF0D-CDC9133979BE}"/>
          </ac:spMkLst>
        </pc:spChg>
        <pc:spChg chg="mod">
          <ac:chgData name="Chagwedera, Taona" userId="a2eb7365-7662-46ce-bee1-3106c891aa74" providerId="ADAL" clId="{07B1A4B5-8957-48D4-B926-E5B30A118811}" dt="2023-05-29T06:01:16.883" v="479"/>
          <ac:spMkLst>
            <pc:docMk/>
            <pc:sldMk cId="2255316931" sldId="2147379404"/>
            <ac:spMk id="107" creationId="{45874AD4-8C31-C0F3-823D-862045AA66F7}"/>
          </ac:spMkLst>
        </pc:spChg>
        <pc:spChg chg="mod">
          <ac:chgData name="Chagwedera, Taona" userId="a2eb7365-7662-46ce-bee1-3106c891aa74" providerId="ADAL" clId="{07B1A4B5-8957-48D4-B926-E5B30A118811}" dt="2023-05-29T06:01:16.884" v="480"/>
          <ac:spMkLst>
            <pc:docMk/>
            <pc:sldMk cId="2255316931" sldId="2147379404"/>
            <ac:spMk id="108" creationId="{3D8D5F9D-2750-FD24-1F5E-595E585B1F4E}"/>
          </ac:spMkLst>
        </pc:spChg>
        <pc:spChg chg="mod">
          <ac:chgData name="Chagwedera, Taona" userId="a2eb7365-7662-46ce-bee1-3106c891aa74" providerId="ADAL" clId="{07B1A4B5-8957-48D4-B926-E5B30A118811}" dt="2023-05-29T06:01:16.884" v="481"/>
          <ac:spMkLst>
            <pc:docMk/>
            <pc:sldMk cId="2255316931" sldId="2147379404"/>
            <ac:spMk id="109" creationId="{459EDDCF-E918-4F44-D6E7-BF02DDF8737E}"/>
          </ac:spMkLst>
        </pc:spChg>
        <pc:spChg chg="mod">
          <ac:chgData name="Chagwedera, Taona" userId="a2eb7365-7662-46ce-bee1-3106c891aa74" providerId="ADAL" clId="{07B1A4B5-8957-48D4-B926-E5B30A118811}" dt="2023-05-29T06:01:16.885" v="482"/>
          <ac:spMkLst>
            <pc:docMk/>
            <pc:sldMk cId="2255316931" sldId="2147379404"/>
            <ac:spMk id="110" creationId="{0463EADF-FC71-B335-9E22-66685EA53AD7}"/>
          </ac:spMkLst>
        </pc:spChg>
        <pc:spChg chg="mod">
          <ac:chgData name="Chagwedera, Taona" userId="a2eb7365-7662-46ce-bee1-3106c891aa74" providerId="ADAL" clId="{07B1A4B5-8957-48D4-B926-E5B30A118811}" dt="2023-05-29T06:01:16.885" v="483"/>
          <ac:spMkLst>
            <pc:docMk/>
            <pc:sldMk cId="2255316931" sldId="2147379404"/>
            <ac:spMk id="111" creationId="{B5B74D44-B109-9948-A79A-DDA8935839A6}"/>
          </ac:spMkLst>
        </pc:spChg>
        <pc:spChg chg="mod">
          <ac:chgData name="Chagwedera, Taona" userId="a2eb7365-7662-46ce-bee1-3106c891aa74" providerId="ADAL" clId="{07B1A4B5-8957-48D4-B926-E5B30A118811}" dt="2023-05-29T06:01:16.886" v="484"/>
          <ac:spMkLst>
            <pc:docMk/>
            <pc:sldMk cId="2255316931" sldId="2147379404"/>
            <ac:spMk id="112" creationId="{8C370FA4-75A7-D534-67BE-D6FB41DE3CE4}"/>
          </ac:spMkLst>
        </pc:spChg>
        <pc:spChg chg="mod">
          <ac:chgData name="Chagwedera, Taona" userId="a2eb7365-7662-46ce-bee1-3106c891aa74" providerId="ADAL" clId="{07B1A4B5-8957-48D4-B926-E5B30A118811}" dt="2023-05-29T06:01:16.887" v="485"/>
          <ac:spMkLst>
            <pc:docMk/>
            <pc:sldMk cId="2255316931" sldId="2147379404"/>
            <ac:spMk id="113" creationId="{4D9A1C24-984E-40EA-B796-CE804EAAF1CD}"/>
          </ac:spMkLst>
        </pc:spChg>
        <pc:spChg chg="mod">
          <ac:chgData name="Chagwedera, Taona" userId="a2eb7365-7662-46ce-bee1-3106c891aa74" providerId="ADAL" clId="{07B1A4B5-8957-48D4-B926-E5B30A118811}" dt="2023-05-29T06:01:16.888" v="486"/>
          <ac:spMkLst>
            <pc:docMk/>
            <pc:sldMk cId="2255316931" sldId="2147379404"/>
            <ac:spMk id="114" creationId="{72C27B46-5F1D-3CD7-3F26-D55884966BF0}"/>
          </ac:spMkLst>
        </pc:spChg>
        <pc:spChg chg="mod">
          <ac:chgData name="Chagwedera, Taona" userId="a2eb7365-7662-46ce-bee1-3106c891aa74" providerId="ADAL" clId="{07B1A4B5-8957-48D4-B926-E5B30A118811}" dt="2023-05-29T06:01:16.888" v="487"/>
          <ac:spMkLst>
            <pc:docMk/>
            <pc:sldMk cId="2255316931" sldId="2147379404"/>
            <ac:spMk id="115" creationId="{F8DBF303-5BE6-EFF1-7603-98C2D23E3BB6}"/>
          </ac:spMkLst>
        </pc:spChg>
        <pc:spChg chg="mod">
          <ac:chgData name="Chagwedera, Taona" userId="a2eb7365-7662-46ce-bee1-3106c891aa74" providerId="ADAL" clId="{07B1A4B5-8957-48D4-B926-E5B30A118811}" dt="2023-05-29T06:01:16.889" v="488"/>
          <ac:spMkLst>
            <pc:docMk/>
            <pc:sldMk cId="2255316931" sldId="2147379404"/>
            <ac:spMk id="116" creationId="{0A4086DC-1157-E52E-B50E-C1AEE766F01D}"/>
          </ac:spMkLst>
        </pc:spChg>
        <pc:spChg chg="mod">
          <ac:chgData name="Chagwedera, Taona" userId="a2eb7365-7662-46ce-bee1-3106c891aa74" providerId="ADAL" clId="{07B1A4B5-8957-48D4-B926-E5B30A118811}" dt="2023-05-29T06:01:16.890" v="489"/>
          <ac:spMkLst>
            <pc:docMk/>
            <pc:sldMk cId="2255316931" sldId="2147379404"/>
            <ac:spMk id="117" creationId="{5470225C-B174-878A-421B-8E705BEDB01C}"/>
          </ac:spMkLst>
        </pc:spChg>
        <pc:spChg chg="mod">
          <ac:chgData name="Chagwedera, Taona" userId="a2eb7365-7662-46ce-bee1-3106c891aa74" providerId="ADAL" clId="{07B1A4B5-8957-48D4-B926-E5B30A118811}" dt="2023-05-29T06:01:16.890" v="490"/>
          <ac:spMkLst>
            <pc:docMk/>
            <pc:sldMk cId="2255316931" sldId="2147379404"/>
            <ac:spMk id="118" creationId="{063251A2-D962-43D6-1A43-CF4BEDACB811}"/>
          </ac:spMkLst>
        </pc:spChg>
        <pc:spChg chg="mod">
          <ac:chgData name="Chagwedera, Taona" userId="a2eb7365-7662-46ce-bee1-3106c891aa74" providerId="ADAL" clId="{07B1A4B5-8957-48D4-B926-E5B30A118811}" dt="2023-05-29T06:01:16.891" v="491"/>
          <ac:spMkLst>
            <pc:docMk/>
            <pc:sldMk cId="2255316931" sldId="2147379404"/>
            <ac:spMk id="119" creationId="{65B96C05-D304-66A7-EE6A-DFA6173CC990}"/>
          </ac:spMkLst>
        </pc:spChg>
        <pc:spChg chg="mod">
          <ac:chgData name="Chagwedera, Taona" userId="a2eb7365-7662-46ce-bee1-3106c891aa74" providerId="ADAL" clId="{07B1A4B5-8957-48D4-B926-E5B30A118811}" dt="2023-05-29T06:01:16.892" v="492"/>
          <ac:spMkLst>
            <pc:docMk/>
            <pc:sldMk cId="2255316931" sldId="2147379404"/>
            <ac:spMk id="120" creationId="{364093A3-EA48-5152-BA73-686EE778F031}"/>
          </ac:spMkLst>
        </pc:spChg>
        <pc:spChg chg="mod">
          <ac:chgData name="Chagwedera, Taona" userId="a2eb7365-7662-46ce-bee1-3106c891aa74" providerId="ADAL" clId="{07B1A4B5-8957-48D4-B926-E5B30A118811}" dt="2023-05-29T06:01:16.892" v="493"/>
          <ac:spMkLst>
            <pc:docMk/>
            <pc:sldMk cId="2255316931" sldId="2147379404"/>
            <ac:spMk id="121" creationId="{7C9FA899-F635-DBAA-8D6A-ADC6B5B96821}"/>
          </ac:spMkLst>
        </pc:spChg>
        <pc:spChg chg="mod">
          <ac:chgData name="Chagwedera, Taona" userId="a2eb7365-7662-46ce-bee1-3106c891aa74" providerId="ADAL" clId="{07B1A4B5-8957-48D4-B926-E5B30A118811}" dt="2023-05-29T06:01:16.893" v="494"/>
          <ac:spMkLst>
            <pc:docMk/>
            <pc:sldMk cId="2255316931" sldId="2147379404"/>
            <ac:spMk id="122" creationId="{EB77272B-8986-A01C-1F88-742E21466361}"/>
          </ac:spMkLst>
        </pc:spChg>
        <pc:spChg chg="mod">
          <ac:chgData name="Chagwedera, Taona" userId="a2eb7365-7662-46ce-bee1-3106c891aa74" providerId="ADAL" clId="{07B1A4B5-8957-48D4-B926-E5B30A118811}" dt="2023-05-29T06:01:16.893" v="495"/>
          <ac:spMkLst>
            <pc:docMk/>
            <pc:sldMk cId="2255316931" sldId="2147379404"/>
            <ac:spMk id="123" creationId="{BDA60C4B-7E86-B5D9-94E6-26102361E628}"/>
          </ac:spMkLst>
        </pc:spChg>
        <pc:spChg chg="mod">
          <ac:chgData name="Chagwedera, Taona" userId="a2eb7365-7662-46ce-bee1-3106c891aa74" providerId="ADAL" clId="{07B1A4B5-8957-48D4-B926-E5B30A118811}" dt="2023-05-29T06:01:16.894" v="496"/>
          <ac:spMkLst>
            <pc:docMk/>
            <pc:sldMk cId="2255316931" sldId="2147379404"/>
            <ac:spMk id="124" creationId="{F8E27192-0430-B55D-C7FE-322462D5BE9F}"/>
          </ac:spMkLst>
        </pc:spChg>
        <pc:spChg chg="mod">
          <ac:chgData name="Chagwedera, Taona" userId="a2eb7365-7662-46ce-bee1-3106c891aa74" providerId="ADAL" clId="{07B1A4B5-8957-48D4-B926-E5B30A118811}" dt="2023-05-29T06:01:16.894" v="497"/>
          <ac:spMkLst>
            <pc:docMk/>
            <pc:sldMk cId="2255316931" sldId="2147379404"/>
            <ac:spMk id="125" creationId="{FB56EC68-FCE2-D24F-22E3-E489B39BF8D9}"/>
          </ac:spMkLst>
        </pc:spChg>
        <pc:spChg chg="mod">
          <ac:chgData name="Chagwedera, Taona" userId="a2eb7365-7662-46ce-bee1-3106c891aa74" providerId="ADAL" clId="{07B1A4B5-8957-48D4-B926-E5B30A118811}" dt="2023-05-29T06:01:16.895" v="498"/>
          <ac:spMkLst>
            <pc:docMk/>
            <pc:sldMk cId="2255316931" sldId="2147379404"/>
            <ac:spMk id="126" creationId="{4D9334D2-28F5-41E5-04E7-EFC3195E2B78}"/>
          </ac:spMkLst>
        </pc:spChg>
        <pc:spChg chg="mod">
          <ac:chgData name="Chagwedera, Taona" userId="a2eb7365-7662-46ce-bee1-3106c891aa74" providerId="ADAL" clId="{07B1A4B5-8957-48D4-B926-E5B30A118811}" dt="2023-05-29T06:01:16.896" v="499"/>
          <ac:spMkLst>
            <pc:docMk/>
            <pc:sldMk cId="2255316931" sldId="2147379404"/>
            <ac:spMk id="127" creationId="{77ABAF1F-D060-6126-5263-F5FE0AAE21EC}"/>
          </ac:spMkLst>
        </pc:spChg>
        <pc:spChg chg="mod">
          <ac:chgData name="Chagwedera, Taona" userId="a2eb7365-7662-46ce-bee1-3106c891aa74" providerId="ADAL" clId="{07B1A4B5-8957-48D4-B926-E5B30A118811}" dt="2023-05-29T06:01:16.896" v="500"/>
          <ac:spMkLst>
            <pc:docMk/>
            <pc:sldMk cId="2255316931" sldId="2147379404"/>
            <ac:spMk id="128" creationId="{6A42A4A5-F0E0-F5C4-E747-8CC8EEA05371}"/>
          </ac:spMkLst>
        </pc:spChg>
        <pc:spChg chg="mod">
          <ac:chgData name="Chagwedera, Taona" userId="a2eb7365-7662-46ce-bee1-3106c891aa74" providerId="ADAL" clId="{07B1A4B5-8957-48D4-B926-E5B30A118811}" dt="2023-05-29T06:01:16.897" v="501"/>
          <ac:spMkLst>
            <pc:docMk/>
            <pc:sldMk cId="2255316931" sldId="2147379404"/>
            <ac:spMk id="129" creationId="{D2B5E7FD-0432-C55C-5DF2-6E614A6B1135}"/>
          </ac:spMkLst>
        </pc:spChg>
        <pc:spChg chg="mod">
          <ac:chgData name="Chagwedera, Taona" userId="a2eb7365-7662-46ce-bee1-3106c891aa74" providerId="ADAL" clId="{07B1A4B5-8957-48D4-B926-E5B30A118811}" dt="2023-05-29T06:01:16.897" v="502"/>
          <ac:spMkLst>
            <pc:docMk/>
            <pc:sldMk cId="2255316931" sldId="2147379404"/>
            <ac:spMk id="130" creationId="{6776636C-5202-78EA-4570-734A0593A44D}"/>
          </ac:spMkLst>
        </pc:spChg>
        <pc:spChg chg="mod">
          <ac:chgData name="Chagwedera, Taona" userId="a2eb7365-7662-46ce-bee1-3106c891aa74" providerId="ADAL" clId="{07B1A4B5-8957-48D4-B926-E5B30A118811}" dt="2023-05-29T06:01:16.898" v="503"/>
          <ac:spMkLst>
            <pc:docMk/>
            <pc:sldMk cId="2255316931" sldId="2147379404"/>
            <ac:spMk id="131" creationId="{22921E6E-63E9-5910-C571-8C204C9A0CB6}"/>
          </ac:spMkLst>
        </pc:spChg>
        <pc:spChg chg="mod">
          <ac:chgData name="Chagwedera, Taona" userId="a2eb7365-7662-46ce-bee1-3106c891aa74" providerId="ADAL" clId="{07B1A4B5-8957-48D4-B926-E5B30A118811}" dt="2023-05-29T06:01:16.899" v="504"/>
          <ac:spMkLst>
            <pc:docMk/>
            <pc:sldMk cId="2255316931" sldId="2147379404"/>
            <ac:spMk id="132" creationId="{C4D42924-E3B9-3553-8942-6F559FFB21A4}"/>
          </ac:spMkLst>
        </pc:spChg>
        <pc:spChg chg="mod">
          <ac:chgData name="Chagwedera, Taona" userId="a2eb7365-7662-46ce-bee1-3106c891aa74" providerId="ADAL" clId="{07B1A4B5-8957-48D4-B926-E5B30A118811}" dt="2023-05-29T06:01:16.899" v="505"/>
          <ac:spMkLst>
            <pc:docMk/>
            <pc:sldMk cId="2255316931" sldId="2147379404"/>
            <ac:spMk id="133" creationId="{8C9B0F16-6F35-73C3-0F7E-7CFC271BF4EB}"/>
          </ac:spMkLst>
        </pc:spChg>
        <pc:spChg chg="mod">
          <ac:chgData name="Chagwedera, Taona" userId="a2eb7365-7662-46ce-bee1-3106c891aa74" providerId="ADAL" clId="{07B1A4B5-8957-48D4-B926-E5B30A118811}" dt="2023-05-29T06:01:16.900" v="506"/>
          <ac:spMkLst>
            <pc:docMk/>
            <pc:sldMk cId="2255316931" sldId="2147379404"/>
            <ac:spMk id="134" creationId="{026CB72A-15ED-B88B-D335-FDDFCA3B81CE}"/>
          </ac:spMkLst>
        </pc:spChg>
        <pc:spChg chg="mod">
          <ac:chgData name="Chagwedera, Taona" userId="a2eb7365-7662-46ce-bee1-3106c891aa74" providerId="ADAL" clId="{07B1A4B5-8957-48D4-B926-E5B30A118811}" dt="2023-05-29T06:01:16.900" v="507"/>
          <ac:spMkLst>
            <pc:docMk/>
            <pc:sldMk cId="2255316931" sldId="2147379404"/>
            <ac:spMk id="135" creationId="{993EA8F5-34E6-7DDE-E1F4-75EC98227FA1}"/>
          </ac:spMkLst>
        </pc:spChg>
        <pc:spChg chg="mod">
          <ac:chgData name="Chagwedera, Taona" userId="a2eb7365-7662-46ce-bee1-3106c891aa74" providerId="ADAL" clId="{07B1A4B5-8957-48D4-B926-E5B30A118811}" dt="2023-05-29T06:01:16.901" v="508"/>
          <ac:spMkLst>
            <pc:docMk/>
            <pc:sldMk cId="2255316931" sldId="2147379404"/>
            <ac:spMk id="136" creationId="{24544941-FB10-87F4-971C-BEAB4D5204E7}"/>
          </ac:spMkLst>
        </pc:spChg>
        <pc:spChg chg="mod">
          <ac:chgData name="Chagwedera, Taona" userId="a2eb7365-7662-46ce-bee1-3106c891aa74" providerId="ADAL" clId="{07B1A4B5-8957-48D4-B926-E5B30A118811}" dt="2023-05-29T06:01:16.901" v="509"/>
          <ac:spMkLst>
            <pc:docMk/>
            <pc:sldMk cId="2255316931" sldId="2147379404"/>
            <ac:spMk id="137" creationId="{0FC7DFEB-4564-D7FC-6954-EF7DE0521ECC}"/>
          </ac:spMkLst>
        </pc:spChg>
        <pc:spChg chg="mod">
          <ac:chgData name="Chagwedera, Taona" userId="a2eb7365-7662-46ce-bee1-3106c891aa74" providerId="ADAL" clId="{07B1A4B5-8957-48D4-B926-E5B30A118811}" dt="2023-05-29T06:01:16.902" v="510"/>
          <ac:spMkLst>
            <pc:docMk/>
            <pc:sldMk cId="2255316931" sldId="2147379404"/>
            <ac:spMk id="138" creationId="{D5A72A7C-C8D8-BBBE-4637-07EE7C4E86B1}"/>
          </ac:spMkLst>
        </pc:spChg>
        <pc:spChg chg="mod ord">
          <ac:chgData name="Chagwedera, Taona" userId="a2eb7365-7662-46ce-bee1-3106c891aa74" providerId="ADAL" clId="{07B1A4B5-8957-48D4-B926-E5B30A118811}" dt="2023-05-29T06:01:16.903" v="512"/>
          <ac:spMkLst>
            <pc:docMk/>
            <pc:sldMk cId="2255316931" sldId="2147379404"/>
            <ac:spMk id="139" creationId="{31DBECCC-56E6-2D17-A977-D2DF0656C8AA}"/>
          </ac:spMkLst>
        </pc:spChg>
        <pc:spChg chg="mod ord">
          <ac:chgData name="Chagwedera, Taona" userId="a2eb7365-7662-46ce-bee1-3106c891aa74" providerId="ADAL" clId="{07B1A4B5-8957-48D4-B926-E5B30A118811}" dt="2023-05-29T06:01:16.904" v="514"/>
          <ac:spMkLst>
            <pc:docMk/>
            <pc:sldMk cId="2255316931" sldId="2147379404"/>
            <ac:spMk id="140" creationId="{BC1EEB80-1B7C-F905-0FF9-A5E6A9E7C59E}"/>
          </ac:spMkLst>
        </pc:spChg>
        <pc:spChg chg="mod ord">
          <ac:chgData name="Chagwedera, Taona" userId="a2eb7365-7662-46ce-bee1-3106c891aa74" providerId="ADAL" clId="{07B1A4B5-8957-48D4-B926-E5B30A118811}" dt="2023-05-29T06:01:16.905" v="516"/>
          <ac:spMkLst>
            <pc:docMk/>
            <pc:sldMk cId="2255316931" sldId="2147379404"/>
            <ac:spMk id="141" creationId="{AF68D793-C237-8F11-53C5-7F5562FB9F0E}"/>
          </ac:spMkLst>
        </pc:spChg>
        <pc:spChg chg="mod ord">
          <ac:chgData name="Chagwedera, Taona" userId="a2eb7365-7662-46ce-bee1-3106c891aa74" providerId="ADAL" clId="{07B1A4B5-8957-48D4-B926-E5B30A118811}" dt="2023-05-29T06:01:16.906" v="518"/>
          <ac:spMkLst>
            <pc:docMk/>
            <pc:sldMk cId="2255316931" sldId="2147379404"/>
            <ac:spMk id="142" creationId="{BADEB305-965A-BFA2-60FA-977DB23F3043}"/>
          </ac:spMkLst>
        </pc:spChg>
        <pc:spChg chg="mod">
          <ac:chgData name="Chagwedera, Taona" userId="a2eb7365-7662-46ce-bee1-3106c891aa74" providerId="ADAL" clId="{07B1A4B5-8957-48D4-B926-E5B30A118811}" dt="2023-05-29T06:01:16.907" v="519"/>
          <ac:spMkLst>
            <pc:docMk/>
            <pc:sldMk cId="2255316931" sldId="2147379404"/>
            <ac:spMk id="143" creationId="{AAEDB265-A465-2DD2-69F5-117D46CC166D}"/>
          </ac:spMkLst>
        </pc:spChg>
        <pc:spChg chg="mod">
          <ac:chgData name="Chagwedera, Taona" userId="a2eb7365-7662-46ce-bee1-3106c891aa74" providerId="ADAL" clId="{07B1A4B5-8957-48D4-B926-E5B30A118811}" dt="2023-05-29T06:01:16.907" v="520"/>
          <ac:spMkLst>
            <pc:docMk/>
            <pc:sldMk cId="2255316931" sldId="2147379404"/>
            <ac:spMk id="144" creationId="{47A323EA-76B2-48E2-C069-AC28832C8F4E}"/>
          </ac:spMkLst>
        </pc:spChg>
        <pc:spChg chg="mod">
          <ac:chgData name="Chagwedera, Taona" userId="a2eb7365-7662-46ce-bee1-3106c891aa74" providerId="ADAL" clId="{07B1A4B5-8957-48D4-B926-E5B30A118811}" dt="2023-05-29T06:01:16.908" v="521"/>
          <ac:spMkLst>
            <pc:docMk/>
            <pc:sldMk cId="2255316931" sldId="2147379404"/>
            <ac:spMk id="145" creationId="{D3A22A4B-08F5-7862-2A24-6F2E07799187}"/>
          </ac:spMkLst>
        </pc:spChg>
        <pc:spChg chg="mod">
          <ac:chgData name="Chagwedera, Taona" userId="a2eb7365-7662-46ce-bee1-3106c891aa74" providerId="ADAL" clId="{07B1A4B5-8957-48D4-B926-E5B30A118811}" dt="2023-05-29T06:01:16.908" v="522"/>
          <ac:spMkLst>
            <pc:docMk/>
            <pc:sldMk cId="2255316931" sldId="2147379404"/>
            <ac:spMk id="146" creationId="{03882C58-F7E7-11FB-7814-F294777BE793}"/>
          </ac:spMkLst>
        </pc:spChg>
        <pc:spChg chg="mod">
          <ac:chgData name="Chagwedera, Taona" userId="a2eb7365-7662-46ce-bee1-3106c891aa74" providerId="ADAL" clId="{07B1A4B5-8957-48D4-B926-E5B30A118811}" dt="2023-05-29T06:01:16.910" v="524"/>
          <ac:spMkLst>
            <pc:docMk/>
            <pc:sldMk cId="2255316931" sldId="2147379404"/>
            <ac:spMk id="233" creationId="{191042BE-DDBC-1192-20E7-151F6D7171F5}"/>
          </ac:spMkLst>
        </pc:spChg>
        <pc:spChg chg="mod">
          <ac:chgData name="Chagwedera, Taona" userId="a2eb7365-7662-46ce-bee1-3106c891aa74" providerId="ADAL" clId="{07B1A4B5-8957-48D4-B926-E5B30A118811}" dt="2023-05-29T06:01:16.910" v="525"/>
          <ac:spMkLst>
            <pc:docMk/>
            <pc:sldMk cId="2255316931" sldId="2147379404"/>
            <ac:spMk id="234" creationId="{960901D6-6EF3-D9F5-F977-B469B9D60DC0}"/>
          </ac:spMkLst>
        </pc:spChg>
        <pc:spChg chg="mod">
          <ac:chgData name="Chagwedera, Taona" userId="a2eb7365-7662-46ce-bee1-3106c891aa74" providerId="ADAL" clId="{07B1A4B5-8957-48D4-B926-E5B30A118811}" dt="2023-05-29T06:01:16.911" v="526"/>
          <ac:spMkLst>
            <pc:docMk/>
            <pc:sldMk cId="2255316931" sldId="2147379404"/>
            <ac:spMk id="235" creationId="{4C27A52A-685E-8E07-F86B-2CB7E9C9A18F}"/>
          </ac:spMkLst>
        </pc:spChg>
        <pc:spChg chg="mod">
          <ac:chgData name="Chagwedera, Taona" userId="a2eb7365-7662-46ce-bee1-3106c891aa74" providerId="ADAL" clId="{07B1A4B5-8957-48D4-B926-E5B30A118811}" dt="2023-05-29T06:01:16.911" v="527"/>
          <ac:spMkLst>
            <pc:docMk/>
            <pc:sldMk cId="2255316931" sldId="2147379404"/>
            <ac:spMk id="236" creationId="{9F8DA8E5-40D1-CF7E-36D7-6AD9C5922E95}"/>
          </ac:spMkLst>
        </pc:spChg>
        <pc:spChg chg="mod">
          <ac:chgData name="Chagwedera, Taona" userId="a2eb7365-7662-46ce-bee1-3106c891aa74" providerId="ADAL" clId="{07B1A4B5-8957-48D4-B926-E5B30A118811}" dt="2023-05-29T06:01:16.912" v="528"/>
          <ac:spMkLst>
            <pc:docMk/>
            <pc:sldMk cId="2255316931" sldId="2147379404"/>
            <ac:spMk id="237" creationId="{A8225A0D-4D4E-2DC0-5027-8AEAAFA98802}"/>
          </ac:spMkLst>
        </pc:spChg>
        <pc:spChg chg="mod">
          <ac:chgData name="Chagwedera, Taona" userId="a2eb7365-7662-46ce-bee1-3106c891aa74" providerId="ADAL" clId="{07B1A4B5-8957-48D4-B926-E5B30A118811}" dt="2023-05-29T06:01:16.913" v="529"/>
          <ac:spMkLst>
            <pc:docMk/>
            <pc:sldMk cId="2255316931" sldId="2147379404"/>
            <ac:spMk id="238" creationId="{C2408929-5C6D-5321-50B0-893BAE27A59A}"/>
          </ac:spMkLst>
        </pc:spChg>
        <pc:spChg chg="mod">
          <ac:chgData name="Chagwedera, Taona" userId="a2eb7365-7662-46ce-bee1-3106c891aa74" providerId="ADAL" clId="{07B1A4B5-8957-48D4-B926-E5B30A118811}" dt="2023-05-29T06:01:16.913" v="530"/>
          <ac:spMkLst>
            <pc:docMk/>
            <pc:sldMk cId="2255316931" sldId="2147379404"/>
            <ac:spMk id="239" creationId="{0898E5D1-B629-3BE9-CCCC-0414480A9573}"/>
          </ac:spMkLst>
        </pc:spChg>
        <pc:spChg chg="mod">
          <ac:chgData name="Chagwedera, Taona" userId="a2eb7365-7662-46ce-bee1-3106c891aa74" providerId="ADAL" clId="{07B1A4B5-8957-48D4-B926-E5B30A118811}" dt="2023-05-29T06:01:16.914" v="531"/>
          <ac:spMkLst>
            <pc:docMk/>
            <pc:sldMk cId="2255316931" sldId="2147379404"/>
            <ac:spMk id="240" creationId="{60458A80-0821-A2F4-BA45-BBB8F545C76F}"/>
          </ac:spMkLst>
        </pc:spChg>
        <pc:spChg chg="mod">
          <ac:chgData name="Chagwedera, Taona" userId="a2eb7365-7662-46ce-bee1-3106c891aa74" providerId="ADAL" clId="{07B1A4B5-8957-48D4-B926-E5B30A118811}" dt="2023-05-29T06:01:16.914" v="532"/>
          <ac:spMkLst>
            <pc:docMk/>
            <pc:sldMk cId="2255316931" sldId="2147379404"/>
            <ac:spMk id="241" creationId="{71EC4755-5BCC-19ED-E10B-BE0B65DA004E}"/>
          </ac:spMkLst>
        </pc:spChg>
        <pc:spChg chg="mod">
          <ac:chgData name="Chagwedera, Taona" userId="a2eb7365-7662-46ce-bee1-3106c891aa74" providerId="ADAL" clId="{07B1A4B5-8957-48D4-B926-E5B30A118811}" dt="2023-05-29T06:01:16.915" v="533"/>
          <ac:spMkLst>
            <pc:docMk/>
            <pc:sldMk cId="2255316931" sldId="2147379404"/>
            <ac:spMk id="242" creationId="{0D9835ED-7431-D29A-353E-4030EECED81C}"/>
          </ac:spMkLst>
        </pc:spChg>
        <pc:spChg chg="mod">
          <ac:chgData name="Chagwedera, Taona" userId="a2eb7365-7662-46ce-bee1-3106c891aa74" providerId="ADAL" clId="{07B1A4B5-8957-48D4-B926-E5B30A118811}" dt="2023-05-29T06:01:16.915" v="534"/>
          <ac:spMkLst>
            <pc:docMk/>
            <pc:sldMk cId="2255316931" sldId="2147379404"/>
            <ac:spMk id="243" creationId="{A325BB60-75C6-72C8-0069-9127E484B6CE}"/>
          </ac:spMkLst>
        </pc:spChg>
        <pc:spChg chg="mod">
          <ac:chgData name="Chagwedera, Taona" userId="a2eb7365-7662-46ce-bee1-3106c891aa74" providerId="ADAL" clId="{07B1A4B5-8957-48D4-B926-E5B30A118811}" dt="2023-05-29T06:01:16.916" v="535"/>
          <ac:spMkLst>
            <pc:docMk/>
            <pc:sldMk cId="2255316931" sldId="2147379404"/>
            <ac:spMk id="244" creationId="{1431435A-2EB8-DFEA-CC65-E7648E4956C1}"/>
          </ac:spMkLst>
        </pc:spChg>
        <pc:spChg chg="mod">
          <ac:chgData name="Chagwedera, Taona" userId="a2eb7365-7662-46ce-bee1-3106c891aa74" providerId="ADAL" clId="{07B1A4B5-8957-48D4-B926-E5B30A118811}" dt="2023-05-29T06:01:16.917" v="536"/>
          <ac:spMkLst>
            <pc:docMk/>
            <pc:sldMk cId="2255316931" sldId="2147379404"/>
            <ac:spMk id="245" creationId="{CB5FC521-F5A2-0DA8-9407-43231C34D05A}"/>
          </ac:spMkLst>
        </pc:spChg>
        <pc:spChg chg="mod">
          <ac:chgData name="Chagwedera, Taona" userId="a2eb7365-7662-46ce-bee1-3106c891aa74" providerId="ADAL" clId="{07B1A4B5-8957-48D4-B926-E5B30A118811}" dt="2023-05-29T06:01:16.917" v="537"/>
          <ac:spMkLst>
            <pc:docMk/>
            <pc:sldMk cId="2255316931" sldId="2147379404"/>
            <ac:spMk id="246" creationId="{0D47E42D-DD05-34BC-E711-9674192719AE}"/>
          </ac:spMkLst>
        </pc:spChg>
        <pc:spChg chg="mod">
          <ac:chgData name="Chagwedera, Taona" userId="a2eb7365-7662-46ce-bee1-3106c891aa74" providerId="ADAL" clId="{07B1A4B5-8957-48D4-B926-E5B30A118811}" dt="2023-05-29T06:01:16.918" v="538"/>
          <ac:spMkLst>
            <pc:docMk/>
            <pc:sldMk cId="2255316931" sldId="2147379404"/>
            <ac:spMk id="247" creationId="{6FF14BAE-558E-D5E2-D8CA-FD180A7E6513}"/>
          </ac:spMkLst>
        </pc:spChg>
        <pc:spChg chg="mod">
          <ac:chgData name="Chagwedera, Taona" userId="a2eb7365-7662-46ce-bee1-3106c891aa74" providerId="ADAL" clId="{07B1A4B5-8957-48D4-B926-E5B30A118811}" dt="2023-05-29T06:01:16.919" v="539"/>
          <ac:spMkLst>
            <pc:docMk/>
            <pc:sldMk cId="2255316931" sldId="2147379404"/>
            <ac:spMk id="248" creationId="{62FC055C-C1AC-4CDE-EC1B-27CC21E250FA}"/>
          </ac:spMkLst>
        </pc:spChg>
        <pc:spChg chg="mod">
          <ac:chgData name="Chagwedera, Taona" userId="a2eb7365-7662-46ce-bee1-3106c891aa74" providerId="ADAL" clId="{07B1A4B5-8957-48D4-B926-E5B30A118811}" dt="2023-05-29T06:01:16.920" v="540"/>
          <ac:spMkLst>
            <pc:docMk/>
            <pc:sldMk cId="2255316931" sldId="2147379404"/>
            <ac:spMk id="249" creationId="{E5526003-CEBF-04A0-159B-78F3696D4558}"/>
          </ac:spMkLst>
        </pc:spChg>
        <pc:spChg chg="mod">
          <ac:chgData name="Chagwedera, Taona" userId="a2eb7365-7662-46ce-bee1-3106c891aa74" providerId="ADAL" clId="{07B1A4B5-8957-48D4-B926-E5B30A118811}" dt="2023-05-29T06:01:16.920" v="541"/>
          <ac:spMkLst>
            <pc:docMk/>
            <pc:sldMk cId="2255316931" sldId="2147379404"/>
            <ac:spMk id="250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29T06:01:16.921" v="542"/>
          <ac:spMkLst>
            <pc:docMk/>
            <pc:sldMk cId="2255316931" sldId="2147379404"/>
            <ac:spMk id="251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29T06:01:16.922" v="543"/>
          <ac:spMkLst>
            <pc:docMk/>
            <pc:sldMk cId="2255316931" sldId="2147379404"/>
            <ac:spMk id="252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29T06:01:16.922" v="544"/>
          <ac:spMkLst>
            <pc:docMk/>
            <pc:sldMk cId="2255316931" sldId="2147379404"/>
            <ac:spMk id="253" creationId="{1FF34187-AE23-CDD6-29EB-F91F0E085B8F}"/>
          </ac:spMkLst>
        </pc:spChg>
        <pc:spChg chg="mod">
          <ac:chgData name="Chagwedera, Taona" userId="a2eb7365-7662-46ce-bee1-3106c891aa74" providerId="ADAL" clId="{07B1A4B5-8957-48D4-B926-E5B30A118811}" dt="2023-05-29T06:01:16.923" v="545"/>
          <ac:spMkLst>
            <pc:docMk/>
            <pc:sldMk cId="2255316931" sldId="2147379404"/>
            <ac:spMk id="254" creationId="{35D1EF3B-0E32-DC08-814B-76C6CC47E81A}"/>
          </ac:spMkLst>
        </pc:spChg>
        <pc:spChg chg="mod">
          <ac:chgData name="Chagwedera, Taona" userId="a2eb7365-7662-46ce-bee1-3106c891aa74" providerId="ADAL" clId="{07B1A4B5-8957-48D4-B926-E5B30A118811}" dt="2023-05-29T06:01:16.923" v="546"/>
          <ac:spMkLst>
            <pc:docMk/>
            <pc:sldMk cId="2255316931" sldId="2147379404"/>
            <ac:spMk id="255" creationId="{6B6B0409-D71C-AC19-06C6-15FF893AE995}"/>
          </ac:spMkLst>
        </pc:spChg>
        <pc:spChg chg="mod">
          <ac:chgData name="Chagwedera, Taona" userId="a2eb7365-7662-46ce-bee1-3106c891aa74" providerId="ADAL" clId="{07B1A4B5-8957-48D4-B926-E5B30A118811}" dt="2023-05-29T06:01:16.924" v="547"/>
          <ac:spMkLst>
            <pc:docMk/>
            <pc:sldMk cId="2255316931" sldId="2147379404"/>
            <ac:spMk id="256" creationId="{3D1FE5B8-55C5-CCEC-4A22-8FFFBDEB293F}"/>
          </ac:spMkLst>
        </pc:spChg>
        <pc:spChg chg="mod">
          <ac:chgData name="Chagwedera, Taona" userId="a2eb7365-7662-46ce-bee1-3106c891aa74" providerId="ADAL" clId="{07B1A4B5-8957-48D4-B926-E5B30A118811}" dt="2023-05-29T06:01:16.925" v="548"/>
          <ac:spMkLst>
            <pc:docMk/>
            <pc:sldMk cId="2255316931" sldId="2147379404"/>
            <ac:spMk id="257" creationId="{F5150845-8D07-F010-AA68-30CE969ED116}"/>
          </ac:spMkLst>
        </pc:spChg>
        <pc:spChg chg="mod">
          <ac:chgData name="Chagwedera, Taona" userId="a2eb7365-7662-46ce-bee1-3106c891aa74" providerId="ADAL" clId="{07B1A4B5-8957-48D4-B926-E5B30A118811}" dt="2023-05-29T06:01:16.925" v="549"/>
          <ac:spMkLst>
            <pc:docMk/>
            <pc:sldMk cId="2255316931" sldId="2147379404"/>
            <ac:spMk id="258" creationId="{52DE6241-947F-DD59-41BD-7448BC8452A1}"/>
          </ac:spMkLst>
        </pc:spChg>
        <pc:spChg chg="mod">
          <ac:chgData name="Chagwedera, Taona" userId="a2eb7365-7662-46ce-bee1-3106c891aa74" providerId="ADAL" clId="{07B1A4B5-8957-48D4-B926-E5B30A118811}" dt="2023-05-29T06:01:16.926" v="550"/>
          <ac:spMkLst>
            <pc:docMk/>
            <pc:sldMk cId="2255316931" sldId="2147379404"/>
            <ac:spMk id="259" creationId="{F422387E-D88D-D8A2-1EE5-31614B8C842A}"/>
          </ac:spMkLst>
        </pc:spChg>
        <pc:spChg chg="mod">
          <ac:chgData name="Chagwedera, Taona" userId="a2eb7365-7662-46ce-bee1-3106c891aa74" providerId="ADAL" clId="{07B1A4B5-8957-48D4-B926-E5B30A118811}" dt="2023-05-29T06:01:16.926" v="551"/>
          <ac:spMkLst>
            <pc:docMk/>
            <pc:sldMk cId="2255316931" sldId="2147379404"/>
            <ac:spMk id="260" creationId="{0968CE51-9092-C9B4-2462-AFF784902550}"/>
          </ac:spMkLst>
        </pc:spChg>
        <pc:spChg chg="mod">
          <ac:chgData name="Chagwedera, Taona" userId="a2eb7365-7662-46ce-bee1-3106c891aa74" providerId="ADAL" clId="{07B1A4B5-8957-48D4-B926-E5B30A118811}" dt="2023-05-29T06:01:16.927" v="552"/>
          <ac:spMkLst>
            <pc:docMk/>
            <pc:sldMk cId="2255316931" sldId="2147379404"/>
            <ac:spMk id="261" creationId="{5093406F-D624-478D-CCEE-6DA63CB41895}"/>
          </ac:spMkLst>
        </pc:spChg>
        <pc:spChg chg="mod">
          <ac:chgData name="Chagwedera, Taona" userId="a2eb7365-7662-46ce-bee1-3106c891aa74" providerId="ADAL" clId="{07B1A4B5-8957-48D4-B926-E5B30A118811}" dt="2023-05-29T06:01:16.928" v="553"/>
          <ac:spMkLst>
            <pc:docMk/>
            <pc:sldMk cId="2255316931" sldId="2147379404"/>
            <ac:spMk id="262" creationId="{EF2AB822-D879-76FD-F988-D6D1B13A595B}"/>
          </ac:spMkLst>
        </pc:spChg>
        <pc:spChg chg="mod">
          <ac:chgData name="Chagwedera, Taona" userId="a2eb7365-7662-46ce-bee1-3106c891aa74" providerId="ADAL" clId="{07B1A4B5-8957-48D4-B926-E5B30A118811}" dt="2023-05-29T06:01:16.928" v="554"/>
          <ac:spMkLst>
            <pc:docMk/>
            <pc:sldMk cId="2255316931" sldId="2147379404"/>
            <ac:spMk id="263" creationId="{0D3E9196-52C3-8112-8B99-C2BE0295128A}"/>
          </ac:spMkLst>
        </pc:spChg>
        <pc:spChg chg="mod">
          <ac:chgData name="Chagwedera, Taona" userId="a2eb7365-7662-46ce-bee1-3106c891aa74" providerId="ADAL" clId="{07B1A4B5-8957-48D4-B926-E5B30A118811}" dt="2023-05-29T06:01:16.929" v="555"/>
          <ac:spMkLst>
            <pc:docMk/>
            <pc:sldMk cId="2255316931" sldId="2147379404"/>
            <ac:spMk id="264" creationId="{D3FAE7CC-BC10-C694-6067-BD16129F4E34}"/>
          </ac:spMkLst>
        </pc:spChg>
        <pc:spChg chg="mod">
          <ac:chgData name="Chagwedera, Taona" userId="a2eb7365-7662-46ce-bee1-3106c891aa74" providerId="ADAL" clId="{07B1A4B5-8957-48D4-B926-E5B30A118811}" dt="2023-05-29T06:01:16.929" v="556"/>
          <ac:spMkLst>
            <pc:docMk/>
            <pc:sldMk cId="2255316931" sldId="2147379404"/>
            <ac:spMk id="265" creationId="{9D1474D7-DDDC-48A8-D9DC-015DAE3DFDE9}"/>
          </ac:spMkLst>
        </pc:spChg>
        <pc:spChg chg="mod">
          <ac:chgData name="Chagwedera, Taona" userId="a2eb7365-7662-46ce-bee1-3106c891aa74" providerId="ADAL" clId="{07B1A4B5-8957-48D4-B926-E5B30A118811}" dt="2023-05-29T06:01:16.930" v="557"/>
          <ac:spMkLst>
            <pc:docMk/>
            <pc:sldMk cId="2255316931" sldId="2147379404"/>
            <ac:spMk id="266" creationId="{C04066B7-CC32-602B-3D6D-F7CA45763BCA}"/>
          </ac:spMkLst>
        </pc:spChg>
        <pc:spChg chg="mod">
          <ac:chgData name="Chagwedera, Taona" userId="a2eb7365-7662-46ce-bee1-3106c891aa74" providerId="ADAL" clId="{07B1A4B5-8957-48D4-B926-E5B30A118811}" dt="2023-05-29T06:01:16.930" v="558"/>
          <ac:spMkLst>
            <pc:docMk/>
            <pc:sldMk cId="2255316931" sldId="2147379404"/>
            <ac:spMk id="267" creationId="{222354AB-ECBD-4905-7774-48C81B330CBD}"/>
          </ac:spMkLst>
        </pc:spChg>
        <pc:spChg chg="mod">
          <ac:chgData name="Chagwedera, Taona" userId="a2eb7365-7662-46ce-bee1-3106c891aa74" providerId="ADAL" clId="{07B1A4B5-8957-48D4-B926-E5B30A118811}" dt="2023-05-29T06:01:16.931" v="559"/>
          <ac:spMkLst>
            <pc:docMk/>
            <pc:sldMk cId="2255316931" sldId="2147379404"/>
            <ac:spMk id="268" creationId="{307A5E3A-0590-49EC-9D99-0A2B638DB325}"/>
          </ac:spMkLst>
        </pc:spChg>
        <pc:spChg chg="mod ord">
          <ac:chgData name="Chagwedera, Taona" userId="a2eb7365-7662-46ce-bee1-3106c891aa74" providerId="ADAL" clId="{07B1A4B5-8957-48D4-B926-E5B30A118811}" dt="2023-05-29T06:01:16.932" v="561"/>
          <ac:spMkLst>
            <pc:docMk/>
            <pc:sldMk cId="2255316931" sldId="2147379404"/>
            <ac:spMk id="269" creationId="{DE2163EA-2D98-9405-25CF-AC63701ECA90}"/>
          </ac:spMkLst>
        </pc:spChg>
        <pc:spChg chg="mod ord">
          <ac:chgData name="Chagwedera, Taona" userId="a2eb7365-7662-46ce-bee1-3106c891aa74" providerId="ADAL" clId="{07B1A4B5-8957-48D4-B926-E5B30A118811}" dt="2023-05-29T06:01:16.933" v="563"/>
          <ac:spMkLst>
            <pc:docMk/>
            <pc:sldMk cId="2255316931" sldId="2147379404"/>
            <ac:spMk id="270" creationId="{A2F54580-1C44-D6A9-EB47-CFF3C4F68037}"/>
          </ac:spMkLst>
        </pc:spChg>
        <pc:spChg chg="mod ord">
          <ac:chgData name="Chagwedera, Taona" userId="a2eb7365-7662-46ce-bee1-3106c891aa74" providerId="ADAL" clId="{07B1A4B5-8957-48D4-B926-E5B30A118811}" dt="2023-05-29T06:01:16.933" v="565"/>
          <ac:spMkLst>
            <pc:docMk/>
            <pc:sldMk cId="2255316931" sldId="2147379404"/>
            <ac:spMk id="271" creationId="{3BDEB857-BD5E-D197-2426-24659E11ABB9}"/>
          </ac:spMkLst>
        </pc:spChg>
        <pc:spChg chg="mod ord">
          <ac:chgData name="Chagwedera, Taona" userId="a2eb7365-7662-46ce-bee1-3106c891aa74" providerId="ADAL" clId="{07B1A4B5-8957-48D4-B926-E5B30A118811}" dt="2023-05-29T06:01:16.934" v="567"/>
          <ac:spMkLst>
            <pc:docMk/>
            <pc:sldMk cId="2255316931" sldId="2147379404"/>
            <ac:spMk id="272" creationId="{772A5B8A-D5FC-953E-8D71-BE948CFB6C14}"/>
          </ac:spMkLst>
        </pc:spChg>
        <pc:spChg chg="mod">
          <ac:chgData name="Chagwedera, Taona" userId="a2eb7365-7662-46ce-bee1-3106c891aa74" providerId="ADAL" clId="{07B1A4B5-8957-48D4-B926-E5B30A118811}" dt="2023-05-29T06:01:16.935" v="568"/>
          <ac:spMkLst>
            <pc:docMk/>
            <pc:sldMk cId="2255316931" sldId="2147379404"/>
            <ac:spMk id="273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29T06:01:16.935" v="569"/>
          <ac:spMkLst>
            <pc:docMk/>
            <pc:sldMk cId="2255316931" sldId="2147379404"/>
            <ac:spMk id="274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29T06:01:16.936" v="570"/>
          <ac:spMkLst>
            <pc:docMk/>
            <pc:sldMk cId="2255316931" sldId="2147379404"/>
            <ac:spMk id="275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29T06:01:16.937" v="571"/>
          <ac:spMkLst>
            <pc:docMk/>
            <pc:sldMk cId="2255316931" sldId="2147379404"/>
            <ac:spMk id="276" creationId="{307A5E3A-0590-49EC-9D99-0A2B638DB325}"/>
          </ac:spMkLst>
        </pc:spChg>
        <pc:spChg chg="mod ord">
          <ac:chgData name="Chagwedera, Taona" userId="a2eb7365-7662-46ce-bee1-3106c891aa74" providerId="ADAL" clId="{07B1A4B5-8957-48D4-B926-E5B30A118811}" dt="2023-05-29T06:01:16.876" v="465"/>
          <ac:spMkLst>
            <pc:docMk/>
            <pc:sldMk cId="2255316931" sldId="2147379404"/>
            <ac:spMk id="647" creationId="{524A67F4-EA6A-B361-18E0-0398EEDF9754}"/>
          </ac:spMkLst>
        </pc:spChg>
        <pc:spChg chg="mod ord">
          <ac:chgData name="Chagwedera, Taona" userId="a2eb7365-7662-46ce-bee1-3106c891aa74" providerId="ADAL" clId="{07B1A4B5-8957-48D4-B926-E5B30A118811}" dt="2023-05-29T06:01:16.877" v="467"/>
          <ac:spMkLst>
            <pc:docMk/>
            <pc:sldMk cId="2255316931" sldId="2147379404"/>
            <ac:spMk id="657" creationId="{1D8EB6D3-2E92-E291-7E62-52D66284ABF5}"/>
          </ac:spMkLst>
        </pc:spChg>
        <pc:spChg chg="mod ord">
          <ac:chgData name="Chagwedera, Taona" userId="a2eb7365-7662-46ce-bee1-3106c891aa74" providerId="ADAL" clId="{07B1A4B5-8957-48D4-B926-E5B30A118811}" dt="2023-05-29T06:01:16.878" v="469"/>
          <ac:spMkLst>
            <pc:docMk/>
            <pc:sldMk cId="2255316931" sldId="2147379404"/>
            <ac:spMk id="845" creationId="{9220C71B-BDE7-90F6-205A-F6EC21148830}"/>
          </ac:spMkLst>
        </pc:spChg>
        <pc:spChg chg="mod ord">
          <ac:chgData name="Chagwedera, Taona" userId="a2eb7365-7662-46ce-bee1-3106c891aa74" providerId="ADAL" clId="{07B1A4B5-8957-48D4-B926-E5B30A118811}" dt="2023-05-29T06:01:24.486" v="583" actId="20577"/>
          <ac:spMkLst>
            <pc:docMk/>
            <pc:sldMk cId="2255316931" sldId="2147379404"/>
            <ac:spMk id="851" creationId="{563FAB2D-FEBE-4580-9236-50ED126D8D39}"/>
          </ac:spMkLst>
        </pc:spChg>
        <pc:grpChg chg="mod">
          <ac:chgData name="Chagwedera, Taona" userId="a2eb7365-7662-46ce-bee1-3106c891aa74" providerId="ADAL" clId="{07B1A4B5-8957-48D4-B926-E5B30A118811}" dt="2023-05-29T06:01:16.937" v="572"/>
          <ac:grpSpMkLst>
            <pc:docMk/>
            <pc:sldMk cId="2255316931" sldId="2147379404"/>
            <ac:grpSpMk id="6" creationId="{1583A4BD-FD6C-EF2B-555F-23CF10303102}"/>
          </ac:grpSpMkLst>
        </pc:grpChg>
        <pc:grpChg chg="mod">
          <ac:chgData name="Chagwedera, Taona" userId="a2eb7365-7662-46ce-bee1-3106c891aa74" providerId="ADAL" clId="{07B1A4B5-8957-48D4-B926-E5B30A118811}" dt="2023-05-29T06:01:16.938" v="573"/>
          <ac:grpSpMkLst>
            <pc:docMk/>
            <pc:sldMk cId="2255316931" sldId="2147379404"/>
            <ac:grpSpMk id="17" creationId="{C0D266EA-F606-B685-4B0D-CF1FBEF8DBA4}"/>
          </ac:grpSpMkLst>
        </pc:grpChg>
        <pc:graphicFrameChg chg="mod">
          <ac:chgData name="Chagwedera, Taona" userId="a2eb7365-7662-46ce-bee1-3106c891aa74" providerId="ADAL" clId="{07B1A4B5-8957-48D4-B926-E5B30A118811}" dt="2023-05-29T06:01:16.968" v="581"/>
          <ac:graphicFrameMkLst>
            <pc:docMk/>
            <pc:sldMk cId="2255316931" sldId="2147379404"/>
            <ac:graphicFrameMk id="4" creationId="{34308163-D23F-76BD-0D22-083B97814CD6}"/>
          </ac:graphicFrameMkLst>
        </pc:graphicFrameChg>
        <pc:graphicFrameChg chg="add mod replST">
          <ac:chgData name="Chagwedera, Taona" userId="a2eb7365-7662-46ce-bee1-3106c891aa74" providerId="ADAL" clId="{07B1A4B5-8957-48D4-B926-E5B30A118811}" dt="2023-05-29T06:01:16.880" v="474"/>
          <ac:graphicFrameMkLst>
            <pc:docMk/>
            <pc:sldMk cId="2255316931" sldId="2147379404"/>
            <ac:graphicFrameMk id="5" creationId="{D94C28E7-DDB9-811E-BD5E-DF0B6A15865B}"/>
          </ac:graphicFrameMkLst>
        </pc:graphicFrameChg>
        <pc:graphicFrameChg chg="add mod replST">
          <ac:chgData name="Chagwedera, Taona" userId="a2eb7365-7662-46ce-bee1-3106c891aa74" providerId="ADAL" clId="{07B1A4B5-8957-48D4-B926-E5B30A118811}" dt="2023-05-29T06:01:16.909" v="523"/>
          <ac:graphicFrameMkLst>
            <pc:docMk/>
            <pc:sldMk cId="2255316931" sldId="2147379404"/>
            <ac:graphicFrameMk id="40" creationId="{A4DA5958-0499-DEFB-28F9-7678DDDB4AC7}"/>
          </ac:graphicFrameMkLst>
        </pc:graphicFrameChg>
        <pc:graphicFrameChg chg="del">
          <ac:chgData name="Chagwedera, Taona" userId="a2eb7365-7662-46ce-bee1-3106c891aa74" providerId="ADAL" clId="{07B1A4B5-8957-48D4-B926-E5B30A118811}" dt="2023-05-29T06:01:16.460" v="161"/>
          <ac:graphicFrameMkLst>
            <pc:docMk/>
            <pc:sldMk cId="2255316931" sldId="2147379404"/>
            <ac:graphicFrameMk id="356" creationId="{00000000-0000-0000-0000-000000000000}"/>
          </ac:graphicFrameMkLst>
        </pc:graphicFrameChg>
        <pc:graphicFrameChg chg="del">
          <ac:chgData name="Chagwedera, Taona" userId="a2eb7365-7662-46ce-bee1-3106c891aa74" providerId="ADAL" clId="{07B1A4B5-8957-48D4-B926-E5B30A118811}" dt="2023-05-29T06:01:16.853" v="457"/>
          <ac:graphicFrameMkLst>
            <pc:docMk/>
            <pc:sldMk cId="2255316931" sldId="2147379404"/>
            <ac:graphicFrameMk id="359" creationId="{00000000-0000-0000-0000-000000000000}"/>
          </ac:graphicFrameMkLst>
        </pc:graphicFrameChg>
        <pc:cxnChg chg="mod ord">
          <ac:chgData name="Chagwedera, Taona" userId="a2eb7365-7662-46ce-bee1-3106c891aa74" providerId="ADAL" clId="{07B1A4B5-8957-48D4-B926-E5B30A118811}" dt="2023-05-29T06:01:16.939" v="575"/>
          <ac:cxnSpMkLst>
            <pc:docMk/>
            <pc:sldMk cId="2255316931" sldId="2147379404"/>
            <ac:cxnSpMk id="67" creationId="{41B8E970-2B49-9578-5D71-133FAD65C495}"/>
          </ac:cxnSpMkLst>
        </pc:cxnChg>
      </pc:sldChg>
      <pc:sldChg chg="addSp delSp modSp mod ord">
        <pc:chgData name="Chagwedera, Taona" userId="a2eb7365-7662-46ce-bee1-3106c891aa74" providerId="ADAL" clId="{07B1A4B5-8957-48D4-B926-E5B30A118811}" dt="2023-05-30T13:25:29.518" v="5864"/>
        <pc:sldMkLst>
          <pc:docMk/>
          <pc:sldMk cId="3471101119" sldId="2147379406"/>
        </pc:sldMkLst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5" creationId="{CC99C454-A508-B348-C8A8-C53338C509EE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6" creationId="{71CCBC9F-73BE-59C4-92ED-A019DA761DFD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9" creationId="{5F58B3C2-EA02-5F0B-7DB5-654FE50878CA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10" creationId="{BA4851EB-260F-6163-19EE-FFA20C7E224E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11" creationId="{665FF2A7-49AB-BD0B-CFCC-C97AA47B2404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12" creationId="{F8A6DFC8-6038-A884-C69C-4573ECCB0EC0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13" creationId="{05A07946-FECC-6AA0-CC70-A0B81E42A72B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14" creationId="{1C557103-1742-C844-EE80-0CD9845FA6FE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15" creationId="{C2721E87-BE19-2E33-6FBD-F35D0A1054D0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16" creationId="{A89D23F5-8C7C-F430-E1E6-095B07DADAF3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17" creationId="{999DDDCF-4E0C-9236-EA18-88CD2D1B61F3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19" creationId="{8270580D-5CB9-A430-BA88-05C9C0699A56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20" creationId="{3C4EFC45-E449-E6F5-777F-7A78F80DA987}"/>
          </ac:spMkLst>
        </pc:spChg>
        <pc:spChg chg="add mod">
          <ac:chgData name="Chagwedera, Taona" userId="a2eb7365-7662-46ce-bee1-3106c891aa74" providerId="ADAL" clId="{07B1A4B5-8957-48D4-B926-E5B30A118811}" dt="2023-05-29T06:14:20.990" v="824" actId="1076"/>
          <ac:spMkLst>
            <pc:docMk/>
            <pc:sldMk cId="3471101119" sldId="2147379406"/>
            <ac:spMk id="37" creationId="{5E6E0E1F-48AE-0FB2-02DA-EB7A302F92A7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226" creationId="{B898A829-28EC-B943-2CD7-22C16430242D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227" creationId="{0E0F8D62-B06C-F060-BAEE-9C2B2A9800A9}"/>
          </ac:spMkLst>
        </pc:spChg>
        <pc:spChg chg="del">
          <ac:chgData name="Chagwedera, Taona" userId="a2eb7365-7662-46ce-bee1-3106c891aa74" providerId="ADAL" clId="{07B1A4B5-8957-48D4-B926-E5B30A118811}" dt="2023-05-29T06:13:31.953" v="820" actId="478"/>
          <ac:spMkLst>
            <pc:docMk/>
            <pc:sldMk cId="3471101119" sldId="2147379406"/>
            <ac:spMk id="228" creationId="{C854F32A-5877-A100-7BA6-BAAF8D73DF1D}"/>
          </ac:spMkLst>
        </pc:spChg>
        <pc:spChg chg="mod">
          <ac:chgData name="Chagwedera, Taona" userId="a2eb7365-7662-46ce-bee1-3106c891aa74" providerId="ADAL" clId="{07B1A4B5-8957-48D4-B926-E5B30A118811}" dt="2023-05-29T06:16:42.193" v="850" actId="20577"/>
          <ac:spMkLst>
            <pc:docMk/>
            <pc:sldMk cId="3471101119" sldId="2147379406"/>
            <ac:spMk id="684" creationId="{40EADDA5-C914-9665-5492-A96B8BB34022}"/>
          </ac:spMkLst>
        </pc:spChg>
      </pc:sldChg>
      <pc:sldChg chg="addSp delSp modSp del mod modCm">
        <pc:chgData name="Chagwedera, Taona" userId="a2eb7365-7662-46ce-bee1-3106c891aa74" providerId="ADAL" clId="{07B1A4B5-8957-48D4-B926-E5B30A118811}" dt="2023-05-30T06:47:31.627" v="1145" actId="47"/>
        <pc:sldMkLst>
          <pc:docMk/>
          <pc:sldMk cId="172944201" sldId="2147379409"/>
        </pc:sldMkLst>
        <pc:spChg chg="mod">
          <ac:chgData name="Chagwedera, Taona" userId="a2eb7365-7662-46ce-bee1-3106c891aa74" providerId="ADAL" clId="{07B1A4B5-8957-48D4-B926-E5B30A118811}" dt="2023-05-29T06:10:54.775" v="817" actId="20577"/>
          <ac:spMkLst>
            <pc:docMk/>
            <pc:sldMk cId="172944201" sldId="2147379409"/>
            <ac:spMk id="2" creationId="{F0B44D2F-4B76-7AE4-B70E-051470817B8E}"/>
          </ac:spMkLst>
        </pc:spChg>
        <pc:spChg chg="mod">
          <ac:chgData name="Chagwedera, Taona" userId="a2eb7365-7662-46ce-bee1-3106c891aa74" providerId="ADAL" clId="{07B1A4B5-8957-48D4-B926-E5B30A118811}" dt="2023-05-30T06:33:49.435" v="1112" actId="948"/>
          <ac:spMkLst>
            <pc:docMk/>
            <pc:sldMk cId="172944201" sldId="2147379409"/>
            <ac:spMk id="5" creationId="{90F89615-3D2E-6A8A-360D-FDA346BEA8FE}"/>
          </ac:spMkLst>
        </pc:spChg>
        <pc:spChg chg="add del mod modVis">
          <ac:chgData name="Chagwedera, Taona" userId="a2eb7365-7662-46ce-bee1-3106c891aa74" providerId="ADAL" clId="{07B1A4B5-8957-48D4-B926-E5B30A118811}" dt="2023-05-29T06:10:49.683" v="813"/>
          <ac:spMkLst>
            <pc:docMk/>
            <pc:sldMk cId="172944201" sldId="2147379409"/>
            <ac:spMk id="6" creationId="{02CAE494-20D7-BF81-0C00-81B68E948A72}"/>
          </ac:spMkLst>
        </pc:spChg>
        <pc:spChg chg="add del mod modVis">
          <ac:chgData name="Chagwedera, Taona" userId="a2eb7365-7662-46ce-bee1-3106c891aa74" providerId="ADAL" clId="{07B1A4B5-8957-48D4-B926-E5B30A118811}" dt="2023-05-30T06:33:49.493" v="1135"/>
          <ac:spMkLst>
            <pc:docMk/>
            <pc:sldMk cId="172944201" sldId="2147379409"/>
            <ac:spMk id="6" creationId="{4884A23A-961E-F878-79C9-C9F6AD03C0DE}"/>
          </ac:spMkLst>
        </pc:spChg>
        <pc:graphicFrameChg chg="mod">
          <ac:chgData name="Chagwedera, Taona" userId="a2eb7365-7662-46ce-bee1-3106c891aa74" providerId="ADAL" clId="{07B1A4B5-8957-48D4-B926-E5B30A118811}" dt="2023-05-30T06:33:49.501" v="1137"/>
          <ac:graphicFrameMkLst>
            <pc:docMk/>
            <pc:sldMk cId="172944201" sldId="2147379409"/>
            <ac:graphicFrameMk id="4" creationId="{34308163-D23F-76BD-0D22-083B97814CD6}"/>
          </ac:graphicFrameMkLst>
        </pc:graphicFrameChg>
        <pc:graphicFrameChg chg="mod">
          <ac:chgData name="Chagwedera, Taona" userId="a2eb7365-7662-46ce-bee1-3106c891aa74" providerId="ADAL" clId="{07B1A4B5-8957-48D4-B926-E5B30A118811}" dt="2023-05-30T06:35:25.349" v="1143"/>
          <ac:graphicFrameMkLst>
            <pc:docMk/>
            <pc:sldMk cId="172944201" sldId="2147379409"/>
            <ac:graphicFrameMk id="72" creationId="{00000000-0000-0000-0000-000000000000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Chagwedera, Taona" userId="a2eb7365-7662-46ce-bee1-3106c891aa74" providerId="ADAL" clId="{07B1A4B5-8957-48D4-B926-E5B30A118811}" dt="2023-05-29T10:38:42.820" v="1038"/>
              <pc2:cmMkLst xmlns:pc2="http://schemas.microsoft.com/office/powerpoint/2019/9/main/command">
                <pc:docMk/>
                <pc:sldMk cId="172944201" sldId="2147379409"/>
                <pc2:cmMk id="{AA275188-7B68-49B1-967F-C4F1086E6D7A}"/>
              </pc2:cmMkLst>
              <pc226:cmRplyChg chg="add">
                <pc226:chgData name="Chagwedera, Taona" userId="a2eb7365-7662-46ce-bee1-3106c891aa74" providerId="ADAL" clId="{07B1A4B5-8957-48D4-B926-E5B30A118811}" dt="2023-05-29T10:38:42.820" v="1038"/>
                <pc2:cmRplyMkLst xmlns:pc2="http://schemas.microsoft.com/office/powerpoint/2019/9/main/command">
                  <pc:docMk/>
                  <pc:sldMk cId="172944201" sldId="2147379409"/>
                  <pc2:cmMk id="{AA275188-7B68-49B1-967F-C4F1086E6D7A}"/>
                  <pc2:cmRplyMk id="{757E2C52-B7F9-4146-8826-E46B592532B4}"/>
                </pc2:cmRplyMkLst>
              </pc226:cmRplyChg>
            </pc226:cmChg>
          </p:ext>
        </pc:extLst>
      </pc:sldChg>
      <pc:sldChg chg="addSp delSp modSp mod modCm">
        <pc:chgData name="Chagwedera, Taona" userId="a2eb7365-7662-46ce-bee1-3106c891aa74" providerId="ADAL" clId="{07B1A4B5-8957-48D4-B926-E5B30A118811}" dt="2023-05-30T14:53:42.569" v="9111"/>
        <pc:sldMkLst>
          <pc:docMk/>
          <pc:sldMk cId="3582399329" sldId="2147379414"/>
        </pc:sldMkLst>
        <pc:spChg chg="add mod replST">
          <ac:chgData name="Chagwedera, Taona" userId="a2eb7365-7662-46ce-bee1-3106c891aa74" providerId="ADAL" clId="{07B1A4B5-8957-48D4-B926-E5B30A118811}" dt="2023-05-30T06:48:44.136" v="2261"/>
          <ac:spMkLst>
            <pc:docMk/>
            <pc:sldMk cId="3582399329" sldId="2147379414"/>
            <ac:spMk id="7" creationId="{0B23C260-75D1-2C99-04A2-828B618A1090}"/>
          </ac:spMkLst>
        </pc:spChg>
        <pc:spChg chg="add del mod modVis">
          <ac:chgData name="Chagwedera, Taona" userId="a2eb7365-7662-46ce-bee1-3106c891aa74" providerId="ADAL" clId="{07B1A4B5-8957-48D4-B926-E5B30A118811}" dt="2023-05-29T06:09:05.207" v="785"/>
          <ac:spMkLst>
            <pc:docMk/>
            <pc:sldMk cId="3582399329" sldId="2147379414"/>
            <ac:spMk id="7" creationId="{65A450AC-2487-6A2D-A5B4-C589B66475BA}"/>
          </ac:spMkLst>
        </pc:spChg>
        <pc:spChg chg="mod ord">
          <ac:chgData name="Chagwedera, Taona" userId="a2eb7365-7662-46ce-bee1-3106c891aa74" providerId="ADAL" clId="{07B1A4B5-8957-48D4-B926-E5B30A118811}" dt="2023-05-30T14:53:42.550" v="9107"/>
          <ac:spMkLst>
            <pc:docMk/>
            <pc:sldMk cId="3582399329" sldId="2147379414"/>
            <ac:spMk id="12" creationId="{D3E12B06-53AF-E2BB-C01B-8E78FD0C6FEE}"/>
          </ac:spMkLst>
        </pc:spChg>
        <pc:spChg chg="mod ord">
          <ac:chgData name="Chagwedera, Taona" userId="a2eb7365-7662-46ce-bee1-3106c891aa74" providerId="ADAL" clId="{07B1A4B5-8957-48D4-B926-E5B30A118811}" dt="2023-05-30T14:53:42.548" v="9105"/>
          <ac:spMkLst>
            <pc:docMk/>
            <pc:sldMk cId="3582399329" sldId="2147379414"/>
            <ac:spMk id="13" creationId="{2BF05650-7666-1C70-33B1-6CF4CABDF491}"/>
          </ac:spMkLst>
        </pc:spChg>
        <pc:spChg chg="mod ord">
          <ac:chgData name="Chagwedera, Taona" userId="a2eb7365-7662-46ce-bee1-3106c891aa74" providerId="ADAL" clId="{07B1A4B5-8957-48D4-B926-E5B30A118811}" dt="2023-05-30T14:53:42.546" v="9102"/>
          <ac:spMkLst>
            <pc:docMk/>
            <pc:sldMk cId="3582399329" sldId="2147379414"/>
            <ac:spMk id="15" creationId="{00000000-0000-0000-0000-000000000000}"/>
          </ac:spMkLst>
        </pc:spChg>
        <pc:spChg chg="add del mod replST">
          <ac:chgData name="Chagwedera, Taona" userId="a2eb7365-7662-46ce-bee1-3106c891aa74" providerId="ADAL" clId="{07B1A4B5-8957-48D4-B926-E5B30A118811}" dt="2023-05-30T06:48:44.136" v="2261"/>
          <ac:spMkLst>
            <pc:docMk/>
            <pc:sldMk cId="3582399329" sldId="2147379414"/>
            <ac:spMk id="16" creationId="{D946CA53-4450-EDE9-9560-B799F771130F}"/>
          </ac:spMkLst>
        </pc:spChg>
        <pc:spChg chg="add del mod modVis">
          <ac:chgData name="Chagwedera, Taona" userId="a2eb7365-7662-46ce-bee1-3106c891aa74" providerId="ADAL" clId="{07B1A4B5-8957-48D4-B926-E5B30A118811}" dt="2023-05-30T06:48:44.136" v="2261"/>
          <ac:spMkLst>
            <pc:docMk/>
            <pc:sldMk cId="3582399329" sldId="2147379414"/>
            <ac:spMk id="17" creationId="{F336978C-B133-7B49-3120-698152BBF6D0}"/>
          </ac:spMkLst>
        </pc:spChg>
        <pc:spChg chg="add del mod modVis">
          <ac:chgData name="Chagwedera, Taona" userId="a2eb7365-7662-46ce-bee1-3106c891aa74" providerId="ADAL" clId="{07B1A4B5-8957-48D4-B926-E5B30A118811}" dt="2023-05-30T06:48:42.717" v="2111"/>
          <ac:spMkLst>
            <pc:docMk/>
            <pc:sldMk cId="3582399329" sldId="2147379414"/>
            <ac:spMk id="19" creationId="{974455E3-1E7F-DCDF-2684-5F4A2ED0290A}"/>
          </ac:spMkLst>
        </pc:spChg>
        <pc:spChg chg="add del mod modVis">
          <ac:chgData name="Chagwedera, Taona" userId="a2eb7365-7662-46ce-bee1-3106c891aa74" providerId="ADAL" clId="{07B1A4B5-8957-48D4-B926-E5B30A118811}" dt="2023-05-30T06:49:11.415" v="2666"/>
          <ac:spMkLst>
            <pc:docMk/>
            <pc:sldMk cId="3582399329" sldId="2147379414"/>
            <ac:spMk id="21" creationId="{72507E2C-7DC2-A821-7CD6-7E9F7A7B8572}"/>
          </ac:spMkLst>
        </pc:spChg>
        <pc:spChg chg="add del mod modVis">
          <ac:chgData name="Chagwedera, Taona" userId="a2eb7365-7662-46ce-bee1-3106c891aa74" providerId="ADAL" clId="{07B1A4B5-8957-48D4-B926-E5B30A118811}" dt="2023-05-30T06:49:39.865" v="3115"/>
          <ac:spMkLst>
            <pc:docMk/>
            <pc:sldMk cId="3582399329" sldId="2147379414"/>
            <ac:spMk id="27" creationId="{734C2717-D879-4222-2924-1AD6D279FD30}"/>
          </ac:spMkLst>
        </pc:spChg>
        <pc:spChg chg="add del mod modVis">
          <ac:chgData name="Chagwedera, Taona" userId="a2eb7365-7662-46ce-bee1-3106c891aa74" providerId="ADAL" clId="{07B1A4B5-8957-48D4-B926-E5B30A118811}" dt="2023-05-30T06:49:45.003" v="3148"/>
          <ac:spMkLst>
            <pc:docMk/>
            <pc:sldMk cId="3582399329" sldId="2147379414"/>
            <ac:spMk id="28" creationId="{A2920803-D285-ED60-B7B7-F617B1722F50}"/>
          </ac:spMkLst>
        </pc:spChg>
        <pc:spChg chg="mod ord">
          <ac:chgData name="Chagwedera, Taona" userId="a2eb7365-7662-46ce-bee1-3106c891aa74" providerId="ADAL" clId="{07B1A4B5-8957-48D4-B926-E5B30A118811}" dt="2023-05-30T14:53:42.501" v="9051"/>
          <ac:spMkLst>
            <pc:docMk/>
            <pc:sldMk cId="3582399329" sldId="2147379414"/>
            <ac:spMk id="647" creationId="{524A67F4-EA6A-B361-18E0-0398EEDF9754}"/>
          </ac:spMkLst>
        </pc:spChg>
        <pc:spChg chg="mod">
          <ac:chgData name="Chagwedera, Taona" userId="a2eb7365-7662-46ce-bee1-3106c891aa74" providerId="ADAL" clId="{07B1A4B5-8957-48D4-B926-E5B30A118811}" dt="2023-05-30T14:53:42.506" v="9055"/>
          <ac:spMkLst>
            <pc:docMk/>
            <pc:sldMk cId="3582399329" sldId="2147379414"/>
            <ac:spMk id="831" creationId="{AF67DAD8-03A2-C9E4-D0B2-692079752C08}"/>
          </ac:spMkLst>
        </pc:spChg>
        <pc:spChg chg="mod">
          <ac:chgData name="Chagwedera, Taona" userId="a2eb7365-7662-46ce-bee1-3106c891aa74" providerId="ADAL" clId="{07B1A4B5-8957-48D4-B926-E5B30A118811}" dt="2023-05-30T14:53:42.507" v="9056"/>
          <ac:spMkLst>
            <pc:docMk/>
            <pc:sldMk cId="3582399329" sldId="2147379414"/>
            <ac:spMk id="832" creationId="{5D3E5768-E2F5-3520-4099-71BE216EAAEE}"/>
          </ac:spMkLst>
        </pc:spChg>
        <pc:spChg chg="mod">
          <ac:chgData name="Chagwedera, Taona" userId="a2eb7365-7662-46ce-bee1-3106c891aa74" providerId="ADAL" clId="{07B1A4B5-8957-48D4-B926-E5B30A118811}" dt="2023-05-30T14:53:42.508" v="9057"/>
          <ac:spMkLst>
            <pc:docMk/>
            <pc:sldMk cId="3582399329" sldId="2147379414"/>
            <ac:spMk id="833" creationId="{655B83E0-D1D1-CCD4-8CA1-2CB84B7A5668}"/>
          </ac:spMkLst>
        </pc:spChg>
        <pc:spChg chg="mod">
          <ac:chgData name="Chagwedera, Taona" userId="a2eb7365-7662-46ce-bee1-3106c891aa74" providerId="ADAL" clId="{07B1A4B5-8957-48D4-B926-E5B30A118811}" dt="2023-05-30T14:53:42.509" v="9058"/>
          <ac:spMkLst>
            <pc:docMk/>
            <pc:sldMk cId="3582399329" sldId="2147379414"/>
            <ac:spMk id="834" creationId="{6A9338FD-B894-CA41-8592-A048EA7EF3FC}"/>
          </ac:spMkLst>
        </pc:spChg>
        <pc:spChg chg="mod">
          <ac:chgData name="Chagwedera, Taona" userId="a2eb7365-7662-46ce-bee1-3106c891aa74" providerId="ADAL" clId="{07B1A4B5-8957-48D4-B926-E5B30A118811}" dt="2023-05-30T14:53:42.510" v="9059"/>
          <ac:spMkLst>
            <pc:docMk/>
            <pc:sldMk cId="3582399329" sldId="2147379414"/>
            <ac:spMk id="835" creationId="{5B0E84D1-5DDD-718D-6F78-11FCC87D59A7}"/>
          </ac:spMkLst>
        </pc:spChg>
        <pc:spChg chg="mod">
          <ac:chgData name="Chagwedera, Taona" userId="a2eb7365-7662-46ce-bee1-3106c891aa74" providerId="ADAL" clId="{07B1A4B5-8957-48D4-B926-E5B30A118811}" dt="2023-05-30T14:53:42.511" v="9060"/>
          <ac:spMkLst>
            <pc:docMk/>
            <pc:sldMk cId="3582399329" sldId="2147379414"/>
            <ac:spMk id="836" creationId="{91162CE8-5D23-0209-E5E5-7086BEB70975}"/>
          </ac:spMkLst>
        </pc:spChg>
        <pc:spChg chg="mod">
          <ac:chgData name="Chagwedera, Taona" userId="a2eb7365-7662-46ce-bee1-3106c891aa74" providerId="ADAL" clId="{07B1A4B5-8957-48D4-B926-E5B30A118811}" dt="2023-05-30T14:53:42.512" v="9061"/>
          <ac:spMkLst>
            <pc:docMk/>
            <pc:sldMk cId="3582399329" sldId="2147379414"/>
            <ac:spMk id="837" creationId="{FCFC7220-8B6C-38D1-DAF2-56E00E8D06F1}"/>
          </ac:spMkLst>
        </pc:spChg>
        <pc:spChg chg="mod">
          <ac:chgData name="Chagwedera, Taona" userId="a2eb7365-7662-46ce-bee1-3106c891aa74" providerId="ADAL" clId="{07B1A4B5-8957-48D4-B926-E5B30A118811}" dt="2023-05-30T14:53:42.513" v="9062"/>
          <ac:spMkLst>
            <pc:docMk/>
            <pc:sldMk cId="3582399329" sldId="2147379414"/>
            <ac:spMk id="838" creationId="{06F14F06-245F-142E-C53F-C2F9B60215F8}"/>
          </ac:spMkLst>
        </pc:spChg>
        <pc:spChg chg="mod">
          <ac:chgData name="Chagwedera, Taona" userId="a2eb7365-7662-46ce-bee1-3106c891aa74" providerId="ADAL" clId="{07B1A4B5-8957-48D4-B926-E5B30A118811}" dt="2023-05-30T14:53:42.514" v="9063"/>
          <ac:spMkLst>
            <pc:docMk/>
            <pc:sldMk cId="3582399329" sldId="2147379414"/>
            <ac:spMk id="839" creationId="{210D5AA3-545D-C2F6-13F4-2B8E52967A7C}"/>
          </ac:spMkLst>
        </pc:spChg>
        <pc:spChg chg="mod">
          <ac:chgData name="Chagwedera, Taona" userId="a2eb7365-7662-46ce-bee1-3106c891aa74" providerId="ADAL" clId="{07B1A4B5-8957-48D4-B926-E5B30A118811}" dt="2023-05-30T14:53:42.515" v="9064"/>
          <ac:spMkLst>
            <pc:docMk/>
            <pc:sldMk cId="3582399329" sldId="2147379414"/>
            <ac:spMk id="840" creationId="{EF279803-85EF-B43D-372C-6A10BCBDEA1A}"/>
          </ac:spMkLst>
        </pc:spChg>
        <pc:spChg chg="mod">
          <ac:chgData name="Chagwedera, Taona" userId="a2eb7365-7662-46ce-bee1-3106c891aa74" providerId="ADAL" clId="{07B1A4B5-8957-48D4-B926-E5B30A118811}" dt="2023-05-30T14:53:42.515" v="9065"/>
          <ac:spMkLst>
            <pc:docMk/>
            <pc:sldMk cId="3582399329" sldId="2147379414"/>
            <ac:spMk id="841" creationId="{73823493-BA19-4C00-932C-EFF698CFAF79}"/>
          </ac:spMkLst>
        </pc:spChg>
        <pc:spChg chg="mod">
          <ac:chgData name="Chagwedera, Taona" userId="a2eb7365-7662-46ce-bee1-3106c891aa74" providerId="ADAL" clId="{07B1A4B5-8957-48D4-B926-E5B30A118811}" dt="2023-05-30T14:53:42.516" v="9066"/>
          <ac:spMkLst>
            <pc:docMk/>
            <pc:sldMk cId="3582399329" sldId="2147379414"/>
            <ac:spMk id="842" creationId="{77D2C73E-8988-D1EC-5946-AB28AE93367D}"/>
          </ac:spMkLst>
        </pc:spChg>
        <pc:spChg chg="mod">
          <ac:chgData name="Chagwedera, Taona" userId="a2eb7365-7662-46ce-bee1-3106c891aa74" providerId="ADAL" clId="{07B1A4B5-8957-48D4-B926-E5B30A118811}" dt="2023-05-30T14:53:42.517" v="9067"/>
          <ac:spMkLst>
            <pc:docMk/>
            <pc:sldMk cId="3582399329" sldId="2147379414"/>
            <ac:spMk id="843" creationId="{0D2D5E86-50AD-DD66-AA28-F159FB32D941}"/>
          </ac:spMkLst>
        </pc:spChg>
        <pc:spChg chg="mod">
          <ac:chgData name="Chagwedera, Taona" userId="a2eb7365-7662-46ce-bee1-3106c891aa74" providerId="ADAL" clId="{07B1A4B5-8957-48D4-B926-E5B30A118811}" dt="2023-05-30T14:53:42.518" v="9068"/>
          <ac:spMkLst>
            <pc:docMk/>
            <pc:sldMk cId="3582399329" sldId="2147379414"/>
            <ac:spMk id="847" creationId="{D6DE53A0-D4F8-0CCE-7566-862DA354FDFE}"/>
          </ac:spMkLst>
        </pc:spChg>
        <pc:spChg chg="mod">
          <ac:chgData name="Chagwedera, Taona" userId="a2eb7365-7662-46ce-bee1-3106c891aa74" providerId="ADAL" clId="{07B1A4B5-8957-48D4-B926-E5B30A118811}" dt="2023-05-30T14:53:42.519" v="9069"/>
          <ac:spMkLst>
            <pc:docMk/>
            <pc:sldMk cId="3582399329" sldId="2147379414"/>
            <ac:spMk id="848" creationId="{430205D3-3FD3-858B-E6DA-F19A662F6444}"/>
          </ac:spMkLst>
        </pc:spChg>
        <pc:spChg chg="mod">
          <ac:chgData name="Chagwedera, Taona" userId="a2eb7365-7662-46ce-bee1-3106c891aa74" providerId="ADAL" clId="{07B1A4B5-8957-48D4-B926-E5B30A118811}" dt="2023-05-30T14:53:42.520" v="9070"/>
          <ac:spMkLst>
            <pc:docMk/>
            <pc:sldMk cId="3582399329" sldId="2147379414"/>
            <ac:spMk id="849" creationId="{89877D96-9521-D68D-9627-044F9B17BF28}"/>
          </ac:spMkLst>
        </pc:spChg>
        <pc:spChg chg="mod">
          <ac:chgData name="Chagwedera, Taona" userId="a2eb7365-7662-46ce-bee1-3106c891aa74" providerId="ADAL" clId="{07B1A4B5-8957-48D4-B926-E5B30A118811}" dt="2023-05-30T14:53:42.521" v="9071"/>
          <ac:spMkLst>
            <pc:docMk/>
            <pc:sldMk cId="3582399329" sldId="2147379414"/>
            <ac:spMk id="850" creationId="{64A44A70-2D0C-80ED-CA00-BC83524D7503}"/>
          </ac:spMkLst>
        </pc:spChg>
        <pc:spChg chg="mod">
          <ac:chgData name="Chagwedera, Taona" userId="a2eb7365-7662-46ce-bee1-3106c891aa74" providerId="ADAL" clId="{07B1A4B5-8957-48D4-B926-E5B30A118811}" dt="2023-05-30T14:53:42.522" v="9072"/>
          <ac:spMkLst>
            <pc:docMk/>
            <pc:sldMk cId="3582399329" sldId="2147379414"/>
            <ac:spMk id="851" creationId="{DFBA50C7-6971-6932-9348-5F7DD6F15CAD}"/>
          </ac:spMkLst>
        </pc:spChg>
        <pc:spChg chg="mod">
          <ac:chgData name="Chagwedera, Taona" userId="a2eb7365-7662-46ce-bee1-3106c891aa74" providerId="ADAL" clId="{07B1A4B5-8957-48D4-B926-E5B30A118811}" dt="2023-05-30T14:53:42.523" v="9073"/>
          <ac:spMkLst>
            <pc:docMk/>
            <pc:sldMk cId="3582399329" sldId="2147379414"/>
            <ac:spMk id="852" creationId="{2C1EE2F5-0CE8-1236-C3C7-B9A2E418389C}"/>
          </ac:spMkLst>
        </pc:spChg>
        <pc:spChg chg="mod">
          <ac:chgData name="Chagwedera, Taona" userId="a2eb7365-7662-46ce-bee1-3106c891aa74" providerId="ADAL" clId="{07B1A4B5-8957-48D4-B926-E5B30A118811}" dt="2023-05-30T14:53:42.524" v="9074"/>
          <ac:spMkLst>
            <pc:docMk/>
            <pc:sldMk cId="3582399329" sldId="2147379414"/>
            <ac:spMk id="853" creationId="{92C8E095-3472-3667-417A-C1711271D0F6}"/>
          </ac:spMkLst>
        </pc:spChg>
        <pc:spChg chg="mod">
          <ac:chgData name="Chagwedera, Taona" userId="a2eb7365-7662-46ce-bee1-3106c891aa74" providerId="ADAL" clId="{07B1A4B5-8957-48D4-B926-E5B30A118811}" dt="2023-05-30T14:53:42.525" v="9075"/>
          <ac:spMkLst>
            <pc:docMk/>
            <pc:sldMk cId="3582399329" sldId="2147379414"/>
            <ac:spMk id="854" creationId="{0ADE0A34-2F2B-C343-6364-36F6C2922894}"/>
          </ac:spMkLst>
        </pc:spChg>
        <pc:spChg chg="mod">
          <ac:chgData name="Chagwedera, Taona" userId="a2eb7365-7662-46ce-bee1-3106c891aa74" providerId="ADAL" clId="{07B1A4B5-8957-48D4-B926-E5B30A118811}" dt="2023-05-30T14:53:42.525" v="9076"/>
          <ac:spMkLst>
            <pc:docMk/>
            <pc:sldMk cId="3582399329" sldId="2147379414"/>
            <ac:spMk id="855" creationId="{4E2D0432-D849-D5C2-7536-B5D23FD13D43}"/>
          </ac:spMkLst>
        </pc:spChg>
        <pc:spChg chg="mod">
          <ac:chgData name="Chagwedera, Taona" userId="a2eb7365-7662-46ce-bee1-3106c891aa74" providerId="ADAL" clId="{07B1A4B5-8957-48D4-B926-E5B30A118811}" dt="2023-05-30T14:53:42.526" v="9077"/>
          <ac:spMkLst>
            <pc:docMk/>
            <pc:sldMk cId="3582399329" sldId="2147379414"/>
            <ac:spMk id="856" creationId="{341D076D-BBC3-CF13-6276-5E15DE21E155}"/>
          </ac:spMkLst>
        </pc:spChg>
        <pc:spChg chg="mod">
          <ac:chgData name="Chagwedera, Taona" userId="a2eb7365-7662-46ce-bee1-3106c891aa74" providerId="ADAL" clId="{07B1A4B5-8957-48D4-B926-E5B30A118811}" dt="2023-05-30T14:53:42.527" v="9078"/>
          <ac:spMkLst>
            <pc:docMk/>
            <pc:sldMk cId="3582399329" sldId="2147379414"/>
            <ac:spMk id="857" creationId="{7027CD3E-C53F-731D-906E-E11ACD6A582E}"/>
          </ac:spMkLst>
        </pc:spChg>
        <pc:spChg chg="mod">
          <ac:chgData name="Chagwedera, Taona" userId="a2eb7365-7662-46ce-bee1-3106c891aa74" providerId="ADAL" clId="{07B1A4B5-8957-48D4-B926-E5B30A118811}" dt="2023-05-30T14:53:42.528" v="9079"/>
          <ac:spMkLst>
            <pc:docMk/>
            <pc:sldMk cId="3582399329" sldId="2147379414"/>
            <ac:spMk id="858" creationId="{F8FD857C-ECFC-376B-F79E-2836C53953E2}"/>
          </ac:spMkLst>
        </pc:spChg>
        <pc:spChg chg="mod">
          <ac:chgData name="Chagwedera, Taona" userId="a2eb7365-7662-46ce-bee1-3106c891aa74" providerId="ADAL" clId="{07B1A4B5-8957-48D4-B926-E5B30A118811}" dt="2023-05-30T14:53:42.529" v="9080"/>
          <ac:spMkLst>
            <pc:docMk/>
            <pc:sldMk cId="3582399329" sldId="2147379414"/>
            <ac:spMk id="859" creationId="{27AFF488-366C-E916-73A3-C9E152EA6001}"/>
          </ac:spMkLst>
        </pc:spChg>
        <pc:spChg chg="mod">
          <ac:chgData name="Chagwedera, Taona" userId="a2eb7365-7662-46ce-bee1-3106c891aa74" providerId="ADAL" clId="{07B1A4B5-8957-48D4-B926-E5B30A118811}" dt="2023-05-30T14:53:42.539" v="9095"/>
          <ac:spMkLst>
            <pc:docMk/>
            <pc:sldMk cId="3582399329" sldId="2147379414"/>
            <ac:spMk id="1028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3:42.540" v="9096"/>
          <ac:spMkLst>
            <pc:docMk/>
            <pc:sldMk cId="3582399329" sldId="2147379414"/>
            <ac:spMk id="1030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3:42.541" v="9097"/>
          <ac:spMkLst>
            <pc:docMk/>
            <pc:sldMk cId="3582399329" sldId="2147379414"/>
            <ac:spMk id="1031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3:42.544" v="9100"/>
          <ac:spMkLst>
            <pc:docMk/>
            <pc:sldMk cId="3582399329" sldId="2147379414"/>
            <ac:spMk id="1032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3:42.541" v="9098"/>
          <ac:spMkLst>
            <pc:docMk/>
            <pc:sldMk cId="3582399329" sldId="2147379414"/>
            <ac:spMk id="1033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3:42.543" v="9099"/>
          <ac:spMkLst>
            <pc:docMk/>
            <pc:sldMk cId="3582399329" sldId="2147379414"/>
            <ac:spMk id="1034" creationId="{307A5E3A-0590-49EC-9D99-0A2B638DB325}"/>
          </ac:spMkLst>
        </pc:spChg>
        <pc:spChg chg="mod ord">
          <ac:chgData name="Chagwedera, Taona" userId="a2eb7365-7662-46ce-bee1-3106c891aa74" providerId="ADAL" clId="{07B1A4B5-8957-48D4-B926-E5B30A118811}" dt="2023-05-30T14:53:42.531" v="9084"/>
          <ac:spMkLst>
            <pc:docMk/>
            <pc:sldMk cId="3582399329" sldId="2147379414"/>
            <ac:spMk id="1036" creationId="{778815B1-3388-9480-F9AA-C28340B440CE}"/>
          </ac:spMkLst>
        </pc:spChg>
        <pc:spChg chg="mod ord">
          <ac:chgData name="Chagwedera, Taona" userId="a2eb7365-7662-46ce-bee1-3106c891aa74" providerId="ADAL" clId="{07B1A4B5-8957-48D4-B926-E5B30A118811}" dt="2023-05-30T14:53:42.533" v="9086"/>
          <ac:spMkLst>
            <pc:docMk/>
            <pc:sldMk cId="3582399329" sldId="2147379414"/>
            <ac:spMk id="1037" creationId="{ABF88812-8F70-B172-5CC2-C98523E4C2ED}"/>
          </ac:spMkLst>
        </pc:spChg>
        <pc:spChg chg="mod ord">
          <ac:chgData name="Chagwedera, Taona" userId="a2eb7365-7662-46ce-bee1-3106c891aa74" providerId="ADAL" clId="{07B1A4B5-8957-48D4-B926-E5B30A118811}" dt="2023-05-30T14:53:42.534" v="9088"/>
          <ac:spMkLst>
            <pc:docMk/>
            <pc:sldMk cId="3582399329" sldId="2147379414"/>
            <ac:spMk id="1038" creationId="{F5326C6D-86E7-7946-2390-D9F92E9D5360}"/>
          </ac:spMkLst>
        </pc:spChg>
        <pc:spChg chg="mod ord">
          <ac:chgData name="Chagwedera, Taona" userId="a2eb7365-7662-46ce-bee1-3106c891aa74" providerId="ADAL" clId="{07B1A4B5-8957-48D4-B926-E5B30A118811}" dt="2023-05-30T14:53:42.535" v="9090"/>
          <ac:spMkLst>
            <pc:docMk/>
            <pc:sldMk cId="3582399329" sldId="2147379414"/>
            <ac:spMk id="1039" creationId="{26A7E1A5-8EB2-9A26-986C-3EFC8469B726}"/>
          </ac:spMkLst>
        </pc:spChg>
        <pc:spChg chg="mod ord">
          <ac:chgData name="Chagwedera, Taona" userId="a2eb7365-7662-46ce-bee1-3106c891aa74" providerId="ADAL" clId="{07B1A4B5-8957-48D4-B926-E5B30A118811}" dt="2023-05-30T14:53:42.537" v="9092"/>
          <ac:spMkLst>
            <pc:docMk/>
            <pc:sldMk cId="3582399329" sldId="2147379414"/>
            <ac:spMk id="1040" creationId="{A22A63DD-B2C9-9094-C5AE-4E3489332793}"/>
          </ac:spMkLst>
        </pc:spChg>
        <pc:spChg chg="mod ord">
          <ac:chgData name="Chagwedera, Taona" userId="a2eb7365-7662-46ce-bee1-3106c891aa74" providerId="ADAL" clId="{07B1A4B5-8957-48D4-B926-E5B30A118811}" dt="2023-05-30T14:53:42.538" v="9094"/>
          <ac:spMkLst>
            <pc:docMk/>
            <pc:sldMk cId="3582399329" sldId="2147379414"/>
            <ac:spMk id="1041" creationId="{42ADC23E-7EF2-7C16-E247-868B293E88EB}"/>
          </ac:spMkLst>
        </pc:spChg>
        <pc:spChg chg="mod ord">
          <ac:chgData name="Chagwedera, Taona" userId="a2eb7365-7662-46ce-bee1-3106c891aa74" providerId="ADAL" clId="{07B1A4B5-8957-48D4-B926-E5B30A118811}" dt="2023-05-30T14:53:42.530" v="9082"/>
          <ac:spMkLst>
            <pc:docMk/>
            <pc:sldMk cId="3582399329" sldId="2147379414"/>
            <ac:spMk id="1075" creationId="{307A5E3A-0590-49EC-9D99-0A2B638DB325}"/>
          </ac:spMkLst>
        </pc:spChg>
        <pc:grpChg chg="mod">
          <ac:chgData name="Chagwedera, Taona" userId="a2eb7365-7662-46ce-bee1-3106c891aa74" providerId="ADAL" clId="{07B1A4B5-8957-48D4-B926-E5B30A118811}" dt="2023-05-30T14:53:42.547" v="9103"/>
          <ac:grpSpMkLst>
            <pc:docMk/>
            <pc:sldMk cId="3582399329" sldId="2147379414"/>
            <ac:grpSpMk id="2" creationId="{83E167FC-6B61-6307-E322-71352E4402A7}"/>
          </ac:grpSpMkLst>
        </pc:grpChg>
        <pc:graphicFrameChg chg="mod">
          <ac:chgData name="Chagwedera, Taona" userId="a2eb7365-7662-46ce-bee1-3106c891aa74" providerId="ADAL" clId="{07B1A4B5-8957-48D4-B926-E5B30A118811}" dt="2023-05-30T14:53:42.569" v="9111"/>
          <ac:graphicFrameMkLst>
            <pc:docMk/>
            <pc:sldMk cId="3582399329" sldId="2147379414"/>
            <ac:graphicFrameMk id="4" creationId="{34308163-D23F-76BD-0D22-083B97814CD6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49:11.358" v="2598"/>
          <ac:graphicFrameMkLst>
            <pc:docMk/>
            <pc:sldMk cId="3582399329" sldId="2147379414"/>
            <ac:graphicFrameMk id="14" creationId="{EB917824-3CF0-6255-9C1E-0BC46FB74359}"/>
          </ac:graphicFrameMkLst>
        </pc:graphicFrameChg>
        <pc:graphicFrameChg chg="add del mod replST delST">
          <ac:chgData name="Chagwedera, Taona" userId="a2eb7365-7662-46ce-bee1-3106c891aa74" providerId="ADAL" clId="{07B1A4B5-8957-48D4-B926-E5B30A118811}" dt="2023-05-30T06:48:44.136" v="2261"/>
          <ac:graphicFrameMkLst>
            <pc:docMk/>
            <pc:sldMk cId="3582399329" sldId="2147379414"/>
            <ac:graphicFrameMk id="18" creationId="{AE15248E-B4D1-7E3E-1E68-ABE5B5E11454}"/>
          </ac:graphicFrameMkLst>
        </pc:graphicFrameChg>
        <pc:graphicFrameChg chg="add mod replST delST">
          <ac:chgData name="Chagwedera, Taona" userId="a2eb7365-7662-46ce-bee1-3106c891aa74" providerId="ADAL" clId="{07B1A4B5-8957-48D4-B926-E5B30A118811}" dt="2023-05-30T06:48:42.717" v="2111"/>
          <ac:graphicFrameMkLst>
            <pc:docMk/>
            <pc:sldMk cId="3582399329" sldId="2147379414"/>
            <ac:graphicFrameMk id="20" creationId="{19BA2047-AA06-3518-FABE-34248E2F1EDC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49:24.320" v="2704"/>
          <ac:graphicFrameMkLst>
            <pc:docMk/>
            <pc:sldMk cId="3582399329" sldId="2147379414"/>
            <ac:graphicFrameMk id="22" creationId="{6A49D2F8-7409-D97F-7660-E4FFCFDFD11E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49:24.852" v="2808"/>
          <ac:graphicFrameMkLst>
            <pc:docMk/>
            <pc:sldMk cId="3582399329" sldId="2147379414"/>
            <ac:graphicFrameMk id="23" creationId="{4260B44C-4C20-3F67-0AAA-4A9B54D4CB87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49:25.837" v="2912"/>
          <ac:graphicFrameMkLst>
            <pc:docMk/>
            <pc:sldMk cId="3582399329" sldId="2147379414"/>
            <ac:graphicFrameMk id="24" creationId="{8E733AB3-BBE3-9D20-47E2-05B257FCCB19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49:26.478" v="3016"/>
          <ac:graphicFrameMkLst>
            <pc:docMk/>
            <pc:sldMk cId="3582399329" sldId="2147379414"/>
            <ac:graphicFrameMk id="25" creationId="{AC2A69A2-22AF-5CE4-704C-323D738740D0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14:53:19.203" v="8935"/>
          <ac:graphicFrameMkLst>
            <pc:docMk/>
            <pc:sldMk cId="3582399329" sldId="2147379414"/>
            <ac:graphicFrameMk id="26" creationId="{B751FDAE-92D4-663D-9220-FE8377D92038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14:53:42.451" v="9041"/>
          <ac:graphicFrameMkLst>
            <pc:docMk/>
            <pc:sldMk cId="3582399329" sldId="2147379414"/>
            <ac:graphicFrameMk id="29" creationId="{689C532B-6B10-2E16-0999-EC8B9026D3A8}"/>
          </ac:graphicFrameMkLst>
        </pc:graphicFrameChg>
        <pc:graphicFrameChg chg="add mod replST">
          <ac:chgData name="Chagwedera, Taona" userId="a2eb7365-7662-46ce-bee1-3106c891aa74" providerId="ADAL" clId="{07B1A4B5-8957-48D4-B926-E5B30A118811}" dt="2023-05-30T14:53:42.502" v="9052"/>
          <ac:graphicFrameMkLst>
            <pc:docMk/>
            <pc:sldMk cId="3582399329" sldId="2147379414"/>
            <ac:graphicFrameMk id="30" creationId="{77DB5DB8-3734-AC69-12D5-5B17EE788D52}"/>
          </ac:graphicFrameMkLst>
        </pc:graphicFrameChg>
        <pc:graphicFrameChg chg="del">
          <ac:chgData name="Chagwedera, Taona" userId="a2eb7365-7662-46ce-bee1-3106c891aa74" providerId="ADAL" clId="{07B1A4B5-8957-48D4-B926-E5B30A118811}" dt="2023-05-29T06:09:05.163" v="717"/>
          <ac:graphicFrameMkLst>
            <pc:docMk/>
            <pc:sldMk cId="3582399329" sldId="2147379414"/>
            <ac:graphicFrameMk id="75" creationId="{00000000-0000-0000-0000-000000000000}"/>
          </ac:graphicFrameMkLst>
        </pc:graphicFrameChg>
        <pc:cxnChg chg="mod ord">
          <ac:chgData name="Chagwedera, Taona" userId="a2eb7365-7662-46ce-bee1-3106c891aa74" providerId="ADAL" clId="{07B1A4B5-8957-48D4-B926-E5B30A118811}" dt="2023-05-30T14:53:42.504" v="9054"/>
          <ac:cxnSpMkLst>
            <pc:docMk/>
            <pc:sldMk cId="3582399329" sldId="2147379414"/>
            <ac:cxnSpMk id="1077" creationId="{6CF429B7-40AA-0140-1CB5-69C3AC5BEB49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Chagwedera, Taona" userId="a2eb7365-7662-46ce-bee1-3106c891aa74" providerId="ADAL" clId="{07B1A4B5-8957-48D4-B926-E5B30A118811}" dt="2023-05-29T10:37:26.386" v="1037"/>
              <pc2:cmMkLst xmlns:pc2="http://schemas.microsoft.com/office/powerpoint/2019/9/main/command">
                <pc:docMk/>
                <pc:sldMk cId="3582399329" sldId="2147379414"/>
                <pc2:cmMk id="{40B56783-A362-431D-8505-E6F86189F179}"/>
              </pc2:cmMkLst>
              <pc226:cmRplyChg chg="add">
                <pc226:chgData name="Chagwedera, Taona" userId="a2eb7365-7662-46ce-bee1-3106c891aa74" providerId="ADAL" clId="{07B1A4B5-8957-48D4-B926-E5B30A118811}" dt="2023-05-29T10:37:26.386" v="1037"/>
                <pc2:cmRplyMkLst xmlns:pc2="http://schemas.microsoft.com/office/powerpoint/2019/9/main/command">
                  <pc:docMk/>
                  <pc:sldMk cId="3582399329" sldId="2147379414"/>
                  <pc2:cmMk id="{40B56783-A362-431D-8505-E6F86189F179}"/>
                  <pc2:cmRplyMk id="{4B8C9E27-BA43-4BC3-9AF2-F3B5A3017A0B}"/>
                </pc2:cmRplyMkLst>
              </pc226:cmRplyChg>
            </pc226:cmChg>
          </p:ext>
        </pc:extLst>
      </pc:sldChg>
      <pc:sldChg chg="addSp delSp modSp mod">
        <pc:chgData name="Chagwedera, Taona" userId="a2eb7365-7662-46ce-bee1-3106c891aa74" providerId="ADAL" clId="{07B1A4B5-8957-48D4-B926-E5B30A118811}" dt="2023-05-29T06:21:06.574" v="875" actId="1076"/>
        <pc:sldMkLst>
          <pc:docMk/>
          <pc:sldMk cId="3731502863" sldId="2147379417"/>
        </pc:sldMkLst>
        <pc:spChg chg="add mod">
          <ac:chgData name="Chagwedera, Taona" userId="a2eb7365-7662-46ce-bee1-3106c891aa74" providerId="ADAL" clId="{07B1A4B5-8957-48D4-B926-E5B30A118811}" dt="2023-05-29T06:21:06.574" v="875" actId="1076"/>
          <ac:spMkLst>
            <pc:docMk/>
            <pc:sldMk cId="3731502863" sldId="2147379417"/>
            <ac:spMk id="2" creationId="{A007F663-5998-1E26-ED79-FB9A5B7478DC}"/>
          </ac:spMkLst>
        </pc:spChg>
        <pc:spChg chg="del mod">
          <ac:chgData name="Chagwedera, Taona" userId="a2eb7365-7662-46ce-bee1-3106c891aa74" providerId="ADAL" clId="{07B1A4B5-8957-48D4-B926-E5B30A118811}" dt="2023-05-29T06:21:00.488" v="873" actId="478"/>
          <ac:spMkLst>
            <pc:docMk/>
            <pc:sldMk cId="3731502863" sldId="2147379417"/>
            <ac:spMk id="15" creationId="{C68AF0FD-C321-10F6-6E86-9CA169078120}"/>
          </ac:spMkLst>
        </pc:spChg>
      </pc:sldChg>
      <pc:sldChg chg="addSp delSp modSp mod">
        <pc:chgData name="Chagwedera, Taona" userId="a2eb7365-7662-46ce-bee1-3106c891aa74" providerId="ADAL" clId="{07B1A4B5-8957-48D4-B926-E5B30A118811}" dt="2023-05-29T06:21:46.424" v="908"/>
        <pc:sldMkLst>
          <pc:docMk/>
          <pc:sldMk cId="471205054" sldId="2147379418"/>
        </pc:sldMkLst>
        <pc:spChg chg="del">
          <ac:chgData name="Chagwedera, Taona" userId="a2eb7365-7662-46ce-bee1-3106c891aa74" providerId="ADAL" clId="{07B1A4B5-8957-48D4-B926-E5B30A118811}" dt="2023-05-29T06:19:51.904" v="867" actId="478"/>
          <ac:spMkLst>
            <pc:docMk/>
            <pc:sldMk cId="471205054" sldId="2147379418"/>
            <ac:spMk id="3" creationId="{A9921D5B-5162-020E-B1EB-A756B597D580}"/>
          </ac:spMkLst>
        </pc:spChg>
        <pc:spChg chg="add mod">
          <ac:chgData name="Chagwedera, Taona" userId="a2eb7365-7662-46ce-bee1-3106c891aa74" providerId="ADAL" clId="{07B1A4B5-8957-48D4-B926-E5B30A118811}" dt="2023-05-29T06:20:49.398" v="871" actId="1076"/>
          <ac:spMkLst>
            <pc:docMk/>
            <pc:sldMk cId="471205054" sldId="2147379418"/>
            <ac:spMk id="7" creationId="{93C11855-AA8D-2D25-FAEE-C9990E2FA7AD}"/>
          </ac:spMkLst>
        </pc:spChg>
        <pc:spChg chg="add del mod modVis">
          <ac:chgData name="Chagwedera, Taona" userId="a2eb7365-7662-46ce-bee1-3106c891aa74" providerId="ADAL" clId="{07B1A4B5-8957-48D4-B926-E5B30A118811}" dt="2023-05-29T06:21:46.421" v="906"/>
          <ac:spMkLst>
            <pc:docMk/>
            <pc:sldMk cId="471205054" sldId="2147379418"/>
            <ac:spMk id="9" creationId="{2395F1DE-2947-61AF-3660-D9418F37AB07}"/>
          </ac:spMkLst>
        </pc:spChg>
        <pc:spChg chg="mod">
          <ac:chgData name="Chagwedera, Taona" userId="a2eb7365-7662-46ce-bee1-3106c891aa74" providerId="ADAL" clId="{07B1A4B5-8957-48D4-B926-E5B30A118811}" dt="2023-05-29T06:21:46.383" v="883" actId="948"/>
          <ac:spMkLst>
            <pc:docMk/>
            <pc:sldMk cId="471205054" sldId="2147379418"/>
            <ac:spMk id="647" creationId="{524A67F4-EA6A-B361-18E0-0398EEDF9754}"/>
          </ac:spMkLst>
        </pc:spChg>
        <pc:graphicFrameChg chg="mod">
          <ac:chgData name="Chagwedera, Taona" userId="a2eb7365-7662-46ce-bee1-3106c891aa74" providerId="ADAL" clId="{07B1A4B5-8957-48D4-B926-E5B30A118811}" dt="2023-05-29T06:21:46.424" v="908"/>
          <ac:graphicFrameMkLst>
            <pc:docMk/>
            <pc:sldMk cId="471205054" sldId="2147379418"/>
            <ac:graphicFrameMk id="4" creationId="{34308163-D23F-76BD-0D22-083B97814CD6}"/>
          </ac:graphicFrameMkLst>
        </pc:graphicFrameChg>
      </pc:sldChg>
      <pc:sldChg chg="addSp delSp modSp mod">
        <pc:chgData name="Chagwedera, Taona" userId="a2eb7365-7662-46ce-bee1-3106c891aa74" providerId="ADAL" clId="{07B1A4B5-8957-48D4-B926-E5B30A118811}" dt="2023-05-30T14:49:23.313" v="8899"/>
        <pc:sldMkLst>
          <pc:docMk/>
          <pc:sldMk cId="1962712470" sldId="2147379419"/>
        </pc:sldMkLst>
        <pc:spChg chg="add mod">
          <ac:chgData name="Chagwedera, Taona" userId="a2eb7365-7662-46ce-bee1-3106c891aa74" providerId="ADAL" clId="{07B1A4B5-8957-48D4-B926-E5B30A118811}" dt="2023-05-29T06:22:54.183" v="964" actId="1076"/>
          <ac:spMkLst>
            <pc:docMk/>
            <pc:sldMk cId="1962712470" sldId="2147379419"/>
            <ac:spMk id="5" creationId="{F634C60B-F5F4-7001-35EF-3889EE670DB7}"/>
          </ac:spMkLst>
        </pc:spChg>
        <pc:spChg chg="add del mod modVis">
          <ac:chgData name="Chagwedera, Taona" userId="a2eb7365-7662-46ce-bee1-3106c891aa74" providerId="ADAL" clId="{07B1A4B5-8957-48D4-B926-E5B30A118811}" dt="2023-05-29T06:22:34.058" v="934"/>
          <ac:spMkLst>
            <pc:docMk/>
            <pc:sldMk cId="1962712470" sldId="2147379419"/>
            <ac:spMk id="6" creationId="{3DD4F338-8E66-B846-3C31-6C7F3ED71E3D}"/>
          </ac:spMkLst>
        </pc:spChg>
        <pc:spChg chg="add del mod modVis">
          <ac:chgData name="Chagwedera, Taona" userId="a2eb7365-7662-46ce-bee1-3106c891aa74" providerId="ADAL" clId="{07B1A4B5-8957-48D4-B926-E5B30A118811}" dt="2023-05-30T14:48:47.240" v="8473"/>
          <ac:spMkLst>
            <pc:docMk/>
            <pc:sldMk cId="1962712470" sldId="2147379419"/>
            <ac:spMk id="6" creationId="{C9A8DA16-337F-44F0-C021-DB90B2A91B5A}"/>
          </ac:spMkLst>
        </pc:spChg>
        <pc:spChg chg="add del mod modVis">
          <ac:chgData name="Chagwedera, Taona" userId="a2eb7365-7662-46ce-bee1-3106c891aa74" providerId="ADAL" clId="{07B1A4B5-8957-48D4-B926-E5B30A118811}" dt="2023-05-30T14:48:50.844" v="8512"/>
          <ac:spMkLst>
            <pc:docMk/>
            <pc:sldMk cId="1962712470" sldId="2147379419"/>
            <ac:spMk id="7" creationId="{24C0B1F6-DF37-C1C8-5BAD-B995A523BB11}"/>
          </ac:spMkLst>
        </pc:spChg>
        <pc:spChg chg="add del mod modVis">
          <ac:chgData name="Chagwedera, Taona" userId="a2eb7365-7662-46ce-bee1-3106c891aa74" providerId="ADAL" clId="{07B1A4B5-8957-48D4-B926-E5B30A118811}" dt="2023-05-29T06:22:34.640" v="961"/>
          <ac:spMkLst>
            <pc:docMk/>
            <pc:sldMk cId="1962712470" sldId="2147379419"/>
            <ac:spMk id="7" creationId="{CB7F2D2C-0509-24A3-38CD-2994997D4C53}"/>
          </ac:spMkLst>
        </pc:spChg>
        <pc:spChg chg="add del mod modVis">
          <ac:chgData name="Chagwedera, Taona" userId="a2eb7365-7662-46ce-bee1-3106c891aa74" providerId="ADAL" clId="{07B1A4B5-8957-48D4-B926-E5B30A118811}" dt="2023-05-30T14:48:52.212" v="8543"/>
          <ac:spMkLst>
            <pc:docMk/>
            <pc:sldMk cId="1962712470" sldId="2147379419"/>
            <ac:spMk id="8" creationId="{1F77EE92-A175-0302-B79C-AF62658A61F6}"/>
          </ac:spMkLst>
        </pc:spChg>
        <pc:spChg chg="add del mod modVis">
          <ac:chgData name="Chagwedera, Taona" userId="a2eb7365-7662-46ce-bee1-3106c891aa74" providerId="ADAL" clId="{07B1A4B5-8957-48D4-B926-E5B30A118811}" dt="2023-05-30T14:48:53.393" v="8573"/>
          <ac:spMkLst>
            <pc:docMk/>
            <pc:sldMk cId="1962712470" sldId="2147379419"/>
            <ac:spMk id="9" creationId="{E4ED496E-EAB3-567D-FD8A-A43F729CC3AE}"/>
          </ac:spMkLst>
        </pc:spChg>
        <pc:spChg chg="add del mod modVis">
          <ac:chgData name="Chagwedera, Taona" userId="a2eb7365-7662-46ce-bee1-3106c891aa74" providerId="ADAL" clId="{07B1A4B5-8957-48D4-B926-E5B30A118811}" dt="2023-05-30T14:48:54.302" v="8601"/>
          <ac:spMkLst>
            <pc:docMk/>
            <pc:sldMk cId="1962712470" sldId="2147379419"/>
            <ac:spMk id="10" creationId="{25F072E2-EFD3-7841-9047-D10718502A69}"/>
          </ac:spMkLst>
        </pc:spChg>
        <pc:spChg chg="add del mod modVis">
          <ac:chgData name="Chagwedera, Taona" userId="a2eb7365-7662-46ce-bee1-3106c891aa74" providerId="ADAL" clId="{07B1A4B5-8957-48D4-B926-E5B30A118811}" dt="2023-05-30T14:48:58.151" v="8642"/>
          <ac:spMkLst>
            <pc:docMk/>
            <pc:sldMk cId="1962712470" sldId="2147379419"/>
            <ac:spMk id="20" creationId="{7763C955-740C-A2C7-8C4C-3CE19A4FB0A9}"/>
          </ac:spMkLst>
        </pc:spChg>
        <pc:spChg chg="add del mod modVis">
          <ac:chgData name="Chagwedera, Taona" userId="a2eb7365-7662-46ce-bee1-3106c891aa74" providerId="ADAL" clId="{07B1A4B5-8957-48D4-B926-E5B30A118811}" dt="2023-05-30T14:49:12.506" v="8682"/>
          <ac:spMkLst>
            <pc:docMk/>
            <pc:sldMk cId="1962712470" sldId="2147379419"/>
            <ac:spMk id="21" creationId="{BBE21005-209C-9CF9-7680-0FC48BD10FA8}"/>
          </ac:spMkLst>
        </pc:spChg>
        <pc:spChg chg="add del mod modVis">
          <ac:chgData name="Chagwedera, Taona" userId="a2eb7365-7662-46ce-bee1-3106c891aa74" providerId="ADAL" clId="{07B1A4B5-8957-48D4-B926-E5B30A118811}" dt="2023-05-30T14:49:13.866" v="8712"/>
          <ac:spMkLst>
            <pc:docMk/>
            <pc:sldMk cId="1962712470" sldId="2147379419"/>
            <ac:spMk id="27" creationId="{F20ADBDC-4CF3-D2E4-12B3-949305FCB25F}"/>
          </ac:spMkLst>
        </pc:spChg>
        <pc:spChg chg="add del mod modVis">
          <ac:chgData name="Chagwedera, Taona" userId="a2eb7365-7662-46ce-bee1-3106c891aa74" providerId="ADAL" clId="{07B1A4B5-8957-48D4-B926-E5B30A118811}" dt="2023-05-30T14:49:17.311" v="8750"/>
          <ac:spMkLst>
            <pc:docMk/>
            <pc:sldMk cId="1962712470" sldId="2147379419"/>
            <ac:spMk id="28" creationId="{1EE257C2-995E-4C6A-6F23-FBB462BF0920}"/>
          </ac:spMkLst>
        </pc:spChg>
        <pc:spChg chg="add del mod modVis">
          <ac:chgData name="Chagwedera, Taona" userId="a2eb7365-7662-46ce-bee1-3106c891aa74" providerId="ADAL" clId="{07B1A4B5-8957-48D4-B926-E5B30A118811}" dt="2023-05-30T14:49:18.620" v="8780"/>
          <ac:spMkLst>
            <pc:docMk/>
            <pc:sldMk cId="1962712470" sldId="2147379419"/>
            <ac:spMk id="29" creationId="{30E94866-2D6F-F40E-1D8E-1D043117608C}"/>
          </ac:spMkLst>
        </pc:spChg>
        <pc:spChg chg="add del mod modVis">
          <ac:chgData name="Chagwedera, Taona" userId="a2eb7365-7662-46ce-bee1-3106c891aa74" providerId="ADAL" clId="{07B1A4B5-8957-48D4-B926-E5B30A118811}" dt="2023-05-30T14:49:20.730" v="8813"/>
          <ac:spMkLst>
            <pc:docMk/>
            <pc:sldMk cId="1962712470" sldId="2147379419"/>
            <ac:spMk id="30" creationId="{03A3E0F7-FF21-E1C0-8141-2EBF1EB2E3A1}"/>
          </ac:spMkLst>
        </pc:spChg>
        <pc:spChg chg="add del mod modVis">
          <ac:chgData name="Chagwedera, Taona" userId="a2eb7365-7662-46ce-bee1-3106c891aa74" providerId="ADAL" clId="{07B1A4B5-8957-48D4-B926-E5B30A118811}" dt="2023-05-30T14:49:21.806" v="8843"/>
          <ac:spMkLst>
            <pc:docMk/>
            <pc:sldMk cId="1962712470" sldId="2147379419"/>
            <ac:spMk id="31" creationId="{946EC979-41FA-6ABD-175A-2C091781D6ED}"/>
          </ac:spMkLst>
        </pc:spChg>
        <pc:spChg chg="add del mod modVis">
          <ac:chgData name="Chagwedera, Taona" userId="a2eb7365-7662-46ce-bee1-3106c891aa74" providerId="ADAL" clId="{07B1A4B5-8957-48D4-B926-E5B30A118811}" dt="2023-05-30T14:49:22.465" v="8870"/>
          <ac:spMkLst>
            <pc:docMk/>
            <pc:sldMk cId="1962712470" sldId="2147379419"/>
            <ac:spMk id="33" creationId="{4896F3D7-5997-ACC9-7757-63DDD445A0DF}"/>
          </ac:spMkLst>
        </pc:spChg>
        <pc:spChg chg="add del mod modVis">
          <ac:chgData name="Chagwedera, Taona" userId="a2eb7365-7662-46ce-bee1-3106c891aa74" providerId="ADAL" clId="{07B1A4B5-8957-48D4-B926-E5B30A118811}" dt="2023-05-30T14:49:23.306" v="8897"/>
          <ac:spMkLst>
            <pc:docMk/>
            <pc:sldMk cId="1962712470" sldId="2147379419"/>
            <ac:spMk id="34" creationId="{8AF046B2-C503-C64D-1A01-D58EB1634BE6}"/>
          </ac:spMkLst>
        </pc:spChg>
        <pc:spChg chg="mod">
          <ac:chgData name="Chagwedera, Taona" userId="a2eb7365-7662-46ce-bee1-3106c891aa74" providerId="ADAL" clId="{07B1A4B5-8957-48D4-B926-E5B30A118811}" dt="2023-05-30T14:49:23.233" v="8874" actId="948"/>
          <ac:spMkLst>
            <pc:docMk/>
            <pc:sldMk cId="1962712470" sldId="2147379419"/>
            <ac:spMk id="647" creationId="{524A67F4-EA6A-B361-18E0-0398EEDF9754}"/>
          </ac:spMkLst>
        </pc:spChg>
        <pc:spChg chg="del">
          <ac:chgData name="Chagwedera, Taona" userId="a2eb7365-7662-46ce-bee1-3106c891aa74" providerId="ADAL" clId="{07B1A4B5-8957-48D4-B926-E5B30A118811}" dt="2023-05-30T14:46:43.824" v="8427" actId="478"/>
          <ac:spMkLst>
            <pc:docMk/>
            <pc:sldMk cId="1962712470" sldId="2147379419"/>
            <ac:spMk id="692" creationId="{67E89833-BFBD-2CA2-FB09-F4F4B2925534}"/>
          </ac:spMkLst>
        </pc:spChg>
        <pc:spChg chg="del">
          <ac:chgData name="Chagwedera, Taona" userId="a2eb7365-7662-46ce-bee1-3106c891aa74" providerId="ADAL" clId="{07B1A4B5-8957-48D4-B926-E5B30A118811}" dt="2023-05-30T14:46:46.822" v="8428" actId="478"/>
          <ac:spMkLst>
            <pc:docMk/>
            <pc:sldMk cId="1962712470" sldId="2147379419"/>
            <ac:spMk id="693" creationId="{3EF3F5B0-C9BA-7A4A-BBAA-2A31C514700F}"/>
          </ac:spMkLst>
        </pc:spChg>
        <pc:spChg chg="del">
          <ac:chgData name="Chagwedera, Taona" userId="a2eb7365-7662-46ce-bee1-3106c891aa74" providerId="ADAL" clId="{07B1A4B5-8957-48D4-B926-E5B30A118811}" dt="2023-05-30T14:46:59.547" v="8433" actId="478"/>
          <ac:spMkLst>
            <pc:docMk/>
            <pc:sldMk cId="1962712470" sldId="2147379419"/>
            <ac:spMk id="694" creationId="{39C2C2B6-7DFA-6D68-2A26-0347EA2C7C92}"/>
          </ac:spMkLst>
        </pc:spChg>
        <pc:spChg chg="del">
          <ac:chgData name="Chagwedera, Taona" userId="a2eb7365-7662-46ce-bee1-3106c891aa74" providerId="ADAL" clId="{07B1A4B5-8957-48D4-B926-E5B30A118811}" dt="2023-05-30T14:46:54.787" v="8431" actId="478"/>
          <ac:spMkLst>
            <pc:docMk/>
            <pc:sldMk cId="1962712470" sldId="2147379419"/>
            <ac:spMk id="695" creationId="{AA614AFB-3219-4884-A1BA-04483CDA6E51}"/>
          </ac:spMkLst>
        </pc:spChg>
        <pc:spChg chg="mod">
          <ac:chgData name="Chagwedera, Taona" userId="a2eb7365-7662-46ce-bee1-3106c891aa74" providerId="ADAL" clId="{07B1A4B5-8957-48D4-B926-E5B30A118811}" dt="2023-05-30T14:47:17.210" v="8437" actId="313"/>
          <ac:spMkLst>
            <pc:docMk/>
            <pc:sldMk cId="1962712470" sldId="2147379419"/>
            <ac:spMk id="735" creationId="{F8292D56-05A0-3C1C-87F0-666A547757F2}"/>
          </ac:spMkLst>
        </pc:spChg>
        <pc:graphicFrameChg chg="mod">
          <ac:chgData name="Chagwedera, Taona" userId="a2eb7365-7662-46ce-bee1-3106c891aa74" providerId="ADAL" clId="{07B1A4B5-8957-48D4-B926-E5B30A118811}" dt="2023-05-30T14:49:23.313" v="8899"/>
          <ac:graphicFrameMkLst>
            <pc:docMk/>
            <pc:sldMk cId="1962712470" sldId="2147379419"/>
            <ac:graphicFrameMk id="4" creationId="{34308163-D23F-76BD-0D22-083B97814CD6}"/>
          </ac:graphicFrameMkLst>
        </pc:graphicFrameChg>
        <pc:cxnChg chg="del mod">
          <ac:chgData name="Chagwedera, Taona" userId="a2eb7365-7662-46ce-bee1-3106c891aa74" providerId="ADAL" clId="{07B1A4B5-8957-48D4-B926-E5B30A118811}" dt="2023-05-30T14:46:57.214" v="8432" actId="478"/>
          <ac:cxnSpMkLst>
            <pc:docMk/>
            <pc:sldMk cId="1962712470" sldId="2147379419"/>
            <ac:cxnSpMk id="704" creationId="{0543AEF6-B3DA-4EF8-0388-EB9EB55C6200}"/>
          </ac:cxnSpMkLst>
        </pc:cxnChg>
        <pc:cxnChg chg="del mod">
          <ac:chgData name="Chagwedera, Taona" userId="a2eb7365-7662-46ce-bee1-3106c891aa74" providerId="ADAL" clId="{07B1A4B5-8957-48D4-B926-E5B30A118811}" dt="2023-05-30T14:46:52.425" v="8430" actId="478"/>
          <ac:cxnSpMkLst>
            <pc:docMk/>
            <pc:sldMk cId="1962712470" sldId="2147379419"/>
            <ac:cxnSpMk id="720" creationId="{27DF9405-6BBF-B357-4B9C-0A06B0885E2D}"/>
          </ac:cxnSpMkLst>
        </pc:cxnChg>
        <pc:cxnChg chg="del mod">
          <ac:chgData name="Chagwedera, Taona" userId="a2eb7365-7662-46ce-bee1-3106c891aa74" providerId="ADAL" clId="{07B1A4B5-8957-48D4-B926-E5B30A118811}" dt="2023-05-30T14:47:02.836" v="8434" actId="478"/>
          <ac:cxnSpMkLst>
            <pc:docMk/>
            <pc:sldMk cId="1962712470" sldId="2147379419"/>
            <ac:cxnSpMk id="728" creationId="{D560B25F-E8E9-511F-2270-F8F4431F3C7F}"/>
          </ac:cxnSpMkLst>
        </pc:cxnChg>
        <pc:cxnChg chg="del mod">
          <ac:chgData name="Chagwedera, Taona" userId="a2eb7365-7662-46ce-bee1-3106c891aa74" providerId="ADAL" clId="{07B1A4B5-8957-48D4-B926-E5B30A118811}" dt="2023-05-30T14:46:49.340" v="8429" actId="478"/>
          <ac:cxnSpMkLst>
            <pc:docMk/>
            <pc:sldMk cId="1962712470" sldId="2147379419"/>
            <ac:cxnSpMk id="730" creationId="{53BB29C0-70CB-FFA9-02B9-A284842039CB}"/>
          </ac:cxnSpMkLst>
        </pc:cxnChg>
        <pc:cxnChg chg="del mod">
          <ac:chgData name="Chagwedera, Taona" userId="a2eb7365-7662-46ce-bee1-3106c891aa74" providerId="ADAL" clId="{07B1A4B5-8957-48D4-B926-E5B30A118811}" dt="2023-05-30T14:47:07.421" v="8435" actId="478"/>
          <ac:cxnSpMkLst>
            <pc:docMk/>
            <pc:sldMk cId="1962712470" sldId="2147379419"/>
            <ac:cxnSpMk id="765" creationId="{2E0C3CDB-1230-082B-5E0A-67B02B57275F}"/>
          </ac:cxnSpMkLst>
        </pc:cxnChg>
        <pc:cxnChg chg="del">
          <ac:chgData name="Chagwedera, Taona" userId="a2eb7365-7662-46ce-bee1-3106c891aa74" providerId="ADAL" clId="{07B1A4B5-8957-48D4-B926-E5B30A118811}" dt="2023-05-30T14:47:11.664" v="8436" actId="478"/>
          <ac:cxnSpMkLst>
            <pc:docMk/>
            <pc:sldMk cId="1962712470" sldId="2147379419"/>
            <ac:cxnSpMk id="777" creationId="{0EAE529D-9B91-4B50-E0BB-EE25DF79D81A}"/>
          </ac:cxnSpMkLst>
        </pc:cxnChg>
      </pc:sldChg>
      <pc:sldChg chg="addSp delSp modSp mod">
        <pc:chgData name="Chagwedera, Taona" userId="a2eb7365-7662-46ce-bee1-3106c891aa74" providerId="ADAL" clId="{07B1A4B5-8957-48D4-B926-E5B30A118811}" dt="2023-05-29T06:30:02.755" v="1034" actId="14100"/>
        <pc:sldMkLst>
          <pc:docMk/>
          <pc:sldMk cId="267860849" sldId="2147379421"/>
        </pc:sldMkLst>
        <pc:picChg chg="add del mod modCrop">
          <ac:chgData name="Chagwedera, Taona" userId="a2eb7365-7662-46ce-bee1-3106c891aa74" providerId="ADAL" clId="{07B1A4B5-8957-48D4-B926-E5B30A118811}" dt="2023-05-29T06:25:17.291" v="984" actId="931"/>
          <ac:picMkLst>
            <pc:docMk/>
            <pc:sldMk cId="267860849" sldId="2147379421"/>
            <ac:picMk id="4" creationId="{745EC634-311A-9F61-109D-F3B4838BCE36}"/>
          </ac:picMkLst>
        </pc:picChg>
        <pc:picChg chg="add del mod">
          <ac:chgData name="Chagwedera, Taona" userId="a2eb7365-7662-46ce-bee1-3106c891aa74" providerId="ADAL" clId="{07B1A4B5-8957-48D4-B926-E5B30A118811}" dt="2023-05-29T06:25:52.683" v="988" actId="478"/>
          <ac:picMkLst>
            <pc:docMk/>
            <pc:sldMk cId="267860849" sldId="2147379421"/>
            <ac:picMk id="6" creationId="{175E7066-23B1-A417-7BB4-A1EA3ABD0979}"/>
          </ac:picMkLst>
        </pc:picChg>
        <pc:picChg chg="add mod modCrop">
          <ac:chgData name="Chagwedera, Taona" userId="a2eb7365-7662-46ce-bee1-3106c891aa74" providerId="ADAL" clId="{07B1A4B5-8957-48D4-B926-E5B30A118811}" dt="2023-05-29T06:30:02.755" v="1034" actId="14100"/>
          <ac:picMkLst>
            <pc:docMk/>
            <pc:sldMk cId="267860849" sldId="2147379421"/>
            <ac:picMk id="8" creationId="{13DDB2B9-2AF4-2861-2640-EA4FFDC797CA}"/>
          </ac:picMkLst>
        </pc:picChg>
        <pc:picChg chg="add del">
          <ac:chgData name="Chagwedera, Taona" userId="a2eb7365-7662-46ce-bee1-3106c891aa74" providerId="ADAL" clId="{07B1A4B5-8957-48D4-B926-E5B30A118811}" dt="2023-05-29T06:25:17.944" v="985" actId="478"/>
          <ac:picMkLst>
            <pc:docMk/>
            <pc:sldMk cId="267860849" sldId="2147379421"/>
            <ac:picMk id="9" creationId="{97742B32-64B9-44E3-ACDB-9D6055FA4CD0}"/>
          </ac:picMkLst>
        </pc:picChg>
        <pc:picChg chg="del">
          <ac:chgData name="Chagwedera, Taona" userId="a2eb7365-7662-46ce-bee1-3106c891aa74" providerId="ADAL" clId="{07B1A4B5-8957-48D4-B926-E5B30A118811}" dt="2023-05-29T06:25:27.928" v="986" actId="478"/>
          <ac:picMkLst>
            <pc:docMk/>
            <pc:sldMk cId="267860849" sldId="2147379421"/>
            <ac:picMk id="17" creationId="{48D97CEE-C8AE-F46B-2EED-5870147EDEE4}"/>
          </ac:picMkLst>
        </pc:picChg>
      </pc:sldChg>
      <pc:sldChg chg="modSp mod">
        <pc:chgData name="Chagwedera, Taona" userId="a2eb7365-7662-46ce-bee1-3106c891aa74" providerId="ADAL" clId="{07B1A4B5-8957-48D4-B926-E5B30A118811}" dt="2023-05-29T08:19:08.745" v="1035" actId="20577"/>
        <pc:sldMkLst>
          <pc:docMk/>
          <pc:sldMk cId="1061739904" sldId="2147379423"/>
        </pc:sldMkLst>
        <pc:spChg chg="mod">
          <ac:chgData name="Chagwedera, Taona" userId="a2eb7365-7662-46ce-bee1-3106c891aa74" providerId="ADAL" clId="{07B1A4B5-8957-48D4-B926-E5B30A118811}" dt="2023-05-29T08:19:08.745" v="1035" actId="20577"/>
          <ac:spMkLst>
            <pc:docMk/>
            <pc:sldMk cId="1061739904" sldId="2147379423"/>
            <ac:spMk id="31" creationId="{63940CA6-45D3-19E6-74F1-A9394B3CFEEA}"/>
          </ac:spMkLst>
        </pc:spChg>
      </pc:sldChg>
      <pc:sldChg chg="delSp mod">
        <pc:chgData name="Chagwedera, Taona" userId="a2eb7365-7662-46ce-bee1-3106c891aa74" providerId="ADAL" clId="{07B1A4B5-8957-48D4-B926-E5B30A118811}" dt="2023-05-29T06:12:43.182" v="818" actId="478"/>
        <pc:sldMkLst>
          <pc:docMk/>
          <pc:sldMk cId="1384380165" sldId="2147379424"/>
        </pc:sldMkLst>
        <pc:spChg chg="del">
          <ac:chgData name="Chagwedera, Taona" userId="a2eb7365-7662-46ce-bee1-3106c891aa74" providerId="ADAL" clId="{07B1A4B5-8957-48D4-B926-E5B30A118811}" dt="2023-05-29T06:12:43.182" v="818" actId="478"/>
          <ac:spMkLst>
            <pc:docMk/>
            <pc:sldMk cId="1384380165" sldId="2147379424"/>
            <ac:spMk id="31" creationId="{95CF702B-ADC9-753A-EF49-D3EC04E5C9D4}"/>
          </ac:spMkLst>
        </pc:spChg>
      </pc:sldChg>
      <pc:sldChg chg="add del">
        <pc:chgData name="Chagwedera, Taona" userId="a2eb7365-7662-46ce-bee1-3106c891aa74" providerId="ADAL" clId="{07B1A4B5-8957-48D4-B926-E5B30A118811}" dt="2023-05-30T06:46:47.494" v="1144" actId="47"/>
        <pc:sldMkLst>
          <pc:docMk/>
          <pc:sldMk cId="2942574607" sldId="2147379425"/>
        </pc:sldMkLst>
      </pc:sldChg>
      <pc:sldChg chg="del">
        <pc:chgData name="Chagwedera, Taona" userId="a2eb7365-7662-46ce-bee1-3106c891aa74" providerId="ADAL" clId="{07B1A4B5-8957-48D4-B926-E5B30A118811}" dt="2023-05-30T06:52:47.011" v="4938" actId="47"/>
        <pc:sldMkLst>
          <pc:docMk/>
          <pc:sldMk cId="3667863200" sldId="2147379425"/>
        </pc:sldMkLst>
      </pc:sldChg>
      <pc:sldChg chg="addSp delSp modSp add mod">
        <pc:chgData name="Chagwedera, Taona" userId="a2eb7365-7662-46ce-bee1-3106c891aa74" providerId="ADAL" clId="{07B1A4B5-8957-48D4-B926-E5B30A118811}" dt="2023-05-30T14:56:16.412" v="9535"/>
        <pc:sldMkLst>
          <pc:docMk/>
          <pc:sldMk cId="2158287069" sldId="2147379426"/>
        </pc:sldMkLst>
        <pc:spChg chg="add del mod modVis">
          <ac:chgData name="Chagwedera, Taona" userId="a2eb7365-7662-46ce-bee1-3106c891aa74" providerId="ADAL" clId="{07B1A4B5-8957-48D4-B926-E5B30A118811}" dt="2023-05-30T06:50:15.836" v="3383"/>
          <ac:spMkLst>
            <pc:docMk/>
            <pc:sldMk cId="2158287069" sldId="2147379426"/>
            <ac:spMk id="7" creationId="{466E1642-4D8C-AA63-A8FC-7FE9227A033A}"/>
          </ac:spMkLst>
        </pc:spChg>
        <pc:spChg chg="mod ord">
          <ac:chgData name="Chagwedera, Taona" userId="a2eb7365-7662-46ce-bee1-3106c891aa74" providerId="ADAL" clId="{07B1A4B5-8957-48D4-B926-E5B30A118811}" dt="2023-05-30T14:56:16.391" v="9530"/>
          <ac:spMkLst>
            <pc:docMk/>
            <pc:sldMk cId="2158287069" sldId="2147379426"/>
            <ac:spMk id="12" creationId="{D3E12B06-53AF-E2BB-C01B-8E78FD0C6FEE}"/>
          </ac:spMkLst>
        </pc:spChg>
        <pc:spChg chg="mod ord">
          <ac:chgData name="Chagwedera, Taona" userId="a2eb7365-7662-46ce-bee1-3106c891aa74" providerId="ADAL" clId="{07B1A4B5-8957-48D4-B926-E5B30A118811}" dt="2023-05-30T14:56:16.389" v="9528"/>
          <ac:spMkLst>
            <pc:docMk/>
            <pc:sldMk cId="2158287069" sldId="2147379426"/>
            <ac:spMk id="13" creationId="{2BF05650-7666-1C70-33B1-6CF4CABDF491}"/>
          </ac:spMkLst>
        </pc:spChg>
        <pc:spChg chg="mod ord">
          <ac:chgData name="Chagwedera, Taona" userId="a2eb7365-7662-46ce-bee1-3106c891aa74" providerId="ADAL" clId="{07B1A4B5-8957-48D4-B926-E5B30A118811}" dt="2023-05-30T14:56:16.388" v="9526"/>
          <ac:spMkLst>
            <pc:docMk/>
            <pc:sldMk cId="2158287069" sldId="2147379426"/>
            <ac:spMk id="15" creationId="{00000000-0000-0000-0000-000000000000}"/>
          </ac:spMkLst>
        </pc:spChg>
        <pc:spChg chg="add del mod modVis">
          <ac:chgData name="Chagwedera, Taona" userId="a2eb7365-7662-46ce-bee1-3106c891aa74" providerId="ADAL" clId="{07B1A4B5-8957-48D4-B926-E5B30A118811}" dt="2023-05-30T06:50:18.338" v="3520"/>
          <ac:spMkLst>
            <pc:docMk/>
            <pc:sldMk cId="2158287069" sldId="2147379426"/>
            <ac:spMk id="16" creationId="{BE6F5222-1BE8-AE61-C23D-235C66ED5C82}"/>
          </ac:spMkLst>
        </pc:spChg>
        <pc:spChg chg="add del mod modVis">
          <ac:chgData name="Chagwedera, Taona" userId="a2eb7365-7662-46ce-bee1-3106c891aa74" providerId="ADAL" clId="{07B1A4B5-8957-48D4-B926-E5B30A118811}" dt="2023-05-30T06:50:22.995" v="3727"/>
          <ac:spMkLst>
            <pc:docMk/>
            <pc:sldMk cId="2158287069" sldId="2147379426"/>
            <ac:spMk id="18" creationId="{5D93818B-AA28-9706-5721-72102FC54BCE}"/>
          </ac:spMkLst>
        </pc:spChg>
        <pc:spChg chg="add del mod modVis">
          <ac:chgData name="Chagwedera, Taona" userId="a2eb7365-7662-46ce-bee1-3106c891aa74" providerId="ADAL" clId="{07B1A4B5-8957-48D4-B926-E5B30A118811}" dt="2023-05-30T06:50:25.161" v="3878"/>
          <ac:spMkLst>
            <pc:docMk/>
            <pc:sldMk cId="2158287069" sldId="2147379426"/>
            <ac:spMk id="20" creationId="{12025ABB-0C78-27B8-AC62-E1FD08B42350}"/>
          </ac:spMkLst>
        </pc:spChg>
        <pc:spChg chg="add del mod modVis">
          <ac:chgData name="Chagwedera, Taona" userId="a2eb7365-7662-46ce-bee1-3106c891aa74" providerId="ADAL" clId="{07B1A4B5-8957-48D4-B926-E5B30A118811}" dt="2023-05-30T06:50:27.645" v="4015"/>
          <ac:spMkLst>
            <pc:docMk/>
            <pc:sldMk cId="2158287069" sldId="2147379426"/>
            <ac:spMk id="22" creationId="{06EBBC5A-CB01-0312-053A-295CF0A8513A}"/>
          </ac:spMkLst>
        </pc:spChg>
        <pc:spChg chg="add del mod modVis">
          <ac:chgData name="Chagwedera, Taona" userId="a2eb7365-7662-46ce-bee1-3106c891aa74" providerId="ADAL" clId="{07B1A4B5-8957-48D4-B926-E5B30A118811}" dt="2023-05-30T06:50:30.258" v="4192"/>
          <ac:spMkLst>
            <pc:docMk/>
            <pc:sldMk cId="2158287069" sldId="2147379426"/>
            <ac:spMk id="24" creationId="{C68A71A5-0724-ED4E-FB7F-8189704584F8}"/>
          </ac:spMkLst>
        </pc:spChg>
        <pc:spChg chg="add del mod modVis">
          <ac:chgData name="Chagwedera, Taona" userId="a2eb7365-7662-46ce-bee1-3106c891aa74" providerId="ADAL" clId="{07B1A4B5-8957-48D4-B926-E5B30A118811}" dt="2023-05-30T06:50:51.429" v="4431"/>
          <ac:spMkLst>
            <pc:docMk/>
            <pc:sldMk cId="2158287069" sldId="2147379426"/>
            <ac:spMk id="27" creationId="{1D0AD347-46D4-47D6-4B3B-9D9ED7C96B27}"/>
          </ac:spMkLst>
        </pc:spChg>
        <pc:spChg chg="add mod replST">
          <ac:chgData name="Chagwedera, Taona" userId="a2eb7365-7662-46ce-bee1-3106c891aa74" providerId="ADAL" clId="{07B1A4B5-8957-48D4-B926-E5B30A118811}" dt="2023-05-30T14:56:16.386" v="9523"/>
          <ac:spMkLst>
            <pc:docMk/>
            <pc:sldMk cId="2158287069" sldId="2147379426"/>
            <ac:spMk id="29" creationId="{3B6D34A2-891D-AA31-1674-3F08DFFED8CC}"/>
          </ac:spMkLst>
        </pc:spChg>
        <pc:spChg chg="add mod replST">
          <ac:chgData name="Chagwedera, Taona" userId="a2eb7365-7662-46ce-bee1-3106c891aa74" providerId="ADAL" clId="{07B1A4B5-8957-48D4-B926-E5B30A118811}" dt="2023-05-30T14:56:16.387" v="9524"/>
          <ac:spMkLst>
            <pc:docMk/>
            <pc:sldMk cId="2158287069" sldId="2147379426"/>
            <ac:spMk id="30" creationId="{5C208057-FB67-0A9B-9F80-B16B410BC207}"/>
          </ac:spMkLst>
        </pc:spChg>
        <pc:spChg chg="add del mod modVis">
          <ac:chgData name="Chagwedera, Taona" userId="a2eb7365-7662-46ce-bee1-3106c891aa74" providerId="ADAL" clId="{07B1A4B5-8957-48D4-B926-E5B30A118811}" dt="2023-05-30T06:51:55.592" v="4896"/>
          <ac:spMkLst>
            <pc:docMk/>
            <pc:sldMk cId="2158287069" sldId="2147379426"/>
            <ac:spMk id="31" creationId="{11E4C7C1-D44E-C302-FB72-E7363597FAE3}"/>
          </ac:spMkLst>
        </pc:spChg>
        <pc:spChg chg="add mod ord replST">
          <ac:chgData name="Chagwedera, Taona" userId="a2eb7365-7662-46ce-bee1-3106c891aa74" providerId="ADAL" clId="{07B1A4B5-8957-48D4-B926-E5B30A118811}" dt="2023-05-30T14:56:16.377" v="9514"/>
          <ac:spMkLst>
            <pc:docMk/>
            <pc:sldMk cId="2158287069" sldId="2147379426"/>
            <ac:spMk id="33" creationId="{B5E21ECA-DE70-AC75-AC88-898C3F8ABE59}"/>
          </ac:spMkLst>
        </pc:spChg>
        <pc:spChg chg="add mod ord replST">
          <ac:chgData name="Chagwedera, Taona" userId="a2eb7365-7662-46ce-bee1-3106c891aa74" providerId="ADAL" clId="{07B1A4B5-8957-48D4-B926-E5B30A118811}" dt="2023-05-30T14:56:16.380" v="9516"/>
          <ac:spMkLst>
            <pc:docMk/>
            <pc:sldMk cId="2158287069" sldId="2147379426"/>
            <ac:spMk id="34" creationId="{CD3C224E-DE20-8475-EEFA-89D60D2556CD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36" creationId="{548C0404-233D-B1D7-6335-BD0369136FBA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37" creationId="{2CE2D0B4-3098-4BE5-359F-8844E8657CB4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38" creationId="{5F11979D-D07B-5B03-C903-8F1073607718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39" creationId="{A2765ED4-8413-8761-1FDD-8755AC6FE286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40" creationId="{72EFB3EE-72E7-CE9F-F27A-3D74ADD994BD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41" creationId="{CA9362B3-94ED-B876-8392-AB4B996B12C9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42" creationId="{0BC1C836-856F-0DB2-0882-2284983C3AB3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43" creationId="{197CA29A-B610-85DF-0C65-6DB6EFE1E3DC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44" creationId="{15AFCE02-6E33-C69D-9868-A083954DFAEE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45" creationId="{4C1B2393-22A8-D3A8-B626-D31FB1A748A1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46" creationId="{6484AD48-AF6C-328D-A4C3-569EBD7812BB}"/>
          </ac:spMkLst>
        </pc:spChg>
        <pc:spChg chg="mod">
          <ac:chgData name="Chagwedera, Taona" userId="a2eb7365-7662-46ce-bee1-3106c891aa74" providerId="ADAL" clId="{07B1A4B5-8957-48D4-B926-E5B30A118811}" dt="2023-05-30T06:52:17.577" v="4901" actId="1076"/>
          <ac:spMkLst>
            <pc:docMk/>
            <pc:sldMk cId="2158287069" sldId="2147379426"/>
            <ac:spMk id="47" creationId="{8E3A8273-C66F-0404-9A59-0E4F954B0E80}"/>
          </ac:spMkLst>
        </pc:spChg>
        <pc:spChg chg="add del mod modVis">
          <ac:chgData name="Chagwedera, Taona" userId="a2eb7365-7662-46ce-bee1-3106c891aa74" providerId="ADAL" clId="{07B1A4B5-8957-48D4-B926-E5B30A118811}" dt="2023-05-30T06:52:42.022" v="4935"/>
          <ac:spMkLst>
            <pc:docMk/>
            <pc:sldMk cId="2158287069" sldId="2147379426"/>
            <ac:spMk id="48" creationId="{A650BDA7-584F-2178-D12F-C74662D0DB9D}"/>
          </ac:spMkLst>
        </pc:spChg>
        <pc:spChg chg="add del mod modVis">
          <ac:chgData name="Chagwedera, Taona" userId="a2eb7365-7662-46ce-bee1-3106c891aa74" providerId="ADAL" clId="{07B1A4B5-8957-48D4-B926-E5B30A118811}" dt="2023-05-30T13:47:45.905" v="6317"/>
          <ac:spMkLst>
            <pc:docMk/>
            <pc:sldMk cId="2158287069" sldId="2147379426"/>
            <ac:spMk id="54" creationId="{0B841CFA-ABD1-6244-A9CC-AED57D3936D8}"/>
          </ac:spMkLst>
        </pc:spChg>
        <pc:spChg chg="add del mod modVis">
          <ac:chgData name="Chagwedera, Taona" userId="a2eb7365-7662-46ce-bee1-3106c891aa74" providerId="ADAL" clId="{07B1A4B5-8957-48D4-B926-E5B30A118811}" dt="2023-05-30T13:59:19.582" v="7181"/>
          <ac:spMkLst>
            <pc:docMk/>
            <pc:sldMk cId="2158287069" sldId="2147379426"/>
            <ac:spMk id="56" creationId="{D9F36D84-B07D-CC27-B9A0-87701FA8A63C}"/>
          </ac:spMkLst>
        </pc:spChg>
        <pc:spChg chg="add del mod modVis">
          <ac:chgData name="Chagwedera, Taona" userId="a2eb7365-7662-46ce-bee1-3106c891aa74" providerId="ADAL" clId="{07B1A4B5-8957-48D4-B926-E5B30A118811}" dt="2023-05-30T13:59:33.050" v="7387"/>
          <ac:spMkLst>
            <pc:docMk/>
            <pc:sldMk cId="2158287069" sldId="2147379426"/>
            <ac:spMk id="61" creationId="{DE0E3F50-2230-B587-562E-21AE9E187F80}"/>
          </ac:spMkLst>
        </pc:spChg>
        <pc:spChg chg="mod ord">
          <ac:chgData name="Chagwedera, Taona" userId="a2eb7365-7662-46ce-bee1-3106c891aa74" providerId="ADAL" clId="{07B1A4B5-8957-48D4-B926-E5B30A118811}" dt="2023-05-30T14:56:16.331" v="9473"/>
          <ac:spMkLst>
            <pc:docMk/>
            <pc:sldMk cId="2158287069" sldId="2147379426"/>
            <ac:spMk id="647" creationId="{524A67F4-EA6A-B361-18E0-0398EEDF9754}"/>
          </ac:spMkLst>
        </pc:spChg>
        <pc:spChg chg="mod">
          <ac:chgData name="Chagwedera, Taona" userId="a2eb7365-7662-46ce-bee1-3106c891aa74" providerId="ADAL" clId="{07B1A4B5-8957-48D4-B926-E5B30A118811}" dt="2023-05-30T14:56:16.337" v="9477"/>
          <ac:spMkLst>
            <pc:docMk/>
            <pc:sldMk cId="2158287069" sldId="2147379426"/>
            <ac:spMk id="831" creationId="{AF67DAD8-03A2-C9E4-D0B2-692079752C08}"/>
          </ac:spMkLst>
        </pc:spChg>
        <pc:spChg chg="mod">
          <ac:chgData name="Chagwedera, Taona" userId="a2eb7365-7662-46ce-bee1-3106c891aa74" providerId="ADAL" clId="{07B1A4B5-8957-48D4-B926-E5B30A118811}" dt="2023-05-30T14:56:16.338" v="9478"/>
          <ac:spMkLst>
            <pc:docMk/>
            <pc:sldMk cId="2158287069" sldId="2147379426"/>
            <ac:spMk id="832" creationId="{5D3E5768-E2F5-3520-4099-71BE216EAAEE}"/>
          </ac:spMkLst>
        </pc:spChg>
        <pc:spChg chg="mod">
          <ac:chgData name="Chagwedera, Taona" userId="a2eb7365-7662-46ce-bee1-3106c891aa74" providerId="ADAL" clId="{07B1A4B5-8957-48D4-B926-E5B30A118811}" dt="2023-05-30T14:56:16.339" v="9479"/>
          <ac:spMkLst>
            <pc:docMk/>
            <pc:sldMk cId="2158287069" sldId="2147379426"/>
            <ac:spMk id="833" creationId="{655B83E0-D1D1-CCD4-8CA1-2CB84B7A5668}"/>
          </ac:spMkLst>
        </pc:spChg>
        <pc:spChg chg="mod">
          <ac:chgData name="Chagwedera, Taona" userId="a2eb7365-7662-46ce-bee1-3106c891aa74" providerId="ADAL" clId="{07B1A4B5-8957-48D4-B926-E5B30A118811}" dt="2023-05-30T14:56:16.340" v="9480"/>
          <ac:spMkLst>
            <pc:docMk/>
            <pc:sldMk cId="2158287069" sldId="2147379426"/>
            <ac:spMk id="834" creationId="{6A9338FD-B894-CA41-8592-A048EA7EF3FC}"/>
          </ac:spMkLst>
        </pc:spChg>
        <pc:spChg chg="mod">
          <ac:chgData name="Chagwedera, Taona" userId="a2eb7365-7662-46ce-bee1-3106c891aa74" providerId="ADAL" clId="{07B1A4B5-8957-48D4-B926-E5B30A118811}" dt="2023-05-30T14:56:16.342" v="9481"/>
          <ac:spMkLst>
            <pc:docMk/>
            <pc:sldMk cId="2158287069" sldId="2147379426"/>
            <ac:spMk id="835" creationId="{5B0E84D1-5DDD-718D-6F78-11FCC87D59A7}"/>
          </ac:spMkLst>
        </pc:spChg>
        <pc:spChg chg="mod">
          <ac:chgData name="Chagwedera, Taona" userId="a2eb7365-7662-46ce-bee1-3106c891aa74" providerId="ADAL" clId="{07B1A4B5-8957-48D4-B926-E5B30A118811}" dt="2023-05-30T14:56:16.344" v="9482"/>
          <ac:spMkLst>
            <pc:docMk/>
            <pc:sldMk cId="2158287069" sldId="2147379426"/>
            <ac:spMk id="836" creationId="{91162CE8-5D23-0209-E5E5-7086BEB70975}"/>
          </ac:spMkLst>
        </pc:spChg>
        <pc:spChg chg="mod">
          <ac:chgData name="Chagwedera, Taona" userId="a2eb7365-7662-46ce-bee1-3106c891aa74" providerId="ADAL" clId="{07B1A4B5-8957-48D4-B926-E5B30A118811}" dt="2023-05-30T14:56:16.345" v="9483"/>
          <ac:spMkLst>
            <pc:docMk/>
            <pc:sldMk cId="2158287069" sldId="2147379426"/>
            <ac:spMk id="837" creationId="{FCFC7220-8B6C-38D1-DAF2-56E00E8D06F1}"/>
          </ac:spMkLst>
        </pc:spChg>
        <pc:spChg chg="mod">
          <ac:chgData name="Chagwedera, Taona" userId="a2eb7365-7662-46ce-bee1-3106c891aa74" providerId="ADAL" clId="{07B1A4B5-8957-48D4-B926-E5B30A118811}" dt="2023-05-30T14:56:16.348" v="9484"/>
          <ac:spMkLst>
            <pc:docMk/>
            <pc:sldMk cId="2158287069" sldId="2147379426"/>
            <ac:spMk id="838" creationId="{06F14F06-245F-142E-C53F-C2F9B60215F8}"/>
          </ac:spMkLst>
        </pc:spChg>
        <pc:spChg chg="mod">
          <ac:chgData name="Chagwedera, Taona" userId="a2eb7365-7662-46ce-bee1-3106c891aa74" providerId="ADAL" clId="{07B1A4B5-8957-48D4-B926-E5B30A118811}" dt="2023-05-30T14:56:16.349" v="9485"/>
          <ac:spMkLst>
            <pc:docMk/>
            <pc:sldMk cId="2158287069" sldId="2147379426"/>
            <ac:spMk id="839" creationId="{210D5AA3-545D-C2F6-13F4-2B8E52967A7C}"/>
          </ac:spMkLst>
        </pc:spChg>
        <pc:spChg chg="mod">
          <ac:chgData name="Chagwedera, Taona" userId="a2eb7365-7662-46ce-bee1-3106c891aa74" providerId="ADAL" clId="{07B1A4B5-8957-48D4-B926-E5B30A118811}" dt="2023-05-30T14:56:16.350" v="9486"/>
          <ac:spMkLst>
            <pc:docMk/>
            <pc:sldMk cId="2158287069" sldId="2147379426"/>
            <ac:spMk id="840" creationId="{EF279803-85EF-B43D-372C-6A10BCBDEA1A}"/>
          </ac:spMkLst>
        </pc:spChg>
        <pc:spChg chg="mod">
          <ac:chgData name="Chagwedera, Taona" userId="a2eb7365-7662-46ce-bee1-3106c891aa74" providerId="ADAL" clId="{07B1A4B5-8957-48D4-B926-E5B30A118811}" dt="2023-05-30T14:56:16.351" v="9487"/>
          <ac:spMkLst>
            <pc:docMk/>
            <pc:sldMk cId="2158287069" sldId="2147379426"/>
            <ac:spMk id="841" creationId="{73823493-BA19-4C00-932C-EFF698CFAF79}"/>
          </ac:spMkLst>
        </pc:spChg>
        <pc:spChg chg="del mod">
          <ac:chgData name="Chagwedera, Taona" userId="a2eb7365-7662-46ce-bee1-3106c891aa74" providerId="ADAL" clId="{07B1A4B5-8957-48D4-B926-E5B30A118811}" dt="2023-05-30T06:50:30.092" v="4019"/>
          <ac:spMkLst>
            <pc:docMk/>
            <pc:sldMk cId="2158287069" sldId="2147379426"/>
            <ac:spMk id="842" creationId="{77D2C73E-8988-D1EC-5946-AB28AE93367D}"/>
          </ac:spMkLst>
        </pc:spChg>
        <pc:spChg chg="del mod">
          <ac:chgData name="Chagwedera, Taona" userId="a2eb7365-7662-46ce-bee1-3106c891aa74" providerId="ADAL" clId="{07B1A4B5-8957-48D4-B926-E5B30A118811}" dt="2023-05-30T06:50:30.093" v="4021"/>
          <ac:spMkLst>
            <pc:docMk/>
            <pc:sldMk cId="2158287069" sldId="2147379426"/>
            <ac:spMk id="843" creationId="{0D2D5E86-50AD-DD66-AA28-F159FB32D941}"/>
          </ac:spMkLst>
        </pc:spChg>
        <pc:spChg chg="mod">
          <ac:chgData name="Chagwedera, Taona" userId="a2eb7365-7662-46ce-bee1-3106c891aa74" providerId="ADAL" clId="{07B1A4B5-8957-48D4-B926-E5B30A118811}" dt="2023-05-30T14:56:16.353" v="9488"/>
          <ac:spMkLst>
            <pc:docMk/>
            <pc:sldMk cId="2158287069" sldId="2147379426"/>
            <ac:spMk id="847" creationId="{D6DE53A0-D4F8-0CCE-7566-862DA354FDFE}"/>
          </ac:spMkLst>
        </pc:spChg>
        <pc:spChg chg="mod">
          <ac:chgData name="Chagwedera, Taona" userId="a2eb7365-7662-46ce-bee1-3106c891aa74" providerId="ADAL" clId="{07B1A4B5-8957-48D4-B926-E5B30A118811}" dt="2023-05-30T14:56:16.355" v="9489"/>
          <ac:spMkLst>
            <pc:docMk/>
            <pc:sldMk cId="2158287069" sldId="2147379426"/>
            <ac:spMk id="848" creationId="{430205D3-3FD3-858B-E6DA-F19A662F6444}"/>
          </ac:spMkLst>
        </pc:spChg>
        <pc:spChg chg="mod">
          <ac:chgData name="Chagwedera, Taona" userId="a2eb7365-7662-46ce-bee1-3106c891aa74" providerId="ADAL" clId="{07B1A4B5-8957-48D4-B926-E5B30A118811}" dt="2023-05-30T14:56:16.356" v="9490"/>
          <ac:spMkLst>
            <pc:docMk/>
            <pc:sldMk cId="2158287069" sldId="2147379426"/>
            <ac:spMk id="849" creationId="{89877D96-9521-D68D-9627-044F9B17BF28}"/>
          </ac:spMkLst>
        </pc:spChg>
        <pc:spChg chg="mod">
          <ac:chgData name="Chagwedera, Taona" userId="a2eb7365-7662-46ce-bee1-3106c891aa74" providerId="ADAL" clId="{07B1A4B5-8957-48D4-B926-E5B30A118811}" dt="2023-05-30T14:56:16.357" v="9491"/>
          <ac:spMkLst>
            <pc:docMk/>
            <pc:sldMk cId="2158287069" sldId="2147379426"/>
            <ac:spMk id="850" creationId="{64A44A70-2D0C-80ED-CA00-BC83524D7503}"/>
          </ac:spMkLst>
        </pc:spChg>
        <pc:spChg chg="mod">
          <ac:chgData name="Chagwedera, Taona" userId="a2eb7365-7662-46ce-bee1-3106c891aa74" providerId="ADAL" clId="{07B1A4B5-8957-48D4-B926-E5B30A118811}" dt="2023-05-30T14:56:16.358" v="9492"/>
          <ac:spMkLst>
            <pc:docMk/>
            <pc:sldMk cId="2158287069" sldId="2147379426"/>
            <ac:spMk id="851" creationId="{DFBA50C7-6971-6932-9348-5F7DD6F15CAD}"/>
          </ac:spMkLst>
        </pc:spChg>
        <pc:spChg chg="mod">
          <ac:chgData name="Chagwedera, Taona" userId="a2eb7365-7662-46ce-bee1-3106c891aa74" providerId="ADAL" clId="{07B1A4B5-8957-48D4-B926-E5B30A118811}" dt="2023-05-30T14:56:16.359" v="9493"/>
          <ac:spMkLst>
            <pc:docMk/>
            <pc:sldMk cId="2158287069" sldId="2147379426"/>
            <ac:spMk id="852" creationId="{2C1EE2F5-0CE8-1236-C3C7-B9A2E418389C}"/>
          </ac:spMkLst>
        </pc:spChg>
        <pc:spChg chg="mod">
          <ac:chgData name="Chagwedera, Taona" userId="a2eb7365-7662-46ce-bee1-3106c891aa74" providerId="ADAL" clId="{07B1A4B5-8957-48D4-B926-E5B30A118811}" dt="2023-05-30T14:56:16.360" v="9494"/>
          <ac:spMkLst>
            <pc:docMk/>
            <pc:sldMk cId="2158287069" sldId="2147379426"/>
            <ac:spMk id="853" creationId="{92C8E095-3472-3667-417A-C1711271D0F6}"/>
          </ac:spMkLst>
        </pc:spChg>
        <pc:spChg chg="mod">
          <ac:chgData name="Chagwedera, Taona" userId="a2eb7365-7662-46ce-bee1-3106c891aa74" providerId="ADAL" clId="{07B1A4B5-8957-48D4-B926-E5B30A118811}" dt="2023-05-30T14:56:16.361" v="9495"/>
          <ac:spMkLst>
            <pc:docMk/>
            <pc:sldMk cId="2158287069" sldId="2147379426"/>
            <ac:spMk id="854" creationId="{0ADE0A34-2F2B-C343-6364-36F6C2922894}"/>
          </ac:spMkLst>
        </pc:spChg>
        <pc:spChg chg="mod">
          <ac:chgData name="Chagwedera, Taona" userId="a2eb7365-7662-46ce-bee1-3106c891aa74" providerId="ADAL" clId="{07B1A4B5-8957-48D4-B926-E5B30A118811}" dt="2023-05-30T14:56:16.362" v="9496"/>
          <ac:spMkLst>
            <pc:docMk/>
            <pc:sldMk cId="2158287069" sldId="2147379426"/>
            <ac:spMk id="855" creationId="{4E2D0432-D849-D5C2-7536-B5D23FD13D43}"/>
          </ac:spMkLst>
        </pc:spChg>
        <pc:spChg chg="mod">
          <ac:chgData name="Chagwedera, Taona" userId="a2eb7365-7662-46ce-bee1-3106c891aa74" providerId="ADAL" clId="{07B1A4B5-8957-48D4-B926-E5B30A118811}" dt="2023-05-30T14:56:16.363" v="9497"/>
          <ac:spMkLst>
            <pc:docMk/>
            <pc:sldMk cId="2158287069" sldId="2147379426"/>
            <ac:spMk id="856" creationId="{341D076D-BBC3-CF13-6276-5E15DE21E155}"/>
          </ac:spMkLst>
        </pc:spChg>
        <pc:spChg chg="mod">
          <ac:chgData name="Chagwedera, Taona" userId="a2eb7365-7662-46ce-bee1-3106c891aa74" providerId="ADAL" clId="{07B1A4B5-8957-48D4-B926-E5B30A118811}" dt="2023-05-30T14:56:16.364" v="9498"/>
          <ac:spMkLst>
            <pc:docMk/>
            <pc:sldMk cId="2158287069" sldId="2147379426"/>
            <ac:spMk id="857" creationId="{7027CD3E-C53F-731D-906E-E11ACD6A582E}"/>
          </ac:spMkLst>
        </pc:spChg>
        <pc:spChg chg="del mod">
          <ac:chgData name="Chagwedera, Taona" userId="a2eb7365-7662-46ce-bee1-3106c891aa74" providerId="ADAL" clId="{07B1A4B5-8957-48D4-B926-E5B30A118811}" dt="2023-05-30T06:50:30.091" v="4018"/>
          <ac:spMkLst>
            <pc:docMk/>
            <pc:sldMk cId="2158287069" sldId="2147379426"/>
            <ac:spMk id="858" creationId="{F8FD857C-ECFC-376B-F79E-2836C53953E2}"/>
          </ac:spMkLst>
        </pc:spChg>
        <pc:spChg chg="del mod">
          <ac:chgData name="Chagwedera, Taona" userId="a2eb7365-7662-46ce-bee1-3106c891aa74" providerId="ADAL" clId="{07B1A4B5-8957-48D4-B926-E5B30A118811}" dt="2023-05-30T06:50:30.093" v="4020"/>
          <ac:spMkLst>
            <pc:docMk/>
            <pc:sldMk cId="2158287069" sldId="2147379426"/>
            <ac:spMk id="859" creationId="{27AFF488-366C-E916-73A3-C9E152EA6001}"/>
          </ac:spMkLst>
        </pc:spChg>
        <pc:spChg chg="mod">
          <ac:chgData name="Chagwedera, Taona" userId="a2eb7365-7662-46ce-bee1-3106c891aa74" providerId="ADAL" clId="{07B1A4B5-8957-48D4-B926-E5B30A118811}" dt="2023-05-30T14:56:16.381" v="9517"/>
          <ac:spMkLst>
            <pc:docMk/>
            <pc:sldMk cId="2158287069" sldId="2147379426"/>
            <ac:spMk id="1028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6:16.382" v="9518"/>
          <ac:spMkLst>
            <pc:docMk/>
            <pc:sldMk cId="2158287069" sldId="2147379426"/>
            <ac:spMk id="1030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6:16.383" v="9519"/>
          <ac:spMkLst>
            <pc:docMk/>
            <pc:sldMk cId="2158287069" sldId="2147379426"/>
            <ac:spMk id="1031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6:16.385" v="9522"/>
          <ac:spMkLst>
            <pc:docMk/>
            <pc:sldMk cId="2158287069" sldId="2147379426"/>
            <ac:spMk id="1032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6:16.384" v="9520"/>
          <ac:spMkLst>
            <pc:docMk/>
            <pc:sldMk cId="2158287069" sldId="2147379426"/>
            <ac:spMk id="1033" creationId="{307A5E3A-0590-49EC-9D99-0A2B638DB325}"/>
          </ac:spMkLst>
        </pc:spChg>
        <pc:spChg chg="mod">
          <ac:chgData name="Chagwedera, Taona" userId="a2eb7365-7662-46ce-bee1-3106c891aa74" providerId="ADAL" clId="{07B1A4B5-8957-48D4-B926-E5B30A118811}" dt="2023-05-30T14:56:16.384" v="9521"/>
          <ac:spMkLst>
            <pc:docMk/>
            <pc:sldMk cId="2158287069" sldId="2147379426"/>
            <ac:spMk id="1034" creationId="{307A5E3A-0590-49EC-9D99-0A2B638DB325}"/>
          </ac:spMkLst>
        </pc:spChg>
        <pc:spChg chg="mod ord">
          <ac:chgData name="Chagwedera, Taona" userId="a2eb7365-7662-46ce-bee1-3106c891aa74" providerId="ADAL" clId="{07B1A4B5-8957-48D4-B926-E5B30A118811}" dt="2023-05-30T14:56:16.368" v="9502"/>
          <ac:spMkLst>
            <pc:docMk/>
            <pc:sldMk cId="2158287069" sldId="2147379426"/>
            <ac:spMk id="1036" creationId="{778815B1-3388-9480-F9AA-C28340B440CE}"/>
          </ac:spMkLst>
        </pc:spChg>
        <pc:spChg chg="mod ord">
          <ac:chgData name="Chagwedera, Taona" userId="a2eb7365-7662-46ce-bee1-3106c891aa74" providerId="ADAL" clId="{07B1A4B5-8957-48D4-B926-E5B30A118811}" dt="2023-05-30T14:56:16.369" v="9504"/>
          <ac:spMkLst>
            <pc:docMk/>
            <pc:sldMk cId="2158287069" sldId="2147379426"/>
            <ac:spMk id="1037" creationId="{ABF88812-8F70-B172-5CC2-C98523E4C2ED}"/>
          </ac:spMkLst>
        </pc:spChg>
        <pc:spChg chg="mod ord">
          <ac:chgData name="Chagwedera, Taona" userId="a2eb7365-7662-46ce-bee1-3106c891aa74" providerId="ADAL" clId="{07B1A4B5-8957-48D4-B926-E5B30A118811}" dt="2023-05-30T14:56:16.371" v="9506"/>
          <ac:spMkLst>
            <pc:docMk/>
            <pc:sldMk cId="2158287069" sldId="2147379426"/>
            <ac:spMk id="1038" creationId="{F5326C6D-86E7-7946-2390-D9F92E9D5360}"/>
          </ac:spMkLst>
        </pc:spChg>
        <pc:spChg chg="mod ord">
          <ac:chgData name="Chagwedera, Taona" userId="a2eb7365-7662-46ce-bee1-3106c891aa74" providerId="ADAL" clId="{07B1A4B5-8957-48D4-B926-E5B30A118811}" dt="2023-05-30T14:56:16.372" v="9508"/>
          <ac:spMkLst>
            <pc:docMk/>
            <pc:sldMk cId="2158287069" sldId="2147379426"/>
            <ac:spMk id="1039" creationId="{26A7E1A5-8EB2-9A26-986C-3EFC8469B726}"/>
          </ac:spMkLst>
        </pc:spChg>
        <pc:spChg chg="mod ord">
          <ac:chgData name="Chagwedera, Taona" userId="a2eb7365-7662-46ce-bee1-3106c891aa74" providerId="ADAL" clId="{07B1A4B5-8957-48D4-B926-E5B30A118811}" dt="2023-05-30T14:56:16.374" v="9510"/>
          <ac:spMkLst>
            <pc:docMk/>
            <pc:sldMk cId="2158287069" sldId="2147379426"/>
            <ac:spMk id="1040" creationId="{A22A63DD-B2C9-9094-C5AE-4E3489332793}"/>
          </ac:spMkLst>
        </pc:spChg>
        <pc:spChg chg="mod ord">
          <ac:chgData name="Chagwedera, Taona" userId="a2eb7365-7662-46ce-bee1-3106c891aa74" providerId="ADAL" clId="{07B1A4B5-8957-48D4-B926-E5B30A118811}" dt="2023-05-30T14:56:16.376" v="9512"/>
          <ac:spMkLst>
            <pc:docMk/>
            <pc:sldMk cId="2158287069" sldId="2147379426"/>
            <ac:spMk id="1041" creationId="{42ADC23E-7EF2-7C16-E247-868B293E88EB}"/>
          </ac:spMkLst>
        </pc:spChg>
        <pc:spChg chg="mod ord">
          <ac:chgData name="Chagwedera, Taona" userId="a2eb7365-7662-46ce-bee1-3106c891aa74" providerId="ADAL" clId="{07B1A4B5-8957-48D4-B926-E5B30A118811}" dt="2023-05-30T14:56:16.366" v="9500"/>
          <ac:spMkLst>
            <pc:docMk/>
            <pc:sldMk cId="2158287069" sldId="2147379426"/>
            <ac:spMk id="1075" creationId="{307A5E3A-0590-49EC-9D99-0A2B638DB325}"/>
          </ac:spMkLst>
        </pc:spChg>
        <pc:grpChg chg="del mod">
          <ac:chgData name="Chagwedera, Taona" userId="a2eb7365-7662-46ce-bee1-3106c891aa74" providerId="ADAL" clId="{07B1A4B5-8957-48D4-B926-E5B30A118811}" dt="2023-05-30T06:52:06.847" v="4899" actId="478"/>
          <ac:grpSpMkLst>
            <pc:docMk/>
            <pc:sldMk cId="2158287069" sldId="2147379426"/>
            <ac:grpSpMk id="2" creationId="{83E167FC-6B61-6307-E322-71352E4402A7}"/>
          </ac:grpSpMkLst>
        </pc:grpChg>
        <pc:grpChg chg="add mod">
          <ac:chgData name="Chagwedera, Taona" userId="a2eb7365-7662-46ce-bee1-3106c891aa74" providerId="ADAL" clId="{07B1A4B5-8957-48D4-B926-E5B30A118811}" dt="2023-05-30T14:56:16.392" v="9531"/>
          <ac:grpSpMkLst>
            <pc:docMk/>
            <pc:sldMk cId="2158287069" sldId="2147379426"/>
            <ac:grpSpMk id="35" creationId="{7A803BC4-E12C-C9F9-9A57-4F3E95B24B7B}"/>
          </ac:grpSpMkLst>
        </pc:grpChg>
        <pc:graphicFrameChg chg="mod">
          <ac:chgData name="Chagwedera, Taona" userId="a2eb7365-7662-46ce-bee1-3106c891aa74" providerId="ADAL" clId="{07B1A4B5-8957-48D4-B926-E5B30A118811}" dt="2023-05-30T14:56:16.412" v="9535"/>
          <ac:graphicFrameMkLst>
            <pc:docMk/>
            <pc:sldMk cId="2158287069" sldId="2147379426"/>
            <ac:graphicFrameMk id="4" creationId="{34308163-D23F-76BD-0D22-083B97814CD6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0:18.290" v="3452"/>
          <ac:graphicFrameMkLst>
            <pc:docMk/>
            <pc:sldMk cId="2158287069" sldId="2147379426"/>
            <ac:graphicFrameMk id="14" creationId="{521B1496-3689-6527-79E0-082CD143399D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0:22.945" v="3659"/>
          <ac:graphicFrameMkLst>
            <pc:docMk/>
            <pc:sldMk cId="2158287069" sldId="2147379426"/>
            <ac:graphicFrameMk id="17" creationId="{F4643EAC-24DD-E7B3-1314-A8E91D889D5B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0:25.108" v="3810"/>
          <ac:graphicFrameMkLst>
            <pc:docMk/>
            <pc:sldMk cId="2158287069" sldId="2147379426"/>
            <ac:graphicFrameMk id="19" creationId="{649C23A8-3EFA-1BBC-0DEF-9F9D67820A94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0:27.596" v="3947"/>
          <ac:graphicFrameMkLst>
            <pc:docMk/>
            <pc:sldMk cId="2158287069" sldId="2147379426"/>
            <ac:graphicFrameMk id="21" creationId="{90DA98C5-E2B6-9AA1-12D9-86372F0EA76A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0:30.211" v="4128"/>
          <ac:graphicFrameMkLst>
            <pc:docMk/>
            <pc:sldMk cId="2158287069" sldId="2147379426"/>
            <ac:graphicFrameMk id="23" creationId="{833F39FB-0C93-DC65-C90D-164467040C98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0:51.351" v="4315"/>
          <ac:graphicFrameMkLst>
            <pc:docMk/>
            <pc:sldMk cId="2158287069" sldId="2147379426"/>
            <ac:graphicFrameMk id="25" creationId="{7C32A903-E414-7F48-AF9E-972E134353CF}"/>
          </ac:graphicFrameMkLst>
        </pc:graphicFrameChg>
        <pc:graphicFrameChg chg="del">
          <ac:chgData name="Chagwedera, Taona" userId="a2eb7365-7662-46ce-bee1-3106c891aa74" providerId="ADAL" clId="{07B1A4B5-8957-48D4-B926-E5B30A118811}" dt="2023-05-30T06:50:15.785" v="3315"/>
          <ac:graphicFrameMkLst>
            <pc:docMk/>
            <pc:sldMk cId="2158287069" sldId="2147379426"/>
            <ac:graphicFrameMk id="26" creationId="{B751FDAE-92D4-663D-9220-FE8377D92038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1:55.471" v="4742"/>
          <ac:graphicFrameMkLst>
            <pc:docMk/>
            <pc:sldMk cId="2158287069" sldId="2147379426"/>
            <ac:graphicFrameMk id="28" creationId="{682CE665-D1B6-9DB0-588C-F92AEBABBD7B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3:50.900" v="5055"/>
          <ac:graphicFrameMkLst>
            <pc:docMk/>
            <pc:sldMk cId="2158287069" sldId="2147379426"/>
            <ac:graphicFrameMk id="32" creationId="{1FBFBD9C-EBD3-C8AE-AD86-EAED4DF47E62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3:53.852" v="5242"/>
          <ac:graphicFrameMkLst>
            <pc:docMk/>
            <pc:sldMk cId="2158287069" sldId="2147379426"/>
            <ac:graphicFrameMk id="49" creationId="{E75DD9FF-C4B8-FEA7-6F0A-E650D548F989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4:03.186" v="5429"/>
          <ac:graphicFrameMkLst>
            <pc:docMk/>
            <pc:sldMk cId="2158287069" sldId="2147379426"/>
            <ac:graphicFrameMk id="50" creationId="{73414EB4-54D6-69E7-A6CE-8EC7739E4499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06:54:05.682" v="5616"/>
          <ac:graphicFrameMkLst>
            <pc:docMk/>
            <pc:sldMk cId="2158287069" sldId="2147379426"/>
            <ac:graphicFrameMk id="51" creationId="{FFAC82E3-18A5-EFB4-F4A2-549FE754678A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13:59:19.582" v="7181"/>
          <ac:graphicFrameMkLst>
            <pc:docMk/>
            <pc:sldMk cId="2158287069" sldId="2147379426"/>
            <ac:graphicFrameMk id="52" creationId="{9E978496-7A2C-EDC2-9C20-351F7D1EB03B}"/>
          </ac:graphicFrameMkLst>
        </pc:graphicFrameChg>
        <pc:graphicFrameChg chg="add mod replST delST">
          <ac:chgData name="Chagwedera, Taona" userId="a2eb7365-7662-46ce-bee1-3106c891aa74" providerId="ADAL" clId="{07B1A4B5-8957-48D4-B926-E5B30A118811}" dt="2023-05-30T13:46:32.748" v="5990"/>
          <ac:graphicFrameMkLst>
            <pc:docMk/>
            <pc:sldMk cId="2158287069" sldId="2147379426"/>
            <ac:graphicFrameMk id="53" creationId="{0DF2FC80-B373-EB76-ED67-A939DBCAC2DD}"/>
          </ac:graphicFrameMkLst>
        </pc:graphicFrameChg>
        <pc:graphicFrameChg chg="add mod replST delST">
          <ac:chgData name="Chagwedera, Taona" userId="a2eb7365-7662-46ce-bee1-3106c891aa74" providerId="ADAL" clId="{07B1A4B5-8957-48D4-B926-E5B30A118811}" dt="2023-05-30T13:47:45.905" v="6317"/>
          <ac:graphicFrameMkLst>
            <pc:docMk/>
            <pc:sldMk cId="2158287069" sldId="2147379426"/>
            <ac:graphicFrameMk id="55" creationId="{6B648FCD-9EF6-FAA4-9E3A-6ACE29E6D508}"/>
          </ac:graphicFrameMkLst>
        </pc:graphicFrameChg>
        <pc:graphicFrameChg chg="add del mod replST delST">
          <ac:chgData name="Chagwedera, Taona" userId="a2eb7365-7662-46ce-bee1-3106c891aa74" providerId="ADAL" clId="{07B1A4B5-8957-48D4-B926-E5B30A118811}" dt="2023-05-30T13:59:32.938" v="7315"/>
          <ac:graphicFrameMkLst>
            <pc:docMk/>
            <pc:sldMk cId="2158287069" sldId="2147379426"/>
            <ac:graphicFrameMk id="57" creationId="{A9B5EFB2-B4B9-CC1D-D510-8156624BF569}"/>
          </ac:graphicFrameMkLst>
        </pc:graphicFrameChg>
        <pc:graphicFrameChg chg="add del mod replST delST">
          <ac:chgData name="Chagwedera, Taona" userId="a2eb7365-7662-46ce-bee1-3106c891aa74" providerId="ADAL" clId="{07B1A4B5-8957-48D4-B926-E5B30A118811}" dt="2023-05-30T13:59:16.717" v="6929"/>
          <ac:graphicFrameMkLst>
            <pc:docMk/>
            <pc:sldMk cId="2158287069" sldId="2147379426"/>
            <ac:graphicFrameMk id="58" creationId="{11909B5A-CDB4-466D-F26F-11533E24C5EA}"/>
          </ac:graphicFrameMkLst>
        </pc:graphicFrameChg>
        <pc:graphicFrameChg chg="add del mod replST delST">
          <ac:chgData name="Chagwedera, Taona" userId="a2eb7365-7662-46ce-bee1-3106c891aa74" providerId="ADAL" clId="{07B1A4B5-8957-48D4-B926-E5B30A118811}" dt="2023-05-30T13:59:14.759" v="6902"/>
          <ac:graphicFrameMkLst>
            <pc:docMk/>
            <pc:sldMk cId="2158287069" sldId="2147379426"/>
            <ac:graphicFrameMk id="59" creationId="{FE15A590-9519-3EEE-2720-B5BDF10260DB}"/>
          </ac:graphicFrameMkLst>
        </pc:graphicFrameChg>
        <pc:graphicFrameChg chg="add mod replST delST">
          <ac:chgData name="Chagwedera, Taona" userId="a2eb7365-7662-46ce-bee1-3106c891aa74" providerId="ADAL" clId="{07B1A4B5-8957-48D4-B926-E5B30A118811}" dt="2023-05-30T13:59:14.261" v="6875"/>
          <ac:graphicFrameMkLst>
            <pc:docMk/>
            <pc:sldMk cId="2158287069" sldId="2147379426"/>
            <ac:graphicFrameMk id="60" creationId="{479117F4-9156-17E9-F3E9-750FA371ABCD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14:55:29.078" v="9145"/>
          <ac:graphicFrameMkLst>
            <pc:docMk/>
            <pc:sldMk cId="2158287069" sldId="2147379426"/>
            <ac:graphicFrameMk id="62" creationId="{03E52366-9445-4580-207B-82859C7D4769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14:55:45.159" v="9251"/>
          <ac:graphicFrameMkLst>
            <pc:docMk/>
            <pc:sldMk cId="2158287069" sldId="2147379426"/>
            <ac:graphicFrameMk id="63" creationId="{40B6F2B1-A852-9DFA-4891-ED56F626A4A6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14:55:57.420" v="9357"/>
          <ac:graphicFrameMkLst>
            <pc:docMk/>
            <pc:sldMk cId="2158287069" sldId="2147379426"/>
            <ac:graphicFrameMk id="1024" creationId="{09373FFE-187C-F9DD-74FA-64D0D6886F76}"/>
          </ac:graphicFrameMkLst>
        </pc:graphicFrameChg>
        <pc:graphicFrameChg chg="add del mod replST">
          <ac:chgData name="Chagwedera, Taona" userId="a2eb7365-7662-46ce-bee1-3106c891aa74" providerId="ADAL" clId="{07B1A4B5-8957-48D4-B926-E5B30A118811}" dt="2023-05-30T14:56:16.271" v="9463"/>
          <ac:graphicFrameMkLst>
            <pc:docMk/>
            <pc:sldMk cId="2158287069" sldId="2147379426"/>
            <ac:graphicFrameMk id="1025" creationId="{12F0AF66-FABD-B791-586C-DFDFB5B51668}"/>
          </ac:graphicFrameMkLst>
        </pc:graphicFrameChg>
        <pc:graphicFrameChg chg="add mod replST">
          <ac:chgData name="Chagwedera, Taona" userId="a2eb7365-7662-46ce-bee1-3106c891aa74" providerId="ADAL" clId="{07B1A4B5-8957-48D4-B926-E5B30A118811}" dt="2023-05-30T14:56:16.332" v="9474"/>
          <ac:graphicFrameMkLst>
            <pc:docMk/>
            <pc:sldMk cId="2158287069" sldId="2147379426"/>
            <ac:graphicFrameMk id="1026" creationId="{C919568A-848A-115A-D4A8-12D94E9AF593}"/>
          </ac:graphicFrameMkLst>
        </pc:graphicFrameChg>
        <pc:cxnChg chg="mod ord">
          <ac:chgData name="Chagwedera, Taona" userId="a2eb7365-7662-46ce-bee1-3106c891aa74" providerId="ADAL" clId="{07B1A4B5-8957-48D4-B926-E5B30A118811}" dt="2023-05-30T14:56:16.335" v="9476"/>
          <ac:cxnSpMkLst>
            <pc:docMk/>
            <pc:sldMk cId="2158287069" sldId="2147379426"/>
            <ac:cxnSpMk id="1077" creationId="{6CF429B7-40AA-0140-1CB5-69C3AC5BEB49}"/>
          </ac:cxnSpMkLst>
        </pc:cxnChg>
      </pc:sldChg>
      <pc:sldChg chg="add del mod modTransition modShow">
        <pc:chgData name="Chagwedera, Taona" userId="a2eb7365-7662-46ce-bee1-3106c891aa74" providerId="ADAL" clId="{07B1A4B5-8957-48D4-B926-E5B30A118811}" dt="2023-05-30T14:43:05.907" v="8412" actId="47"/>
        <pc:sldMkLst>
          <pc:docMk/>
          <pc:sldMk cId="2243877907" sldId="2147379427"/>
        </pc:sldMkLst>
      </pc:sldChg>
      <pc:sldChg chg="add del mod modTransition modShow">
        <pc:chgData name="Chagwedera, Taona" userId="a2eb7365-7662-46ce-bee1-3106c891aa74" providerId="ADAL" clId="{07B1A4B5-8957-48D4-B926-E5B30A118811}" dt="2023-05-30T14:47:33.442" v="8438" actId="47"/>
        <pc:sldMkLst>
          <pc:docMk/>
          <pc:sldMk cId="2879082663" sldId="2147379427"/>
        </pc:sldMkLst>
      </pc:sldChg>
    </pc:docChg>
  </pc:docChgLst>
  <pc:docChgLst>
    <pc:chgData name="Sekgota, Khutso" userId="S::khutso.sekgota@hatch.com::a0375046-58ca-4a89-bd34-1f5efbd05e4f" providerId="AD" clId="Web-{F917286A-C7A5-9383-80B2-0B523A1E3638}"/>
    <pc:docChg chg="mod modSld">
      <pc:chgData name="Sekgota, Khutso" userId="S::khutso.sekgota@hatch.com::a0375046-58ca-4a89-bd34-1f5efbd05e4f" providerId="AD" clId="Web-{F917286A-C7A5-9383-80B2-0B523A1E3638}" dt="2023-05-29T11:07:06.515" v="61" actId="20577"/>
      <pc:docMkLst>
        <pc:docMk/>
      </pc:docMkLst>
      <pc:sldChg chg="modSp">
        <pc:chgData name="Sekgota, Khutso" userId="S::khutso.sekgota@hatch.com::a0375046-58ca-4a89-bd34-1f5efbd05e4f" providerId="AD" clId="Web-{F917286A-C7A5-9383-80B2-0B523A1E3638}" dt="2023-05-29T11:07:06.515" v="61" actId="20577"/>
        <pc:sldMkLst>
          <pc:docMk/>
          <pc:sldMk cId="4244229517" sldId="2062411715"/>
        </pc:sldMkLst>
        <pc:spChg chg="mod">
          <ac:chgData name="Sekgota, Khutso" userId="S::khutso.sekgota@hatch.com::a0375046-58ca-4a89-bd34-1f5efbd05e4f" providerId="AD" clId="Web-{F917286A-C7A5-9383-80B2-0B523A1E3638}" dt="2023-05-29T11:07:06.515" v="61" actId="20577"/>
          <ac:spMkLst>
            <pc:docMk/>
            <pc:sldMk cId="4244229517" sldId="2062411715"/>
            <ac:spMk id="11" creationId="{E347B7D0-886E-9624-EC5A-DCA379952BB6}"/>
          </ac:spMkLst>
        </pc:spChg>
      </pc:sldChg>
      <pc:sldChg chg="modSp">
        <pc:chgData name="Sekgota, Khutso" userId="S::khutso.sekgota@hatch.com::a0375046-58ca-4a89-bd34-1f5efbd05e4f" providerId="AD" clId="Web-{F917286A-C7A5-9383-80B2-0B523A1E3638}" dt="2023-05-29T10:55:32.465" v="60" actId="20577"/>
        <pc:sldMkLst>
          <pc:docMk/>
          <pc:sldMk cId="3531593510" sldId="2147379401"/>
        </pc:sldMkLst>
        <pc:spChg chg="mod">
          <ac:chgData name="Sekgota, Khutso" userId="S::khutso.sekgota@hatch.com::a0375046-58ca-4a89-bd34-1f5efbd05e4f" providerId="AD" clId="Web-{F917286A-C7A5-9383-80B2-0B523A1E3638}" dt="2023-05-29T10:55:03.745" v="58" actId="20577"/>
          <ac:spMkLst>
            <pc:docMk/>
            <pc:sldMk cId="3531593510" sldId="2147379401"/>
            <ac:spMk id="697" creationId="{06D6248E-D7C1-AFCB-F2DA-536A3608BC8B}"/>
          </ac:spMkLst>
        </pc:spChg>
        <pc:spChg chg="mod">
          <ac:chgData name="Sekgota, Khutso" userId="S::khutso.sekgota@hatch.com::a0375046-58ca-4a89-bd34-1f5efbd05e4f" providerId="AD" clId="Web-{F917286A-C7A5-9383-80B2-0B523A1E3638}" dt="2023-05-29T10:54:28.103" v="32" actId="20577"/>
          <ac:spMkLst>
            <pc:docMk/>
            <pc:sldMk cId="3531593510" sldId="2147379401"/>
            <ac:spMk id="698" creationId="{7B04E69F-3EC3-F7CB-2319-2526041A10FE}"/>
          </ac:spMkLst>
        </pc:spChg>
        <pc:spChg chg="mod">
          <ac:chgData name="Sekgota, Khutso" userId="S::khutso.sekgota@hatch.com::a0375046-58ca-4a89-bd34-1f5efbd05e4f" providerId="AD" clId="Web-{F917286A-C7A5-9383-80B2-0B523A1E3638}" dt="2023-05-29T10:55:32.465" v="60" actId="20577"/>
          <ac:spMkLst>
            <pc:docMk/>
            <pc:sldMk cId="3531593510" sldId="2147379401"/>
            <ac:spMk id="700" creationId="{91807CDA-3466-5B81-D1E3-7BDB9D39F72B}"/>
          </ac:spMkLst>
        </pc:spChg>
      </pc:sldChg>
      <pc:sldChg chg="modSp">
        <pc:chgData name="Sekgota, Khutso" userId="S::khutso.sekgota@hatch.com::a0375046-58ca-4a89-bd34-1f5efbd05e4f" providerId="AD" clId="Web-{F917286A-C7A5-9383-80B2-0B523A1E3638}" dt="2023-05-29T10:29:33.686" v="21" actId="20577"/>
        <pc:sldMkLst>
          <pc:docMk/>
          <pc:sldMk cId="2255316931" sldId="2147379404"/>
        </pc:sldMkLst>
        <pc:spChg chg="mod">
          <ac:chgData name="Sekgota, Khutso" userId="S::khutso.sekgota@hatch.com::a0375046-58ca-4a89-bd34-1f5efbd05e4f" providerId="AD" clId="Web-{F917286A-C7A5-9383-80B2-0B523A1E3638}" dt="2023-05-29T10:29:33.686" v="21" actId="20577"/>
          <ac:spMkLst>
            <pc:docMk/>
            <pc:sldMk cId="2255316931" sldId="2147379404"/>
            <ac:spMk id="851" creationId="{563FAB2D-FEBE-4580-9236-50ED126D8D39}"/>
          </ac:spMkLst>
        </pc:spChg>
      </pc:sldChg>
      <pc:sldChg chg="addCm modCm">
        <pc:chgData name="Sekgota, Khutso" userId="S::khutso.sekgota@hatch.com::a0375046-58ca-4a89-bd34-1f5efbd05e4f" providerId="AD" clId="Web-{F917286A-C7A5-9383-80B2-0B523A1E3638}" dt="2023-05-29T10:48:07.983" v="26"/>
        <pc:sldMkLst>
          <pc:docMk/>
          <pc:sldMk cId="172944201" sldId="214737940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ekgota, Khutso" userId="S::khutso.sekgota@hatch.com::a0375046-58ca-4a89-bd34-1f5efbd05e4f" providerId="AD" clId="Web-{F917286A-C7A5-9383-80B2-0B523A1E3638}" dt="2023-05-29T10:48:07.983" v="26"/>
              <pc2:cmMkLst xmlns:pc2="http://schemas.microsoft.com/office/powerpoint/2019/9/main/command">
                <pc:docMk/>
                <pc:sldMk cId="172944201" sldId="2147379409"/>
                <pc2:cmMk id="{AA275188-7B68-49B1-967F-C4F1086E6D7A}"/>
              </pc2:cmMkLst>
              <pc226:cmRplyChg chg="add">
                <pc226:chgData name="Sekgota, Khutso" userId="S::khutso.sekgota@hatch.com::a0375046-58ca-4a89-bd34-1f5efbd05e4f" providerId="AD" clId="Web-{F917286A-C7A5-9383-80B2-0B523A1E3638}" dt="2023-05-29T10:48:07.983" v="26"/>
                <pc2:cmRplyMkLst xmlns:pc2="http://schemas.microsoft.com/office/powerpoint/2019/9/main/command">
                  <pc:docMk/>
                  <pc:sldMk cId="172944201" sldId="2147379409"/>
                  <pc2:cmMk id="{AA275188-7B68-49B1-967F-C4F1086E6D7A}"/>
                  <pc2:cmRplyMk id="{C8301E63-CDE9-4B28-A006-0D9D11085EFF}"/>
                </pc2:cmRplyMkLst>
              </pc226:cmRplyChg>
            </pc226:cmChg>
          </p:ext>
        </pc:extLst>
      </pc:sldChg>
      <pc:sldChg chg="addCm modCm">
        <pc:chgData name="Sekgota, Khutso" userId="S::khutso.sekgota@hatch.com::a0375046-58ca-4a89-bd34-1f5efbd05e4f" providerId="AD" clId="Web-{F917286A-C7A5-9383-80B2-0B523A1E3638}" dt="2023-05-29T10:47:24.857" v="25"/>
        <pc:sldMkLst>
          <pc:docMk/>
          <pc:sldMk cId="3582399329" sldId="214737941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Sekgota, Khutso" userId="S::khutso.sekgota@hatch.com::a0375046-58ca-4a89-bd34-1f5efbd05e4f" providerId="AD" clId="Web-{F917286A-C7A5-9383-80B2-0B523A1E3638}" dt="2023-05-29T10:47:24.857" v="25"/>
              <pc2:cmMkLst xmlns:pc2="http://schemas.microsoft.com/office/powerpoint/2019/9/main/command">
                <pc:docMk/>
                <pc:sldMk cId="3582399329" sldId="2147379414"/>
                <pc2:cmMk id="{40B56783-A362-431D-8505-E6F86189F179}"/>
              </pc2:cmMkLst>
              <pc226:cmRplyChg chg="add">
                <pc226:chgData name="Sekgota, Khutso" userId="S::khutso.sekgota@hatch.com::a0375046-58ca-4a89-bd34-1f5efbd05e4f" providerId="AD" clId="Web-{F917286A-C7A5-9383-80B2-0B523A1E3638}" dt="2023-05-29T10:47:24.857" v="25"/>
                <pc2:cmRplyMkLst xmlns:pc2="http://schemas.microsoft.com/office/powerpoint/2019/9/main/command">
                  <pc:docMk/>
                  <pc:sldMk cId="3582399329" sldId="2147379414"/>
                  <pc2:cmMk id="{40B56783-A362-431D-8505-E6F86189F179}"/>
                  <pc2:cmRplyMk id="{AD5CF039-27A4-4BED-BFD2-B5555C15C455}"/>
                </pc2:cmRplyMkLst>
              </pc226:cmRplyChg>
            </pc226:cmChg>
          </p:ext>
        </pc:ext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81206496519721E-2"/>
          <c:y val="2.5653675382338433E-2"/>
          <c:w val="0.96983758700696054"/>
          <c:h val="0.948692649235323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R$1</c:f>
              <c:numCache>
                <c:formatCode>General</c:formatCode>
                <c:ptCount val="18"/>
                <c:pt idx="0">
                  <c:v>0.86956500000000003</c:v>
                </c:pt>
                <c:pt idx="1">
                  <c:v>1.2422359999999999</c:v>
                </c:pt>
                <c:pt idx="2">
                  <c:v>1.2422359999999999</c:v>
                </c:pt>
                <c:pt idx="3">
                  <c:v>1.9875780000000001</c:v>
                </c:pt>
                <c:pt idx="4">
                  <c:v>2.3602479999999999</c:v>
                </c:pt>
                <c:pt idx="5">
                  <c:v>3.3540369999999999</c:v>
                </c:pt>
                <c:pt idx="6">
                  <c:v>3.975155</c:v>
                </c:pt>
                <c:pt idx="7">
                  <c:v>4.8447199999999997</c:v>
                </c:pt>
                <c:pt idx="8">
                  <c:v>5.8385090000000002</c:v>
                </c:pt>
                <c:pt idx="9">
                  <c:v>7.0807450000000003</c:v>
                </c:pt>
                <c:pt idx="10">
                  <c:v>8.5714290000000002</c:v>
                </c:pt>
                <c:pt idx="11">
                  <c:v>10.062110000000001</c:v>
                </c:pt>
                <c:pt idx="12">
                  <c:v>11.80124</c:v>
                </c:pt>
                <c:pt idx="13">
                  <c:v>13.540369999999999</c:v>
                </c:pt>
                <c:pt idx="14">
                  <c:v>15.65217</c:v>
                </c:pt>
                <c:pt idx="15">
                  <c:v>17.888200000000001</c:v>
                </c:pt>
                <c:pt idx="16">
                  <c:v>20.49689</c:v>
                </c:pt>
                <c:pt idx="17">
                  <c:v>22.98136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5C-4E0A-A6AC-20151528FD9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R$2</c:f>
              <c:numCache>
                <c:formatCode>General</c:formatCode>
                <c:ptCount val="18"/>
                <c:pt idx="0">
                  <c:v>6.5838510000000001</c:v>
                </c:pt>
                <c:pt idx="1">
                  <c:v>8.3229810000000004</c:v>
                </c:pt>
                <c:pt idx="2">
                  <c:v>9.4409939999999999</c:v>
                </c:pt>
                <c:pt idx="3">
                  <c:v>10.807449999999999</c:v>
                </c:pt>
                <c:pt idx="4">
                  <c:v>11.80124</c:v>
                </c:pt>
                <c:pt idx="5">
                  <c:v>13.167700000000002</c:v>
                </c:pt>
                <c:pt idx="6">
                  <c:v>14.906829999999999</c:v>
                </c:pt>
                <c:pt idx="7">
                  <c:v>16.024840000000001</c:v>
                </c:pt>
                <c:pt idx="8">
                  <c:v>17.391300000000001</c:v>
                </c:pt>
                <c:pt idx="9">
                  <c:v>18.260870000000001</c:v>
                </c:pt>
                <c:pt idx="10">
                  <c:v>19.627330000000001</c:v>
                </c:pt>
                <c:pt idx="11">
                  <c:v>20.745339999999999</c:v>
                </c:pt>
                <c:pt idx="12">
                  <c:v>21.490680000000005</c:v>
                </c:pt>
                <c:pt idx="13">
                  <c:v>21.987580000000005</c:v>
                </c:pt>
                <c:pt idx="14">
                  <c:v>22.484470000000002</c:v>
                </c:pt>
                <c:pt idx="15">
                  <c:v>22.732920000000004</c:v>
                </c:pt>
                <c:pt idx="16">
                  <c:v>22.484470000000002</c:v>
                </c:pt>
                <c:pt idx="17">
                  <c:v>21.98758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5C-4E0A-A6AC-20151528FD9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R$3</c:f>
              <c:numCache>
                <c:formatCode>General</c:formatCode>
                <c:ptCount val="18"/>
                <c:pt idx="0">
                  <c:v>4.4720500000000003</c:v>
                </c:pt>
                <c:pt idx="1">
                  <c:v>4.9689440000000005</c:v>
                </c:pt>
                <c:pt idx="2">
                  <c:v>6.9565220000000014</c:v>
                </c:pt>
                <c:pt idx="3">
                  <c:v>7.7018629999999995</c:v>
                </c:pt>
                <c:pt idx="4">
                  <c:v>8.5714290000000002</c:v>
                </c:pt>
                <c:pt idx="5">
                  <c:v>9.3167699999999982</c:v>
                </c:pt>
                <c:pt idx="6">
                  <c:v>9.6894410000000022</c:v>
                </c:pt>
                <c:pt idx="7">
                  <c:v>10.93168</c:v>
                </c:pt>
                <c:pt idx="8">
                  <c:v>11.925470000000004</c:v>
                </c:pt>
                <c:pt idx="9">
                  <c:v>12.919250000000002</c:v>
                </c:pt>
                <c:pt idx="10">
                  <c:v>13.540370000000003</c:v>
                </c:pt>
                <c:pt idx="11">
                  <c:v>13.540369999999999</c:v>
                </c:pt>
                <c:pt idx="12">
                  <c:v>14.161490000000001</c:v>
                </c:pt>
                <c:pt idx="13">
                  <c:v>14.782609999999998</c:v>
                </c:pt>
                <c:pt idx="14">
                  <c:v>14.782609999999998</c:v>
                </c:pt>
                <c:pt idx="15">
                  <c:v>15.155279999999998</c:v>
                </c:pt>
                <c:pt idx="16">
                  <c:v>15.527949999999997</c:v>
                </c:pt>
                <c:pt idx="17">
                  <c:v>15.65216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5C-4E0A-A6AC-20151528FD9A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R$4</c:f>
              <c:numCache>
                <c:formatCode>General</c:formatCode>
                <c:ptCount val="18"/>
                <c:pt idx="0">
                  <c:v>1.6149070000000005</c:v>
                </c:pt>
                <c:pt idx="1">
                  <c:v>1.9875779999999992</c:v>
                </c:pt>
                <c:pt idx="2">
                  <c:v>3.1055899999999994</c:v>
                </c:pt>
                <c:pt idx="3">
                  <c:v>3.8509320000000002</c:v>
                </c:pt>
                <c:pt idx="4">
                  <c:v>4.5962730000000001</c:v>
                </c:pt>
                <c:pt idx="5">
                  <c:v>5.7142860000000013</c:v>
                </c:pt>
                <c:pt idx="6">
                  <c:v>7.0807450000000003</c:v>
                </c:pt>
                <c:pt idx="7">
                  <c:v>7.9503109999999992</c:v>
                </c:pt>
                <c:pt idx="8">
                  <c:v>8.4472049999999967</c:v>
                </c:pt>
                <c:pt idx="9">
                  <c:v>9.565216999999997</c:v>
                </c:pt>
                <c:pt idx="10">
                  <c:v>9.6894410000000022</c:v>
                </c:pt>
                <c:pt idx="11">
                  <c:v>10.559010000000001</c:v>
                </c:pt>
                <c:pt idx="12">
                  <c:v>10.807450000000003</c:v>
                </c:pt>
                <c:pt idx="13">
                  <c:v>11.180120000000002</c:v>
                </c:pt>
                <c:pt idx="14">
                  <c:v>11.304350000000007</c:v>
                </c:pt>
                <c:pt idx="15">
                  <c:v>11.428570000000001</c:v>
                </c:pt>
                <c:pt idx="16">
                  <c:v>11.552800000000005</c:v>
                </c:pt>
                <c:pt idx="17">
                  <c:v>12.1739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5C-4E0A-A6AC-20151528FD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71575183"/>
        <c:axId val="1"/>
      </c:barChart>
      <c:catAx>
        <c:axId val="371575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.7950299999999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715751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685117198531489E-2"/>
          <c:y val="2.5653675382338433E-2"/>
          <c:w val="0.97062976560293701"/>
          <c:h val="0.948692649235323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R$1</c:f>
              <c:numCache>
                <c:formatCode>General</c:formatCode>
                <c:ptCount val="18"/>
                <c:pt idx="0">
                  <c:v>30.076280000000001</c:v>
                </c:pt>
                <c:pt idx="1">
                  <c:v>31.95448</c:v>
                </c:pt>
                <c:pt idx="2">
                  <c:v>31.65108</c:v>
                </c:pt>
                <c:pt idx="3">
                  <c:v>32.161499999999997</c:v>
                </c:pt>
                <c:pt idx="4">
                  <c:v>32.702599999999997</c:v>
                </c:pt>
                <c:pt idx="5">
                  <c:v>33.099879999999999</c:v>
                </c:pt>
                <c:pt idx="6">
                  <c:v>33.120869999999996</c:v>
                </c:pt>
                <c:pt idx="7">
                  <c:v>33.328139999999998</c:v>
                </c:pt>
                <c:pt idx="8">
                  <c:v>33.578069999999997</c:v>
                </c:pt>
                <c:pt idx="9">
                  <c:v>33.98753</c:v>
                </c:pt>
                <c:pt idx="10">
                  <c:v>34.374389999999998</c:v>
                </c:pt>
                <c:pt idx="11">
                  <c:v>34.59413</c:v>
                </c:pt>
                <c:pt idx="12">
                  <c:v>34.651710000000001</c:v>
                </c:pt>
                <c:pt idx="13">
                  <c:v>34.941569999999999</c:v>
                </c:pt>
                <c:pt idx="14">
                  <c:v>35.125390000000003</c:v>
                </c:pt>
                <c:pt idx="15">
                  <c:v>35.177779999999998</c:v>
                </c:pt>
                <c:pt idx="16">
                  <c:v>34.991120000000002</c:v>
                </c:pt>
                <c:pt idx="17">
                  <c:v>34.89876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70-46DC-95CB-E3E827125FF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R$2</c:f>
              <c:numCache>
                <c:formatCode>General</c:formatCode>
                <c:ptCount val="18"/>
                <c:pt idx="0">
                  <c:v>20.773869999999999</c:v>
                </c:pt>
                <c:pt idx="1">
                  <c:v>20.540679999999998</c:v>
                </c:pt>
                <c:pt idx="2">
                  <c:v>19.698259999999998</c:v>
                </c:pt>
                <c:pt idx="3">
                  <c:v>18.992110000000004</c:v>
                </c:pt>
                <c:pt idx="4">
                  <c:v>17.739820000000002</c:v>
                </c:pt>
                <c:pt idx="5">
                  <c:v>16.269100000000002</c:v>
                </c:pt>
                <c:pt idx="6">
                  <c:v>14.759</c:v>
                </c:pt>
                <c:pt idx="7">
                  <c:v>12.747019999999999</c:v>
                </c:pt>
                <c:pt idx="8">
                  <c:v>11.068730000000002</c:v>
                </c:pt>
                <c:pt idx="9">
                  <c:v>9.3495459999999966</c:v>
                </c:pt>
                <c:pt idx="10">
                  <c:v>7.5492029999999986</c:v>
                </c:pt>
                <c:pt idx="11">
                  <c:v>5.8156389999999973</c:v>
                </c:pt>
                <c:pt idx="12">
                  <c:v>4.4998920000000027</c:v>
                </c:pt>
                <c:pt idx="13">
                  <c:v>3.4423049999999975</c:v>
                </c:pt>
                <c:pt idx="14">
                  <c:v>2.8699859999999973</c:v>
                </c:pt>
                <c:pt idx="15">
                  <c:v>2.6726019999999977</c:v>
                </c:pt>
                <c:pt idx="16">
                  <c:v>2.5486379999999969</c:v>
                </c:pt>
                <c:pt idx="17">
                  <c:v>2.538809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70-46DC-95CB-E3E827125FFC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R$3</c:f>
              <c:numCache>
                <c:formatCode>General</c:formatCode>
                <c:ptCount val="18"/>
                <c:pt idx="0">
                  <c:v>14.691469999999995</c:v>
                </c:pt>
                <c:pt idx="1">
                  <c:v>14.23424</c:v>
                </c:pt>
                <c:pt idx="2">
                  <c:v>13.771230000000003</c:v>
                </c:pt>
                <c:pt idx="3">
                  <c:v>13.011859999999999</c:v>
                </c:pt>
                <c:pt idx="4">
                  <c:v>12.339600000000004</c:v>
                </c:pt>
                <c:pt idx="5">
                  <c:v>11.44164</c:v>
                </c:pt>
                <c:pt idx="6">
                  <c:v>10.362389999999998</c:v>
                </c:pt>
                <c:pt idx="7">
                  <c:v>9.078801999999996</c:v>
                </c:pt>
                <c:pt idx="8">
                  <c:v>8.2761190000000013</c:v>
                </c:pt>
                <c:pt idx="9">
                  <c:v>7.5607800000000012</c:v>
                </c:pt>
                <c:pt idx="10">
                  <c:v>6.9011470000000017</c:v>
                </c:pt>
                <c:pt idx="11">
                  <c:v>6.2178310000000039</c:v>
                </c:pt>
                <c:pt idx="12">
                  <c:v>5.4333450000000028</c:v>
                </c:pt>
                <c:pt idx="13">
                  <c:v>4.7861029999999971</c:v>
                </c:pt>
                <c:pt idx="14">
                  <c:v>4.2358329999999995</c:v>
                </c:pt>
                <c:pt idx="15">
                  <c:v>3.8745649999999969</c:v>
                </c:pt>
                <c:pt idx="16">
                  <c:v>3.4756659999999968</c:v>
                </c:pt>
                <c:pt idx="17">
                  <c:v>3.1275279999999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70-46DC-95CB-E3E827125FFC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R$4</c:f>
              <c:numCache>
                <c:formatCode>General</c:formatCode>
                <c:ptCount val="18"/>
                <c:pt idx="0">
                  <c:v>16.579229999999995</c:v>
                </c:pt>
                <c:pt idx="1">
                  <c:v>15.842690000000005</c:v>
                </c:pt>
                <c:pt idx="2">
                  <c:v>15.048640000000006</c:v>
                </c:pt>
                <c:pt idx="3">
                  <c:v>14.442660000000004</c:v>
                </c:pt>
                <c:pt idx="4">
                  <c:v>13.72336</c:v>
                </c:pt>
                <c:pt idx="5">
                  <c:v>12.873410000000007</c:v>
                </c:pt>
                <c:pt idx="6">
                  <c:v>12.029810000000005</c:v>
                </c:pt>
                <c:pt idx="7">
                  <c:v>11.012739999999994</c:v>
                </c:pt>
                <c:pt idx="8">
                  <c:v>10.252499999999998</c:v>
                </c:pt>
                <c:pt idx="9">
                  <c:v>9.4607420000000033</c:v>
                </c:pt>
                <c:pt idx="10">
                  <c:v>8.432777999999999</c:v>
                </c:pt>
                <c:pt idx="11">
                  <c:v>7.6332069999999987</c:v>
                </c:pt>
                <c:pt idx="12">
                  <c:v>6.7539590000000018</c:v>
                </c:pt>
                <c:pt idx="13">
                  <c:v>5.8088010000000025</c:v>
                </c:pt>
                <c:pt idx="14">
                  <c:v>5.0085120000000032</c:v>
                </c:pt>
                <c:pt idx="15">
                  <c:v>4.1699640000000002</c:v>
                </c:pt>
                <c:pt idx="16">
                  <c:v>3.515900000000002</c:v>
                </c:pt>
                <c:pt idx="17">
                  <c:v>2.883234000000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770-46DC-95CB-E3E827125F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419008"/>
        <c:axId val="1"/>
      </c:barChart>
      <c:catAx>
        <c:axId val="2419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2.57209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419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209126779893639E-3"/>
          <c:y val="1.984732824427481E-2"/>
          <c:w val="0.98215817464402122"/>
          <c:h val="0.9603053435114503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M$1</c:f>
              <c:numCache>
                <c:formatCode>General</c:formatCode>
                <c:ptCount val="13"/>
                <c:pt idx="0">
                  <c:v>550</c:v>
                </c:pt>
                <c:pt idx="1">
                  <c:v>750</c:v>
                </c:pt>
                <c:pt idx="2">
                  <c:v>1000</c:v>
                </c:pt>
                <c:pt idx="3">
                  <c:v>1250</c:v>
                </c:pt>
                <c:pt idx="4">
                  <c:v>1450</c:v>
                </c:pt>
                <c:pt idx="5">
                  <c:v>1700</c:v>
                </c:pt>
                <c:pt idx="6">
                  <c:v>1950</c:v>
                </c:pt>
                <c:pt idx="7">
                  <c:v>2250</c:v>
                </c:pt>
                <c:pt idx="8">
                  <c:v>2450</c:v>
                </c:pt>
                <c:pt idx="9">
                  <c:v>2750</c:v>
                </c:pt>
                <c:pt idx="10">
                  <c:v>2950</c:v>
                </c:pt>
                <c:pt idx="11">
                  <c:v>3200</c:v>
                </c:pt>
                <c:pt idx="12">
                  <c:v>3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58-495B-BDCC-045236AAF69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M$2</c:f>
              <c:numCache>
                <c:formatCode>General</c:formatCode>
                <c:ptCount val="13"/>
                <c:pt idx="0">
                  <c:v>50</c:v>
                </c:pt>
                <c:pt idx="1">
                  <c:v>75</c:v>
                </c:pt>
                <c:pt idx="2">
                  <c:v>100</c:v>
                </c:pt>
                <c:pt idx="3">
                  <c:v>150</c:v>
                </c:pt>
                <c:pt idx="4">
                  <c:v>250</c:v>
                </c:pt>
                <c:pt idx="5">
                  <c:v>300</c:v>
                </c:pt>
                <c:pt idx="6">
                  <c:v>350</c:v>
                </c:pt>
                <c:pt idx="7">
                  <c:v>500</c:v>
                </c:pt>
                <c:pt idx="8">
                  <c:v>600</c:v>
                </c:pt>
                <c:pt idx="9">
                  <c:v>650</c:v>
                </c:pt>
                <c:pt idx="10">
                  <c:v>750</c:v>
                </c:pt>
                <c:pt idx="11">
                  <c:v>800</c:v>
                </c:pt>
                <c:pt idx="12">
                  <c:v>9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58-495B-BDCC-045236AAF69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M$3</c:f>
              <c:numCache>
                <c:formatCode>General</c:formatCode>
                <c:ptCount val="13"/>
                <c:pt idx="0">
                  <c:v>200</c:v>
                </c:pt>
                <c:pt idx="1">
                  <c:v>150</c:v>
                </c:pt>
                <c:pt idx="2">
                  <c:v>250</c:v>
                </c:pt>
                <c:pt idx="3">
                  <c:v>250</c:v>
                </c:pt>
                <c:pt idx="4">
                  <c:v>250</c:v>
                </c:pt>
                <c:pt idx="5">
                  <c:v>250</c:v>
                </c:pt>
                <c:pt idx="6">
                  <c:v>400</c:v>
                </c:pt>
                <c:pt idx="7">
                  <c:v>350</c:v>
                </c:pt>
                <c:pt idx="8">
                  <c:v>400</c:v>
                </c:pt>
                <c:pt idx="9">
                  <c:v>450</c:v>
                </c:pt>
                <c:pt idx="10">
                  <c:v>550</c:v>
                </c:pt>
                <c:pt idx="11">
                  <c:v>550</c:v>
                </c:pt>
                <c:pt idx="12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58-495B-BDCC-045236AAF69B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M$4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50</c:v>
                </c:pt>
                <c:pt idx="3">
                  <c:v>0</c:v>
                </c:pt>
                <c:pt idx="4">
                  <c:v>100</c:v>
                </c:pt>
                <c:pt idx="5">
                  <c:v>150</c:v>
                </c:pt>
                <c:pt idx="6">
                  <c:v>100</c:v>
                </c:pt>
                <c:pt idx="7">
                  <c:v>150</c:v>
                </c:pt>
                <c:pt idx="8">
                  <c:v>200</c:v>
                </c:pt>
                <c:pt idx="9">
                  <c:v>100</c:v>
                </c:pt>
                <c:pt idx="10">
                  <c:v>150</c:v>
                </c:pt>
                <c:pt idx="11">
                  <c:v>150</c:v>
                </c:pt>
                <c:pt idx="12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58-495B-BDCC-045236AAF69B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M$5</c:f>
              <c:numCache>
                <c:formatCode>General</c:formatCode>
                <c:ptCount val="13"/>
                <c:pt idx="0">
                  <c:v>200</c:v>
                </c:pt>
                <c:pt idx="1">
                  <c:v>100</c:v>
                </c:pt>
                <c:pt idx="2">
                  <c:v>0</c:v>
                </c:pt>
                <c:pt idx="3">
                  <c:v>150</c:v>
                </c:pt>
                <c:pt idx="4">
                  <c:v>150</c:v>
                </c:pt>
                <c:pt idx="5">
                  <c:v>150</c:v>
                </c:pt>
                <c:pt idx="6">
                  <c:v>150</c:v>
                </c:pt>
                <c:pt idx="7">
                  <c:v>150</c:v>
                </c:pt>
                <c:pt idx="8">
                  <c:v>150</c:v>
                </c:pt>
                <c:pt idx="9">
                  <c:v>200</c:v>
                </c:pt>
                <c:pt idx="10">
                  <c:v>100</c:v>
                </c:pt>
                <c:pt idx="11">
                  <c:v>200</c:v>
                </c:pt>
                <c:pt idx="12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58-495B-BDCC-045236AAF69B}"/>
            </c:ext>
          </c:extLst>
        </c:ser>
        <c:ser>
          <c:idx val="5"/>
          <c:order val="5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6:$M$6</c:f>
              <c:numCache>
                <c:formatCode>General</c:formatCode>
                <c:ptCount val="13"/>
                <c:pt idx="0">
                  <c:v>59.055119999999988</c:v>
                </c:pt>
                <c:pt idx="1">
                  <c:v>47.244089999999915</c:v>
                </c:pt>
                <c:pt idx="2">
                  <c:v>59.055119999999988</c:v>
                </c:pt>
                <c:pt idx="3">
                  <c:v>59.055119999999988</c:v>
                </c:pt>
                <c:pt idx="4">
                  <c:v>59.055119999999988</c:v>
                </c:pt>
                <c:pt idx="5">
                  <c:v>70.866140000000087</c:v>
                </c:pt>
                <c:pt idx="6">
                  <c:v>82.677169999999933</c:v>
                </c:pt>
                <c:pt idx="7">
                  <c:v>82.677169999999933</c:v>
                </c:pt>
                <c:pt idx="8">
                  <c:v>59.055119999999988</c:v>
                </c:pt>
                <c:pt idx="9">
                  <c:v>82.677169999999933</c:v>
                </c:pt>
                <c:pt idx="10">
                  <c:v>82.677169999999933</c:v>
                </c:pt>
                <c:pt idx="11">
                  <c:v>82.677169999999933</c:v>
                </c:pt>
                <c:pt idx="12">
                  <c:v>106.29920000000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258-495B-BDCC-045236AAF6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67433567"/>
        <c:axId val="1"/>
      </c:barChart>
      <c:catAx>
        <c:axId val="4674335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06.29920000000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674335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797974506722536E-3"/>
          <c:y val="1.839405730456314E-2"/>
          <c:w val="0.98184040509865544"/>
          <c:h val="0.9632118853908737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0.64080899999999996</c:v>
                </c:pt>
                <c:pt idx="1">
                  <c:v>1.045531</c:v>
                </c:pt>
                <c:pt idx="2">
                  <c:v>1.2141649999999999</c:v>
                </c:pt>
                <c:pt idx="3">
                  <c:v>1.5851599999999999</c:v>
                </c:pt>
                <c:pt idx="4">
                  <c:v>1.9561550000000001</c:v>
                </c:pt>
                <c:pt idx="5">
                  <c:v>2.3271500000000001</c:v>
                </c:pt>
                <c:pt idx="6">
                  <c:v>2.596965</c:v>
                </c:pt>
                <c:pt idx="7">
                  <c:v>3.1365940000000001</c:v>
                </c:pt>
                <c:pt idx="8">
                  <c:v>3.541315</c:v>
                </c:pt>
                <c:pt idx="9">
                  <c:v>3.946037</c:v>
                </c:pt>
                <c:pt idx="10">
                  <c:v>4.3507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65-447F-B617-2BD05E4CBE8D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K$2</c:f>
              <c:numCache>
                <c:formatCode>General</c:formatCode>
                <c:ptCount val="11"/>
                <c:pt idx="0">
                  <c:v>0.47217500000000001</c:v>
                </c:pt>
                <c:pt idx="1">
                  <c:v>0.67453600000000002</c:v>
                </c:pt>
                <c:pt idx="2">
                  <c:v>0.978078</c:v>
                </c:pt>
                <c:pt idx="3">
                  <c:v>1.2141649999999997</c:v>
                </c:pt>
                <c:pt idx="4">
                  <c:v>1.5851599999999999</c:v>
                </c:pt>
                <c:pt idx="5">
                  <c:v>1.8887019999999999</c:v>
                </c:pt>
                <c:pt idx="6">
                  <c:v>2.2259699999999993</c:v>
                </c:pt>
                <c:pt idx="7">
                  <c:v>2.5295109999999998</c:v>
                </c:pt>
                <c:pt idx="8">
                  <c:v>3.0016860000000003</c:v>
                </c:pt>
                <c:pt idx="9">
                  <c:v>3.4064079999999994</c:v>
                </c:pt>
                <c:pt idx="10">
                  <c:v>3.743676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65-447F-B617-2BD05E4CBE8D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K$3</c:f>
              <c:numCache>
                <c:formatCode>General</c:formatCode>
                <c:ptCount val="11"/>
                <c:pt idx="0">
                  <c:v>0.37099499999999996</c:v>
                </c:pt>
                <c:pt idx="1">
                  <c:v>0.50590200000000007</c:v>
                </c:pt>
                <c:pt idx="2">
                  <c:v>0.60708299999999982</c:v>
                </c:pt>
                <c:pt idx="3">
                  <c:v>0.80944400000000005</c:v>
                </c:pt>
                <c:pt idx="4">
                  <c:v>1.0118039999999997</c:v>
                </c:pt>
                <c:pt idx="5">
                  <c:v>1.3827990000000003</c:v>
                </c:pt>
                <c:pt idx="6">
                  <c:v>1.5851600000000001</c:v>
                </c:pt>
                <c:pt idx="7">
                  <c:v>1.9561549999999999</c:v>
                </c:pt>
                <c:pt idx="8">
                  <c:v>2.2596959999999999</c:v>
                </c:pt>
                <c:pt idx="9">
                  <c:v>3.2715010000000007</c:v>
                </c:pt>
                <c:pt idx="10">
                  <c:v>3.608769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65-447F-B617-2BD05E4CBE8D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K$4</c:f>
              <c:numCache>
                <c:formatCode>General</c:formatCode>
                <c:ptCount val="11"/>
                <c:pt idx="0">
                  <c:v>0.16863399999999995</c:v>
                </c:pt>
                <c:pt idx="1">
                  <c:v>0.37099500000000019</c:v>
                </c:pt>
                <c:pt idx="2">
                  <c:v>0.43844899999999987</c:v>
                </c:pt>
                <c:pt idx="3">
                  <c:v>0.50590199999999985</c:v>
                </c:pt>
                <c:pt idx="4">
                  <c:v>0.6745359999999998</c:v>
                </c:pt>
                <c:pt idx="5">
                  <c:v>0.84316999999999975</c:v>
                </c:pt>
                <c:pt idx="6">
                  <c:v>0.91062400000000032</c:v>
                </c:pt>
                <c:pt idx="7">
                  <c:v>1.1129849999999992</c:v>
                </c:pt>
                <c:pt idx="8">
                  <c:v>1.2478920000000002</c:v>
                </c:pt>
                <c:pt idx="9">
                  <c:v>1.2816189999999992</c:v>
                </c:pt>
                <c:pt idx="10">
                  <c:v>1.349073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65-447F-B617-2BD05E4CBE8D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K$5</c:f>
              <c:numCache>
                <c:formatCode>General</c:formatCode>
                <c:ptCount val="11"/>
                <c:pt idx="0">
                  <c:v>0.37099499999999996</c:v>
                </c:pt>
                <c:pt idx="1">
                  <c:v>0.57335599999999998</c:v>
                </c:pt>
                <c:pt idx="2">
                  <c:v>0.8431700000000002</c:v>
                </c:pt>
                <c:pt idx="3">
                  <c:v>1.0455310000000004</c:v>
                </c:pt>
                <c:pt idx="4">
                  <c:v>1.4165260000000002</c:v>
                </c:pt>
                <c:pt idx="5">
                  <c:v>1.5514330000000003</c:v>
                </c:pt>
                <c:pt idx="6">
                  <c:v>1.7200670000000002</c:v>
                </c:pt>
                <c:pt idx="7">
                  <c:v>1.8887020000000003</c:v>
                </c:pt>
                <c:pt idx="8">
                  <c:v>2.0573359999999994</c:v>
                </c:pt>
                <c:pt idx="9">
                  <c:v>2.2934230000000007</c:v>
                </c:pt>
                <c:pt idx="10">
                  <c:v>2.259695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65-447F-B617-2BD05E4CBE8D}"/>
            </c:ext>
          </c:extLst>
        </c:ser>
        <c:ser>
          <c:idx val="5"/>
          <c:order val="5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6:$K$6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.30354100000000006</c:v>
                </c:pt>
                <c:pt idx="3">
                  <c:v>0.37099499999999974</c:v>
                </c:pt>
                <c:pt idx="4">
                  <c:v>0.43844900000000031</c:v>
                </c:pt>
                <c:pt idx="5">
                  <c:v>0.47217500000000001</c:v>
                </c:pt>
                <c:pt idx="6">
                  <c:v>0.50590200000000074</c:v>
                </c:pt>
                <c:pt idx="7">
                  <c:v>0.74198999999999948</c:v>
                </c:pt>
                <c:pt idx="8">
                  <c:v>0.74198999999999948</c:v>
                </c:pt>
                <c:pt idx="9">
                  <c:v>0.80944399999999916</c:v>
                </c:pt>
                <c:pt idx="10">
                  <c:v>1.0118040000000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E65-447F-B617-2BD05E4CBE8D}"/>
            </c:ext>
          </c:extLst>
        </c:ser>
        <c:ser>
          <c:idx val="6"/>
          <c:order val="6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7:$K$7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20236099999999979</c:v>
                </c:pt>
                <c:pt idx="4">
                  <c:v>0.20236099999999979</c:v>
                </c:pt>
                <c:pt idx="5">
                  <c:v>0.37099500000000063</c:v>
                </c:pt>
                <c:pt idx="6">
                  <c:v>0.37099500000000063</c:v>
                </c:pt>
                <c:pt idx="7">
                  <c:v>0.40472199999999958</c:v>
                </c:pt>
                <c:pt idx="8">
                  <c:v>0.50590200000000074</c:v>
                </c:pt>
                <c:pt idx="9">
                  <c:v>0.53962899999999969</c:v>
                </c:pt>
                <c:pt idx="10">
                  <c:v>0.53962900000000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E65-447F-B617-2BD05E4CBE8D}"/>
            </c:ext>
          </c:extLst>
        </c:ser>
        <c:ser>
          <c:idx val="7"/>
          <c:order val="7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8:$K$8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37099499999999974</c:v>
                </c:pt>
                <c:pt idx="5">
                  <c:v>0.3372679999999999</c:v>
                </c:pt>
                <c:pt idx="6">
                  <c:v>0.3372679999999999</c:v>
                </c:pt>
                <c:pt idx="7">
                  <c:v>0.40472199999999958</c:v>
                </c:pt>
                <c:pt idx="8">
                  <c:v>0.40472199999999958</c:v>
                </c:pt>
                <c:pt idx="9">
                  <c:v>0.40472199999999958</c:v>
                </c:pt>
                <c:pt idx="10">
                  <c:v>0.674535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E65-447F-B617-2BD05E4CBE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05352208"/>
        <c:axId val="1"/>
      </c:barChart>
      <c:catAx>
        <c:axId val="1205352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.5379420000000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05352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790314270994334E-2"/>
          <c:y val="2.3370786516853932E-2"/>
          <c:w val="0.94641937145801136"/>
          <c:h val="0.9505617977528090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0D8-46B1-B446-F0A1B038390E}"/>
              </c:ext>
            </c:extLst>
          </c:dPt>
          <c:dLbls>
            <c:dLbl>
              <c:idx val="2"/>
              <c:layout>
                <c:manualLayout>
                  <c:x val="1.8547140649149921E-2"/>
                  <c:y val="-8.49438202247191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0D8-46B1-B446-F0A1B038390E}"/>
                </c:ext>
              </c:extLst>
            </c:dLbl>
            <c:dLbl>
              <c:idx val="3"/>
              <c:layout>
                <c:manualLayout>
                  <c:x val="1.8547140649149921E-2"/>
                  <c:y val="-8.49438202247191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0D8-46B1-B446-F0A1B038390E}"/>
                </c:ext>
              </c:extLst>
            </c:dLbl>
            <c:dLbl>
              <c:idx val="4"/>
              <c:layout>
                <c:manualLayout>
                  <c:x val="1.8547140649149921E-2"/>
                  <c:y val="-8.49438202247191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0D8-46B1-B446-F0A1B03839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7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0D8-46B1-B446-F0A1B038390E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D0D8-46B1-B446-F0A1B038390E}"/>
              </c:ext>
            </c:extLst>
          </c:dPt>
          <c:dLbls>
            <c:dLbl>
              <c:idx val="2"/>
              <c:layout>
                <c:manualLayout>
                  <c:x val="0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0D8-46B1-B446-F0A1B038390E}"/>
                </c:ext>
              </c:extLst>
            </c:dLbl>
            <c:dLbl>
              <c:idx val="3"/>
              <c:layout>
                <c:manualLayout>
                  <c:x val="0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0D8-46B1-B446-F0A1B038390E}"/>
                </c:ext>
              </c:extLst>
            </c:dLbl>
            <c:dLbl>
              <c:idx val="4"/>
              <c:layout>
                <c:manualLayout>
                  <c:x val="0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0D8-46B1-B446-F0A1B03839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2</c:v>
                </c:pt>
                <c:pt idx="1">
                  <c:v>5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0D8-46B1-B446-F0A1B038390E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D0D8-46B1-B446-F0A1B038390E}"/>
              </c:ext>
            </c:extLst>
          </c:dPt>
          <c:dLbls>
            <c:dLbl>
              <c:idx val="1"/>
              <c:layout>
                <c:manualLayout>
                  <c:x val="0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0D8-46B1-B446-F0A1B038390E}"/>
                </c:ext>
              </c:extLst>
            </c:dLbl>
            <c:dLbl>
              <c:idx val="2"/>
              <c:layout>
                <c:manualLayout>
                  <c:x val="-5.1519835136527566E-4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0D8-46B1-B446-F0A1B038390E}"/>
                </c:ext>
              </c:extLst>
            </c:dLbl>
            <c:dLbl>
              <c:idx val="3"/>
              <c:layout>
                <c:manualLayout>
                  <c:x val="-5.1519835136527566E-4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0D8-46B1-B446-F0A1B038390E}"/>
                </c:ext>
              </c:extLst>
            </c:dLbl>
            <c:dLbl>
              <c:idx val="4"/>
              <c:layout>
                <c:manualLayout>
                  <c:x val="-5.1519835136527566E-4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0D8-46B1-B446-F0A1B03839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0D8-46B1-B446-F0A1B038390E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D0D8-46B1-B446-F0A1B038390E}"/>
              </c:ext>
            </c:extLst>
          </c:dPt>
          <c:dLbls>
            <c:dLbl>
              <c:idx val="1"/>
              <c:layout>
                <c:manualLayout>
                  <c:x val="0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D0D8-46B1-B446-F0A1B038390E}"/>
                </c:ext>
              </c:extLst>
            </c:dLbl>
            <c:dLbl>
              <c:idx val="2"/>
              <c:layout>
                <c:manualLayout>
                  <c:x val="0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D0D8-46B1-B446-F0A1B038390E}"/>
                </c:ext>
              </c:extLst>
            </c:dLbl>
            <c:dLbl>
              <c:idx val="4"/>
              <c:layout>
                <c:manualLayout>
                  <c:x val="0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D0D8-46B1-B446-F0A1B03839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5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D0D8-46B1-B446-F0A1B038390E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348314606741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D0D8-46B1-B446-F0A1B038390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E$5</c:f>
              <c:numCache>
                <c:formatCode>General</c:formatCode>
                <c:ptCount val="5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D0D8-46B1-B446-F0A1B038390E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6:$E$6</c:f>
              <c:numCache>
                <c:formatCode>General</c:formatCode>
                <c:ptCount val="5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D0D8-46B1-B446-F0A1B0383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54071112"/>
        <c:axId val="1"/>
      </c:barChart>
      <c:catAx>
        <c:axId val="14540711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540711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omments/modernComment_7FFE68D6_D587136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0B56783-A362-431D-8505-E6F86189F179}" authorId="{C018CC5D-4DC0-C959-A05C-2412BFEA1F92}" created="2023-05-29T10:31:14.12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582399329" sldId="2147379414"/>
      <ac:spMk id="857" creationId="{7027CD3E-C53F-731D-906E-E11ACD6A582E}"/>
    </ac:deMkLst>
    <p188:replyLst>
      <p188:reply id="{4B8C9E27-BA43-4BC3-9AF2-F3B5A3017A0B}" authorId="{D140CBF5-557A-09A7-06B0-B569BD57910F}" created="2023-05-29T10:37:26.332">
        <p188:txBody>
          <a:bodyPr/>
          <a:lstStyle/>
          <a:p>
            <a:r>
              <a:rPr lang="en-ZA"/>
              <a:t>I didn't have raw data to plot these graphs so had to extract values from images thereof using think-cell which is not 100% accurate. I'm proposing to remove e-buses entirely in the analysis. Thoughts?</a:t>
            </a:r>
          </a:p>
        </p188:txBody>
      </p188:reply>
      <p188:reply id="{AD5CF039-27A4-4BED-BFD2-B5555C15C455}" authorId="{C018CC5D-4DC0-C959-A05C-2412BFEA1F92}" created="2023-05-29T10:47:24.857">
        <p188:txBody>
          <a:bodyPr/>
          <a:lstStyle/>
          <a:p>
            <a:r>
              <a:rPr lang="en-US"/>
              <a:t>Can you not get the forecasts from S&amp;PGlobal? Try that. If not, then we will have to remove e-buses entirely</a:t>
            </a:r>
          </a:p>
        </p188:txBody>
      </p188:reply>
    </p188:replyLst>
    <p188:txBody>
      <a:bodyPr/>
      <a:lstStyle/>
      <a:p>
        <a:r>
          <a:rPr lang="en-US"/>
          <a:t>[@Chagwedera, Taona]  why do e-buses  magically appear in 2033, then evaporate immediately? :) 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9BE48C-D2E5-4E85-9740-8EF9968CD72F}" type="datetimeFigureOut">
              <a:rPr lang="en-US" smtClean="0"/>
              <a:t>5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BE8533-D3ED-48A6-B486-3AA9560249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841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wnstream facilities are relatively easy to set-up and have shorter </a:t>
            </a:r>
            <a:br>
              <a:rPr lang="en-US" dirty="0"/>
            </a:br>
            <a:r>
              <a:rPr lang="en-US" dirty="0"/>
              <a:t>time-lines to implement. Their product specs are flexible from the start [NCM622 vs 811], while the same are fixed for mines 4-5 years before start-up  post start-up product spec flexibility for mine are limited (different flow sheet and equipment requirements)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E8533-D3ED-48A6-B486-3AA9560249E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957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The reimagined value chain comes with market risks as commodities are beneficiated with a target market in mind (Option 1). However, a well tough-out framework can enable a win-win situation for all stakeholders invol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E8533-D3ED-48A6-B486-3AA9560249E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954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E8533-D3ED-48A6-B486-3AA9560249E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976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E8533-D3ED-48A6-B486-3AA9560249E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612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The reimagined value chain comes with market risks as commodities are beneficiated with a target market in mind (Option 1). However, a well tough-out framework can enable a win-win situation for all stakeholders invol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E8533-D3ED-48A6-B486-3AA9560249E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4819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Abundant, Sustainable &amp; Affordable Energy – microgrids, national grid expansion &amp; integrated regional grids.</a:t>
            </a:r>
          </a:p>
          <a:p>
            <a:pPr marL="228600" indent="-228600">
              <a:buAutoNum type="arabicPeriod"/>
            </a:pPr>
            <a:r>
              <a:rPr lang="en-US" dirty="0"/>
              <a:t>Government and private sector to unpack inhibitors.</a:t>
            </a:r>
          </a:p>
          <a:p>
            <a:pPr marL="228600" indent="-228600">
              <a:buAutoNum type="arabicPeriod"/>
            </a:pPr>
            <a:endParaRPr lang="en-US" dirty="0"/>
          </a:p>
          <a:p>
            <a:endParaRPr lang="en-ZA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E8533-D3ED-48A6-B486-3AA9560249E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8158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/>
              <a:t>Technology deployment and customization should be though of right from exploration stag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BE8533-D3ED-48A6-B486-3AA9560249E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98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10" Type="http://schemas.openxmlformats.org/officeDocument/2006/relationships/image" Target="../media/image9.wmf"/><Relationship Id="rId4" Type="http://schemas.openxmlformats.org/officeDocument/2006/relationships/image" Target="../media/image3.emf"/><Relationship Id="rId9" Type="http://schemas.openxmlformats.org/officeDocument/2006/relationships/image" Target="../media/image8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7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wmf"/><Relationship Id="rId5" Type="http://schemas.openxmlformats.org/officeDocument/2006/relationships/image" Target="../media/image9.wmf"/><Relationship Id="rId4" Type="http://schemas.openxmlformats.org/officeDocument/2006/relationships/image" Target="../media/image19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Corporat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FAB7C2-3618-4D96-A12B-095E0CFC02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838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FAB7C2-3618-4D96-A12B-095E0CFC02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8" name="Picture 6" descr="Nutrien Archives - Canadian Mining Journal">
            <a:extLst>
              <a:ext uri="{FF2B5EF4-FFF2-40B4-BE49-F238E27FC236}">
                <a16:creationId xmlns:a16="http://schemas.microsoft.com/office/drawing/2014/main" id="{2D1B389A-4F7E-40BF-B3F4-A27F018F888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53400" y="1844675"/>
            <a:ext cx="4043983" cy="2799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Gallery | Resources | Nutrien">
            <a:extLst>
              <a:ext uri="{FF2B5EF4-FFF2-40B4-BE49-F238E27FC236}">
                <a16:creationId xmlns:a16="http://schemas.microsoft.com/office/drawing/2014/main" id="{7765E4B4-A991-43FB-BB8D-806358652D9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9890" y="1844675"/>
            <a:ext cx="4210048" cy="2799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Photo via Nutrien.">
            <a:extLst>
              <a:ext uri="{FF2B5EF4-FFF2-40B4-BE49-F238E27FC236}">
                <a16:creationId xmlns:a16="http://schemas.microsoft.com/office/drawing/2014/main" id="{88AB8170-8CE7-484D-9CA4-D640A467F97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41"/>
          <a:stretch/>
        </p:blipFill>
        <p:spPr bwMode="auto">
          <a:xfrm>
            <a:off x="-3074" y="1836442"/>
            <a:ext cx="4109339" cy="280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77B68-2A4E-4D13-B924-76B57102C37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7619" y="5828761"/>
            <a:ext cx="2844383" cy="102403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3005" y="2877273"/>
            <a:ext cx="454627" cy="454627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11160275" y="1719927"/>
            <a:ext cx="118795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>
                <a:solidFill>
                  <a:schemeClr val="accent1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+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834640" y="4970248"/>
            <a:ext cx="10515600" cy="6347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667">
                <a:solidFill>
                  <a:schemeClr val="tx2"/>
                </a:solidFill>
                <a:latin typeface="Source Sans Pro" panose="020B0503030403020204" pitchFamily="34" charset="0"/>
              </a:defRPr>
            </a:lvl1pPr>
            <a:lvl2pPr marL="60957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F98B0F8D-C4A5-4CB3-AFD9-89423B480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4826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51E56D7-A8F5-42DD-B375-9285C1FB82FF}"/>
              </a:ext>
            </a:extLst>
          </p:cNvPr>
          <p:cNvSpPr/>
          <p:nvPr userDrawn="1"/>
        </p:nvSpPr>
        <p:spPr>
          <a:xfrm>
            <a:off x="0" y="1"/>
            <a:ext cx="12194309" cy="1853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2F39F32-4355-4428-94D4-67C0D773A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240" y="695724"/>
            <a:ext cx="10769600" cy="9171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5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A2226F0-B66F-4583-B42D-FD074DE007E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577" y="344369"/>
            <a:ext cx="466523" cy="4665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F25578F-04E2-485D-860B-0D0FF48858F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7052" y="2271233"/>
            <a:ext cx="454627" cy="454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037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6870" y="6243029"/>
            <a:ext cx="1693237" cy="609600"/>
          </a:xfrm>
          <a:prstGeom prst="rect">
            <a:avLst/>
          </a:prstGeom>
        </p:spPr>
      </p:pic>
      <p:sp>
        <p:nvSpPr>
          <p:cNvPr id="11" name="Title 6">
            <a:extLst>
              <a:ext uri="{FF2B5EF4-FFF2-40B4-BE49-F238E27FC236}">
                <a16:creationId xmlns:a16="http://schemas.microsoft.com/office/drawing/2014/main" id="{AC5ACC99-5931-4FDF-9A6E-4D1FCC2F0D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84289"/>
            <a:ext cx="10515600" cy="105058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68C73BE-0DA6-4ED9-90F7-16446B5C63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332" y="1047645"/>
            <a:ext cx="323323" cy="323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1622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mpany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1" y="1370968"/>
            <a:ext cx="7913914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853634" y="3272631"/>
            <a:ext cx="81574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For more information,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please visit www.hatch.com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187" y="1162723"/>
            <a:ext cx="365760" cy="36576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6870" y="6243029"/>
            <a:ext cx="1693237" cy="6096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53927E70-CBDF-41D1-ADBA-696FCEC020A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33938" y="1473357"/>
            <a:ext cx="2162711" cy="1955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7372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A9918-6F97-4487-8BA8-2F73F9C13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B28001-A7FE-4581-AA40-659E3B728B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669792-D58B-4D12-AE41-181720FEB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E7D07C-DEDF-4F94-8217-C4E913E0D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163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6E3E0F-CBD0-4CD9-B2DF-F3A5FBAD5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7767539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6E3E0F-CBD0-4CD9-B2DF-F3A5FBAD5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E4C3C-147C-446E-81DC-C632C536239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 Light" panose="020B0403030403020204" pitchFamily="34" charset="0"/>
              <a:ea typeface="+mn-ea"/>
              <a:cs typeface="+mn-cs"/>
              <a:sym typeface="Source Sans Pro Light" panose="020B0403030403020204" pitchFamily="34" charset="0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idx="1" hasCustomPrompt="1"/>
          </p:nvPr>
        </p:nvSpPr>
        <p:spPr>
          <a:xfrm>
            <a:off x="561007" y="1548051"/>
            <a:ext cx="11069991" cy="4448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80981" indent="-380981">
              <a:buFont typeface="Arial" panose="020B0604020202020204" pitchFamily="34" charset="0"/>
              <a:buChar char="•"/>
              <a:defRPr sz="1867">
                <a:latin typeface="+mj-lt"/>
              </a:defRPr>
            </a:lvl1pPr>
            <a:lvl2pPr>
              <a:defRPr sz="2133">
                <a:latin typeface="Source Sans Pro" panose="020B0503030403020204" pitchFamily="34" charset="0"/>
              </a:defRPr>
            </a:lvl2pPr>
            <a:lvl3pPr>
              <a:defRPr sz="2133">
                <a:latin typeface="Source Sans Pro" panose="020B0503030403020204" pitchFamily="34" charset="0"/>
              </a:defRPr>
            </a:lvl3pPr>
            <a:lvl4pPr>
              <a:defRPr sz="2133">
                <a:latin typeface="Source Sans Pro" panose="020B0503030403020204" pitchFamily="34" charset="0"/>
              </a:defRPr>
            </a:lvl4pPr>
            <a:lvl5pPr>
              <a:defRPr sz="2133">
                <a:latin typeface="Source Sans Pro" panose="020B0503030403020204" pitchFamily="34" charset="0"/>
              </a:defRPr>
            </a:lvl5pPr>
          </a:lstStyle>
          <a:p>
            <a:pPr lvl="0"/>
            <a:r>
              <a:rPr lang="en-US"/>
              <a:t>xx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AA614C9-2AA9-4EC7-988F-B68834F2C614}"/>
              </a:ext>
            </a:extLst>
          </p:cNvPr>
          <p:cNvCxnSpPr>
            <a:cxnSpLocks/>
          </p:cNvCxnSpPr>
          <p:nvPr userDrawn="1"/>
        </p:nvCxnSpPr>
        <p:spPr>
          <a:xfrm>
            <a:off x="561007" y="6332587"/>
            <a:ext cx="11069991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5659E2B6-9015-4D5F-B96C-21C269940DC1}"/>
              </a:ext>
            </a:extLst>
          </p:cNvPr>
          <p:cNvSpPr txBox="1">
            <a:spLocks/>
          </p:cNvSpPr>
          <p:nvPr userDrawn="1"/>
        </p:nvSpPr>
        <p:spPr>
          <a:xfrm>
            <a:off x="11255253" y="6338658"/>
            <a:ext cx="470187" cy="4059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77B68-2A4E-4D13-B924-76B57102C3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25563"/>
                </a:solidFill>
                <a:effectLst/>
                <a:uLnTx/>
                <a:uFillTx/>
                <a:latin typeface="Source Sans Pro Light"/>
                <a:ea typeface="+mn-ea"/>
                <a:cs typeface="+mn-cs"/>
              </a:rPr>
              <a:pPr marL="0" marR="0" lvl="0" indent="0" algn="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425563"/>
              </a:solidFill>
              <a:effectLst/>
              <a:uLnTx/>
              <a:uFillTx/>
              <a:latin typeface="Source Sans Pro Light"/>
              <a:ea typeface="+mn-ea"/>
              <a:cs typeface="+mn-cs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D2B6669-808F-4443-B1F9-338F59716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006" y="229901"/>
            <a:ext cx="11069991" cy="4504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6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30D7B-A72E-4B8E-9D11-6D5B5D2457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61005" y="6338658"/>
            <a:ext cx="4826955" cy="365125"/>
          </a:xfrm>
        </p:spPr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2CC22E-E045-4A89-A5DA-A5DA5D357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67588" y="6356352"/>
            <a:ext cx="4114800" cy="365125"/>
          </a:xfrm>
        </p:spPr>
        <p:txBody>
          <a:bodyPr/>
          <a:lstStyle/>
          <a:p>
            <a:pPr defTabSz="121914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A50678-3F48-4992-9CF5-951F6A447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40"/>
            <a:fld id="{29C77B68-2A4E-4D13-B924-76B57102C37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914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107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5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77B68-2A4E-4D13-B924-76B57102C3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838202" y="243445"/>
            <a:ext cx="1053755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42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44033CB7-1784-425E-A1FE-FB688CB115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4826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81C772E-DB0B-42FF-8293-185DF39A436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9791" y="1695893"/>
            <a:ext cx="10535967" cy="4510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21912" indent="-121912">
              <a:spcBef>
                <a:spcPts val="1067"/>
              </a:spcBef>
              <a:buClr>
                <a:schemeClr val="tx2"/>
              </a:buClr>
              <a:buSzPct val="60000"/>
              <a:buFont typeface="Arial" panose="020B0604020202020204" pitchFamily="34" charset="0"/>
              <a:buChar char="•"/>
              <a:defRPr sz="2667">
                <a:latin typeface="Source Sans Pro Light" panose="020B0403030403020204" pitchFamily="34" charset="0"/>
              </a:defRPr>
            </a:lvl1pPr>
            <a:lvl2pPr marL="914332" indent="-304776">
              <a:buClr>
                <a:schemeClr val="tx2"/>
              </a:buClr>
              <a:buSzPct val="60000"/>
              <a:buFont typeface="Arial" panose="020B0604020202020204" pitchFamily="34" charset="0"/>
              <a:buChar char="•"/>
              <a:defRPr sz="2667">
                <a:latin typeface="Source Sans Pro Light" panose="020B0403030403020204" pitchFamily="34" charset="0"/>
              </a:defRPr>
            </a:lvl2pPr>
            <a:lvl3pPr>
              <a:buClr>
                <a:schemeClr val="tx2"/>
              </a:buClr>
              <a:defRPr sz="1867">
                <a:latin typeface="Source Sans Pro Light" panose="020B0403030403020204" pitchFamily="34" charset="0"/>
              </a:defRPr>
            </a:lvl3pPr>
            <a:lvl4pPr>
              <a:buClr>
                <a:schemeClr val="tx2"/>
              </a:buClr>
              <a:defRPr sz="1867">
                <a:latin typeface="Source Sans Pro Light" panose="020B0403030403020204" pitchFamily="34" charset="0"/>
              </a:defRPr>
            </a:lvl4pPr>
            <a:lvl5pPr>
              <a:buClr>
                <a:schemeClr val="tx2"/>
              </a:buClr>
              <a:defRPr sz="1867"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756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One Content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3818593" cy="365125"/>
          </a:xfrm>
        </p:spPr>
        <p:txBody>
          <a:bodyPr/>
          <a:lstStyle>
            <a:lvl1pPr>
              <a:defRPr lang="en-CA" sz="1067" smtClean="0">
                <a:effectLst/>
              </a:defRPr>
            </a:lvl1pPr>
          </a:lstStyle>
          <a:p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963" y="2157446"/>
            <a:ext cx="118795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urier New" panose="02070309020205020404" pitchFamily="49" charset="0"/>
                <a:cs typeface="Courier New" panose="02070309020205020404" pitchFamily="49" charset="0"/>
              </a:rPr>
              <a:t>+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7618" y="5828759"/>
            <a:ext cx="2844383" cy="102403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7187" y="4512784"/>
            <a:ext cx="454627" cy="454627"/>
          </a:xfrm>
          <a:prstGeom prst="rect">
            <a:avLst/>
          </a:prstGeom>
        </p:spPr>
      </p:pic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834640" y="5323706"/>
            <a:ext cx="10515600" cy="634791"/>
          </a:xfrm>
        </p:spPr>
        <p:txBody>
          <a:bodyPr>
            <a:normAutofit/>
          </a:bodyPr>
          <a:lstStyle>
            <a:lvl1pPr marL="0" indent="0">
              <a:buNone/>
              <a:defRPr sz="2667">
                <a:solidFill>
                  <a:schemeClr val="tx2"/>
                </a:solidFill>
                <a:latin typeface="Source Sans Pro" panose="020B0503030403020204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15000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3B63367-BCB4-4D77-95A9-5465FAE47C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850191"/>
            <a:ext cx="4107180" cy="280416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36A64F1-0B1E-4F8D-9707-AB5BAC2BEDE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07180" y="1850191"/>
            <a:ext cx="4038600" cy="28041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34DD679-C6E1-41CC-87B8-4FE53C0898D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45780" y="1850191"/>
            <a:ext cx="4046220" cy="280416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D721C6E-FCEA-4EF1-83AB-F9C7986E38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5138404"/>
            <a:ext cx="10318368" cy="44203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6613AD-479D-4C86-B6F2-A2E2ACD393C1}"/>
              </a:ext>
            </a:extLst>
          </p:cNvPr>
          <p:cNvSpPr/>
          <p:nvPr userDrawn="1"/>
        </p:nvSpPr>
        <p:spPr>
          <a:xfrm>
            <a:off x="0" y="1"/>
            <a:ext cx="12194309" cy="1853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B24A70-9D3A-45BA-BBE3-E321F563995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761" y="344369"/>
            <a:ext cx="466523" cy="4665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B0449C5-AAA1-485D-92FC-21FE95FB46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7052" y="2271233"/>
            <a:ext cx="454627" cy="4546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7CECAA-5DAC-4DC8-ADF7-CD08C178D5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621563"/>
            <a:ext cx="10318368" cy="942884"/>
          </a:xfrm>
        </p:spPr>
        <p:txBody>
          <a:bodyPr anchor="ctr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E1CD236-7CAE-4B84-B411-D8946B3AD7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8810" y="5888397"/>
            <a:ext cx="2693190" cy="96960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3067DA6-C3DF-4DF0-AE43-FE72BAE6C35D}"/>
              </a:ext>
            </a:extLst>
          </p:cNvPr>
          <p:cNvSpPr txBox="1"/>
          <p:nvPr userDrawn="1"/>
        </p:nvSpPr>
        <p:spPr>
          <a:xfrm>
            <a:off x="479424" y="6575039"/>
            <a:ext cx="2093522" cy="1958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lvl="0" indent="0" algn="r">
              <a:lnSpc>
                <a:spcPct val="100000"/>
              </a:lnSpc>
              <a:spcBef>
                <a:spcPts val="600"/>
              </a:spcBef>
              <a:buFont typeface="Arial"/>
              <a:buNone/>
              <a:defRPr sz="800"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l"/>
            <a:r>
              <a:rPr lang="en-US" dirty="0"/>
              <a:t>Copyright © Hatch 2022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942099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6762C-A6D3-4498-B482-24EB7B27D6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36916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6762C-A6D3-4498-B482-24EB7B27D6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21131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8">
          <p15:clr>
            <a:srgbClr val="A4A3A4"/>
          </p15:clr>
        </p15:guide>
        <p15:guide id="2" pos="574">
          <p15:clr>
            <a:srgbClr val="A4A3A4"/>
          </p15:clr>
        </p15:guide>
        <p15:guide id="3" orient="horz" pos="1593">
          <p15:clr>
            <a:srgbClr val="A4A3A4"/>
          </p15:clr>
        </p15:guide>
        <p15:guide id="4" orient="horz" pos="3543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5754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mper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C77B68-2A4E-4D13-B924-76B57102C3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6871" y="6243029"/>
            <a:ext cx="1693237" cy="609600"/>
          </a:xfrm>
          <a:prstGeom prst="rect">
            <a:avLst/>
          </a:prstGeom>
        </p:spPr>
      </p:pic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80B65EF7-3806-4783-B037-867D06B35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4826955" cy="365125"/>
          </a:xfrm>
        </p:spPr>
        <p:txBody>
          <a:bodyPr/>
          <a:lstStyle>
            <a:lvl1pPr>
              <a:defRPr sz="107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3816225C-FFA1-4585-99A3-B3E4F78B4E97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0" y="1"/>
            <a:ext cx="12191999" cy="6857999"/>
          </a:xfrm>
        </p:spPr>
        <p:txBody>
          <a:bodyPr anchor="t"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0FC97343-EF96-44D9-A6FA-F3B6F511E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3049" y="2047578"/>
            <a:ext cx="6565900" cy="1015205"/>
          </a:xfrm>
          <a:solidFill>
            <a:schemeClr val="tx2"/>
          </a:solidFill>
          <a:ln w="19050">
            <a:noFill/>
          </a:ln>
          <a:effectLst>
            <a:outerShdw blurRad="76200" dist="12700" dir="5400000" algn="ctr" rotWithShape="0">
              <a:schemeClr val="tx1"/>
            </a:outerShdw>
          </a:effectLst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13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/>
            </a:lvl1pPr>
          </a:lstStyle>
          <a:p>
            <a:fld id="{DAE5A361-5B70-4BBB-A346-64AB7E0DA3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08472" y="568053"/>
            <a:ext cx="11067283" cy="770106"/>
          </a:xfrm>
          <a:prstGeom prst="rect">
            <a:avLst/>
          </a:prstGeom>
        </p:spPr>
        <p:txBody>
          <a:bodyPr vert="horz" lIns="91440" tIns="45720" rIns="91440" bIns="0" rtlCol="0" anchor="b">
            <a:noAutofit/>
          </a:bodyPr>
          <a:lstStyle>
            <a:lvl1pPr>
              <a:defRPr sz="2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308472" y="1695889"/>
            <a:ext cx="11045328" cy="4510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200">
                <a:latin typeface="Source Sans Pro Light" panose="020B0403030403020204" pitchFamily="34" charset="0"/>
              </a:defRPr>
            </a:lvl1pPr>
            <a:lvl2pPr>
              <a:defRPr sz="2800"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11"/>
          <p:cNvSpPr>
            <a:spLocks noGrp="1"/>
          </p:cNvSpPr>
          <p:nvPr>
            <p:ph type="dt" sz="half" idx="10"/>
          </p:nvPr>
        </p:nvSpPr>
        <p:spPr>
          <a:xfrm>
            <a:off x="320096" y="6356352"/>
            <a:ext cx="3818593" cy="365125"/>
          </a:xfrm>
        </p:spPr>
        <p:txBody>
          <a:bodyPr/>
          <a:lstStyle>
            <a:lvl1pPr>
              <a:defRPr lang="en-CA" sz="1067" smtClean="0">
                <a:effectLst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243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2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1067" userDrawn="1">
          <p15:clr>
            <a:srgbClr val="FBAE40"/>
          </p15:clr>
        </p15:guide>
        <p15:guide id="4" pos="7439" userDrawn="1">
          <p15:clr>
            <a:srgbClr val="FBAE40"/>
          </p15:clr>
        </p15:guide>
        <p15:guide id="5" orient="horz" pos="3912" userDrawn="1">
          <p15:clr>
            <a:srgbClr val="FBAE40"/>
          </p15:clr>
        </p15:guide>
        <p15:guide id="6" orient="horz" pos="400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838199" y="479153"/>
            <a:ext cx="10537556" cy="770106"/>
          </a:xfrm>
          <a:prstGeom prst="rect">
            <a:avLst/>
          </a:prstGeom>
        </p:spPr>
        <p:txBody>
          <a:bodyPr vert="horz" lIns="91440" tIns="45720" rIns="91440" bIns="0" rtlCol="0" anchor="b">
            <a:noAutofit/>
          </a:bodyPr>
          <a:lstStyle>
            <a:lvl1pPr>
              <a:defRPr sz="2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838200" y="1949986"/>
            <a:ext cx="10515600" cy="42560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200">
                <a:latin typeface="Source Sans Pro Light" panose="020B0403030403020204" pitchFamily="34" charset="0"/>
              </a:defRPr>
            </a:lvl1pPr>
            <a:lvl2pPr>
              <a:defRPr sz="2800"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1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3818593" cy="365125"/>
          </a:xfrm>
        </p:spPr>
        <p:txBody>
          <a:bodyPr/>
          <a:lstStyle>
            <a:lvl1pPr>
              <a:defRPr lang="en-CA" sz="1067" smtClean="0">
                <a:effectLst/>
              </a:defRPr>
            </a:lvl1pPr>
          </a:lstStyle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303445"/>
            <a:ext cx="10515600" cy="484188"/>
          </a:xfrm>
        </p:spPr>
        <p:txBody>
          <a:bodyPr>
            <a:noAutofit/>
          </a:bodyPr>
          <a:lstStyle>
            <a:lvl1pPr marL="0" indent="0">
              <a:buNone/>
              <a:defRPr sz="1400" b="1" baseline="0"/>
            </a:lvl1pPr>
            <a:lvl2pPr marL="609585" indent="0">
              <a:buNone/>
              <a:defRPr sz="1400" b="1"/>
            </a:lvl2pPr>
            <a:lvl3pPr marL="1219170" indent="0">
              <a:buNone/>
              <a:defRPr sz="1400" b="1"/>
            </a:lvl3pPr>
            <a:lvl4pPr marL="1828755" indent="0">
              <a:buNone/>
              <a:defRPr sz="1400" b="1"/>
            </a:lvl4pPr>
            <a:lvl5pPr marL="2438339" indent="0">
              <a:buNone/>
              <a:defRPr sz="1400" b="1"/>
            </a:lvl5pPr>
          </a:lstStyle>
          <a:p>
            <a:pPr lvl="0"/>
            <a:r>
              <a:rPr lang="en-US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247875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2" userDrawn="1">
          <p15:clr>
            <a:srgbClr val="FBAE40"/>
          </p15:clr>
        </p15:guide>
        <p15:guide id="2" pos="597">
          <p15:clr>
            <a:srgbClr val="FBAE40"/>
          </p15:clr>
        </p15:guide>
        <p15:guide id="3" orient="horz" pos="1067">
          <p15:clr>
            <a:srgbClr val="FBAE40"/>
          </p15:clr>
        </p15:guide>
        <p15:guide id="4" pos="7161">
          <p15:clr>
            <a:srgbClr val="FBAE40"/>
          </p15:clr>
        </p15:guide>
        <p15:guide id="5" orient="horz" pos="3914">
          <p15:clr>
            <a:srgbClr val="FBAE40"/>
          </p15:clr>
        </p15:guide>
        <p15:guide id="6" orient="horz" pos="4008">
          <p15:clr>
            <a:srgbClr val="FBAE40"/>
          </p15:clr>
        </p15:guide>
        <p15:guide id="7" orient="horz" pos="122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371600"/>
            <a:ext cx="10515600" cy="2234565"/>
          </a:xfrm>
        </p:spPr>
        <p:txBody>
          <a:bodyPr anchor="t" anchorCtr="0"/>
          <a:lstStyle>
            <a:lvl1pPr>
              <a:defRPr sz="8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703641"/>
            <a:ext cx="10515600" cy="1500187"/>
          </a:xfrm>
        </p:spPr>
        <p:txBody>
          <a:bodyPr/>
          <a:lstStyle>
            <a:lvl1pPr marL="0" indent="0">
              <a:buNone/>
              <a:defRPr sz="3200">
                <a:solidFill>
                  <a:schemeClr val="tx2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Date Placeholder 1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3818593" cy="365125"/>
          </a:xfrm>
        </p:spPr>
        <p:txBody>
          <a:bodyPr/>
          <a:lstStyle>
            <a:lvl1pPr>
              <a:defRPr lang="en-CA" sz="1067" smtClean="0">
                <a:effectLst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3057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53949"/>
            <a:ext cx="10473776" cy="1325563"/>
          </a:xfrm>
        </p:spPr>
        <p:txBody>
          <a:bodyPr anchor="ctr" anchorCtr="0">
            <a:normAutofit/>
          </a:bodyPr>
          <a:lstStyle>
            <a:lvl1pPr>
              <a:defRPr sz="42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714810"/>
            <a:ext cx="5181600" cy="4462156"/>
          </a:xfrm>
        </p:spPr>
        <p:txBody>
          <a:bodyPr/>
          <a:lstStyle>
            <a:lvl1pPr>
              <a:defRPr sz="3200"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714810"/>
            <a:ext cx="5181600" cy="4462155"/>
          </a:xfrm>
        </p:spPr>
        <p:txBody>
          <a:bodyPr/>
          <a:lstStyle>
            <a:lvl1pPr>
              <a:defRPr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Date Placeholder 1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3818593" cy="365125"/>
          </a:xfrm>
        </p:spPr>
        <p:txBody>
          <a:bodyPr/>
          <a:lstStyle>
            <a:lvl1pPr>
              <a:defRPr lang="en-CA" sz="1067" smtClean="0">
                <a:effectLst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810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5">
          <p15:clr>
            <a:srgbClr val="FBAE40"/>
          </p15:clr>
        </p15:guide>
        <p15:guide id="2" pos="385">
          <p15:clr>
            <a:srgbClr val="FBAE40"/>
          </p15:clr>
        </p15:guide>
        <p15:guide id="3" pos="3792" userDrawn="1">
          <p15:clr>
            <a:srgbClr val="FBAE40"/>
          </p15:clr>
        </p15:guide>
        <p15:guide id="4" pos="3888" userDrawn="1">
          <p15:clr>
            <a:srgbClr val="FBAE40"/>
          </p15:clr>
        </p15:guide>
        <p15:guide id="5" pos="715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and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243446"/>
            <a:ext cx="5095012" cy="1325561"/>
          </a:xfrm>
        </p:spPr>
        <p:txBody>
          <a:bodyPr anchor="t" anchorCtr="0"/>
          <a:lstStyle>
            <a:lvl1pPr>
              <a:defRPr sz="42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120514" y="1"/>
            <a:ext cx="6071485" cy="6857999"/>
          </a:xfrm>
        </p:spPr>
        <p:txBody>
          <a:bodyPr anchor="t"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2"/>
          <p:cNvSpPr>
            <a:spLocks noGrp="1"/>
          </p:cNvSpPr>
          <p:nvPr>
            <p:ph idx="13"/>
          </p:nvPr>
        </p:nvSpPr>
        <p:spPr>
          <a:xfrm>
            <a:off x="839790" y="1695889"/>
            <a:ext cx="5118884" cy="4510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Source Sans Pro Light" panose="020B0403030403020204" pitchFamily="34" charset="0"/>
              </a:defRPr>
            </a:lvl1pPr>
            <a:lvl2pPr>
              <a:defRPr>
                <a:latin typeface="Source Sans Pro Light" panose="020B0403030403020204" pitchFamily="34" charset="0"/>
              </a:defRPr>
            </a:lvl2pPr>
            <a:lvl3pPr>
              <a:defRPr>
                <a:latin typeface="Source Sans Pro Light" panose="020B0403030403020204" pitchFamily="34" charset="0"/>
              </a:defRPr>
            </a:lvl3pPr>
            <a:lvl4pPr>
              <a:defRPr>
                <a:latin typeface="Source Sans Pro Light" panose="020B0403030403020204" pitchFamily="34" charset="0"/>
              </a:defRPr>
            </a:lvl4pPr>
            <a:lvl5pPr>
              <a:defRPr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88325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838199" y="243445"/>
            <a:ext cx="1053755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4267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477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63F509-FA87-4024-9B5E-3C8E30FFC647}"/>
              </a:ext>
            </a:extLst>
          </p:cNvPr>
          <p:cNvSpPr/>
          <p:nvPr userDrawn="1"/>
        </p:nvSpPr>
        <p:spPr>
          <a:xfrm>
            <a:off x="-1" y="0"/>
            <a:ext cx="495182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951829" y="3"/>
            <a:ext cx="7240171" cy="685799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40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8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77B68-2A4E-4D13-B924-76B57102C3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2"/>
          <p:cNvSpPr>
            <a:spLocks noGrp="1"/>
          </p:cNvSpPr>
          <p:nvPr>
            <p:ph idx="13"/>
          </p:nvPr>
        </p:nvSpPr>
        <p:spPr>
          <a:xfrm>
            <a:off x="399005" y="2378788"/>
            <a:ext cx="4205823" cy="35696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spcBef>
                <a:spcPts val="1067"/>
              </a:spcBef>
              <a:buClr>
                <a:schemeClr val="tx2"/>
              </a:buClr>
              <a:buSzPct val="60000"/>
              <a:buFont typeface="Arial" panose="020B0604020202020204" pitchFamily="34" charset="0"/>
              <a:buNone/>
              <a:defRPr sz="2667">
                <a:solidFill>
                  <a:schemeClr val="bg1"/>
                </a:solidFill>
                <a:latin typeface="Source Sans Pro Light" panose="020B0403030403020204" pitchFamily="34" charset="0"/>
              </a:defRPr>
            </a:lvl1pPr>
            <a:lvl2pPr marL="609570" indent="0">
              <a:buClr>
                <a:schemeClr val="tx2"/>
              </a:buClr>
              <a:buSzPct val="60000"/>
              <a:buFont typeface="Arial" panose="020B0604020202020204" pitchFamily="34" charset="0"/>
              <a:buNone/>
              <a:defRPr sz="2667">
                <a:solidFill>
                  <a:schemeClr val="bg1"/>
                </a:solidFill>
                <a:latin typeface="Source Sans Pro Light" panose="020B0403030403020204" pitchFamily="34" charset="0"/>
              </a:defRPr>
            </a:lvl2pPr>
            <a:lvl3pPr marL="1219140" indent="0">
              <a:buClr>
                <a:schemeClr val="tx2"/>
              </a:buClr>
              <a:buNone/>
              <a:defRPr sz="1867">
                <a:solidFill>
                  <a:schemeClr val="bg1"/>
                </a:solidFill>
                <a:latin typeface="Source Sans Pro Light" panose="020B0403030403020204" pitchFamily="34" charset="0"/>
              </a:defRPr>
            </a:lvl3pPr>
            <a:lvl4pPr marL="1828709" indent="0">
              <a:buClr>
                <a:schemeClr val="tx2"/>
              </a:buClr>
              <a:buNone/>
              <a:defRPr sz="1867">
                <a:solidFill>
                  <a:schemeClr val="bg1"/>
                </a:solidFill>
                <a:latin typeface="Source Sans Pro Light" panose="020B0403030403020204" pitchFamily="34" charset="0"/>
              </a:defRPr>
            </a:lvl4pPr>
            <a:lvl5pPr marL="2438278" indent="0">
              <a:buClr>
                <a:schemeClr val="tx2"/>
              </a:buClr>
              <a:buNone/>
              <a:defRPr sz="1867">
                <a:latin typeface="Source Sans Pro Light" panose="020B0403030403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B4B8FC3-755B-4491-88DA-02F2376EBB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4826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5BCD9B0-D0B8-4B61-804B-B3150F95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17" y="1153555"/>
            <a:ext cx="4205823" cy="1022252"/>
          </a:xfrm>
        </p:spPr>
        <p:txBody>
          <a:bodyPr anchor="t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5714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6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12BC745-89BD-4C8F-8D8D-9A6BE5DFCD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64292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12BC745-89BD-4C8F-8D8D-9A6BE5DFC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370968"/>
            <a:ext cx="1056544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3000375"/>
            <a:ext cx="10515600" cy="3176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4826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67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62607" y="6356352"/>
            <a:ext cx="19415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E5A361-5B70-4BBB-A346-64AB7E0DA365}" type="slidenum">
              <a:rPr lang="en-US" smtClean="0"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3604" y="6245543"/>
            <a:ext cx="1686713" cy="607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031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698" r:id="rId2"/>
    <p:sldLayoutId id="2147483727" r:id="rId3"/>
    <p:sldLayoutId id="2147483723" r:id="rId4"/>
    <p:sldLayoutId id="2147483728" r:id="rId5"/>
    <p:sldLayoutId id="2147483729" r:id="rId6"/>
    <p:sldLayoutId id="2147483730" r:id="rId7"/>
    <p:sldLayoutId id="2147483731" r:id="rId8"/>
    <p:sldLayoutId id="2147483687" r:id="rId9"/>
    <p:sldLayoutId id="2147483732" r:id="rId10"/>
    <p:sldLayoutId id="2147483733" r:id="rId11"/>
    <p:sldLayoutId id="2147483721" r:id="rId12"/>
    <p:sldLayoutId id="2147483720" r:id="rId13"/>
    <p:sldLayoutId id="2147483722" r:id="rId14"/>
    <p:sldLayoutId id="2147483725" r:id="rId15"/>
  </p:sldLayoutIdLs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Clr>
          <a:schemeClr val="tx2"/>
        </a:buClr>
        <a:buSzPct val="8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Clr>
          <a:schemeClr val="tx2"/>
        </a:buClr>
        <a:buSzPct val="8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Clr>
          <a:schemeClr val="tx2"/>
        </a:buClr>
        <a:buSzPct val="80000"/>
        <a:buFont typeface="Arial" panose="020B0604020202020204" pitchFamily="34" charset="0"/>
        <a:buChar char="•"/>
        <a:defRPr sz="2667" kern="1200">
          <a:solidFill>
            <a:schemeClr val="tx2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Clr>
          <a:schemeClr val="tx2"/>
        </a:buClr>
        <a:buSzPct val="8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Clr>
          <a:schemeClr val="tx2"/>
        </a:buClr>
        <a:buSzPct val="8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2E7C25F-B6BF-FBDC-A0D4-E1E3BF47DF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947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E7C25F-B6BF-FBDC-A0D4-E1E3BF47D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6829729-7BEC-43D7-80CE-486A649D5F88}"/>
              </a:ext>
            </a:extLst>
          </p:cNvPr>
          <p:cNvCxnSpPr>
            <a:cxnSpLocks/>
          </p:cNvCxnSpPr>
          <p:nvPr userDrawn="1"/>
        </p:nvCxnSpPr>
        <p:spPr>
          <a:xfrm>
            <a:off x="0" y="6549334"/>
            <a:ext cx="12192000" cy="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1E4F1404-4A5E-4E5B-ACB0-66F053A9974D}"/>
              </a:ext>
            </a:extLst>
          </p:cNvPr>
          <p:cNvSpPr txBox="1"/>
          <p:nvPr userDrawn="1"/>
        </p:nvSpPr>
        <p:spPr>
          <a:xfrm>
            <a:off x="11318507" y="6575039"/>
            <a:ext cx="322631" cy="177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Font typeface="Arial"/>
              <a:buNone/>
              <a:defRPr sz="900"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r"/>
            <a:fld id="{2C47FC89-94BB-4EAC-8CC1-5DD1CE33A36E}" type="slidenum">
              <a:rPr lang="en-AU" sz="1000" smtClean="0">
                <a:latin typeface="+mn-lt"/>
              </a:rPr>
              <a:pPr lvl="0" algn="r"/>
              <a:t>‹#›</a:t>
            </a:fld>
            <a:endParaRPr lang="en-AU" sz="1000" dirty="0"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9058F3F-ADD3-4F22-B25A-BB17D2CE1C09}"/>
              </a:ext>
            </a:extLst>
          </p:cNvPr>
          <p:cNvSpPr txBox="1"/>
          <p:nvPr userDrawn="1"/>
        </p:nvSpPr>
        <p:spPr>
          <a:xfrm>
            <a:off x="479424" y="6575039"/>
            <a:ext cx="2093522" cy="1958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lvl="0" indent="0" algn="r">
              <a:lnSpc>
                <a:spcPct val="100000"/>
              </a:lnSpc>
              <a:spcBef>
                <a:spcPts val="600"/>
              </a:spcBef>
              <a:buFont typeface="Arial"/>
              <a:buNone/>
              <a:defRPr sz="800"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l"/>
            <a:r>
              <a:rPr lang="en-US" dirty="0"/>
              <a:t>Copyright © Hatch 2023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F3A7DB-3DD3-4F40-A0ED-A96C4EA16462}"/>
              </a:ext>
            </a:extLst>
          </p:cNvPr>
          <p:cNvCxnSpPr>
            <a:cxnSpLocks/>
          </p:cNvCxnSpPr>
          <p:nvPr userDrawn="1"/>
        </p:nvCxnSpPr>
        <p:spPr>
          <a:xfrm>
            <a:off x="0" y="908051"/>
            <a:ext cx="12192000" cy="0"/>
          </a:xfrm>
          <a:prstGeom prst="line">
            <a:avLst/>
          </a:prstGeom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DAEBDE-9188-4FD3-B06F-E78A95227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1"/>
            <a:ext cx="11232000" cy="908050"/>
          </a:xfrm>
          <a:prstGeom prst="rect">
            <a:avLst/>
          </a:prstGeom>
        </p:spPr>
        <p:txBody>
          <a:bodyPr vert="horz" lIns="0" tIns="36000" rIns="0" bIns="36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000" y="1268412"/>
            <a:ext cx="11232000" cy="5221288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B3BDF47-8BA7-457A-B0B8-78A1D81795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3604" y="6456691"/>
            <a:ext cx="1686713" cy="324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169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78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732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78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microsoft.com/office/2007/relationships/hdphoto" Target="../media/hdphoto1.wdp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svg"/><Relationship Id="rId13" Type="http://schemas.openxmlformats.org/officeDocument/2006/relationships/image" Target="../media/image6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8.png"/><Relationship Id="rId12" Type="http://schemas.openxmlformats.org/officeDocument/2006/relationships/image" Target="../media/image63.sv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20.xml"/><Relationship Id="rId6" Type="http://schemas.openxmlformats.org/officeDocument/2006/relationships/image" Target="../media/image3.emf"/><Relationship Id="rId11" Type="http://schemas.openxmlformats.org/officeDocument/2006/relationships/image" Target="../media/image62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61.svg"/><Relationship Id="rId4" Type="http://schemas.openxmlformats.org/officeDocument/2006/relationships/image" Target="../media/image57.jpeg"/><Relationship Id="rId9" Type="http://schemas.openxmlformats.org/officeDocument/2006/relationships/image" Target="../media/image60.png"/><Relationship Id="rId14" Type="http://schemas.openxmlformats.org/officeDocument/2006/relationships/image" Target="../media/image6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2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22.xml"/><Relationship Id="rId6" Type="http://schemas.openxmlformats.org/officeDocument/2006/relationships/image" Target="../media/image6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2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7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69.jpg"/><Relationship Id="rId4" Type="http://schemas.openxmlformats.org/officeDocument/2006/relationships/image" Target="../media/image6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5" Type="http://schemas.microsoft.com/office/2007/relationships/hdphoto" Target="../media/hdphoto1.wdp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24.xml"/><Relationship Id="rId4" Type="http://schemas.openxmlformats.org/officeDocument/2006/relationships/image" Target="../media/image2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7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3.xml"/><Relationship Id="rId21" Type="http://schemas.openxmlformats.org/officeDocument/2006/relationships/tags" Target="../tags/tag28.xml"/><Relationship Id="rId42" Type="http://schemas.openxmlformats.org/officeDocument/2006/relationships/tags" Target="../tags/tag49.xml"/><Relationship Id="rId47" Type="http://schemas.openxmlformats.org/officeDocument/2006/relationships/tags" Target="../tags/tag54.xml"/><Relationship Id="rId63" Type="http://schemas.openxmlformats.org/officeDocument/2006/relationships/tags" Target="../tags/tag70.xml"/><Relationship Id="rId68" Type="http://schemas.openxmlformats.org/officeDocument/2006/relationships/tags" Target="../tags/tag75.xml"/><Relationship Id="rId84" Type="http://schemas.openxmlformats.org/officeDocument/2006/relationships/tags" Target="../tags/tag91.xml"/><Relationship Id="rId89" Type="http://schemas.openxmlformats.org/officeDocument/2006/relationships/tags" Target="../tags/tag96.xml"/><Relationship Id="rId16" Type="http://schemas.openxmlformats.org/officeDocument/2006/relationships/tags" Target="../tags/tag23.xml"/><Relationship Id="rId11" Type="http://schemas.openxmlformats.org/officeDocument/2006/relationships/tags" Target="../tags/tag18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53" Type="http://schemas.openxmlformats.org/officeDocument/2006/relationships/tags" Target="../tags/tag60.xml"/><Relationship Id="rId58" Type="http://schemas.openxmlformats.org/officeDocument/2006/relationships/tags" Target="../tags/tag65.xml"/><Relationship Id="rId74" Type="http://schemas.openxmlformats.org/officeDocument/2006/relationships/tags" Target="../tags/tag81.xml"/><Relationship Id="rId79" Type="http://schemas.openxmlformats.org/officeDocument/2006/relationships/tags" Target="../tags/tag86.xml"/><Relationship Id="rId5" Type="http://schemas.openxmlformats.org/officeDocument/2006/relationships/tags" Target="../tags/tag12.xml"/><Relationship Id="rId90" Type="http://schemas.openxmlformats.org/officeDocument/2006/relationships/tags" Target="../tags/tag97.xml"/><Relationship Id="rId95" Type="http://schemas.openxmlformats.org/officeDocument/2006/relationships/chart" Target="../charts/chart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43" Type="http://schemas.openxmlformats.org/officeDocument/2006/relationships/tags" Target="../tags/tag50.xml"/><Relationship Id="rId48" Type="http://schemas.openxmlformats.org/officeDocument/2006/relationships/tags" Target="../tags/tag55.xml"/><Relationship Id="rId64" Type="http://schemas.openxmlformats.org/officeDocument/2006/relationships/tags" Target="../tags/tag71.xml"/><Relationship Id="rId69" Type="http://schemas.openxmlformats.org/officeDocument/2006/relationships/tags" Target="../tags/tag76.xml"/><Relationship Id="rId8" Type="http://schemas.openxmlformats.org/officeDocument/2006/relationships/tags" Target="../tags/tag15.xml"/><Relationship Id="rId51" Type="http://schemas.openxmlformats.org/officeDocument/2006/relationships/tags" Target="../tags/tag58.xml"/><Relationship Id="rId72" Type="http://schemas.openxmlformats.org/officeDocument/2006/relationships/tags" Target="../tags/tag79.xml"/><Relationship Id="rId80" Type="http://schemas.openxmlformats.org/officeDocument/2006/relationships/tags" Target="../tags/tag87.xml"/><Relationship Id="rId85" Type="http://schemas.openxmlformats.org/officeDocument/2006/relationships/tags" Target="../tags/tag92.xml"/><Relationship Id="rId93" Type="http://schemas.openxmlformats.org/officeDocument/2006/relationships/oleObject" Target="../embeddings/oleObject6.bin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46" Type="http://schemas.openxmlformats.org/officeDocument/2006/relationships/tags" Target="../tags/tag53.xml"/><Relationship Id="rId59" Type="http://schemas.openxmlformats.org/officeDocument/2006/relationships/tags" Target="../tags/tag66.xml"/><Relationship Id="rId67" Type="http://schemas.openxmlformats.org/officeDocument/2006/relationships/tags" Target="../tags/tag74.xml"/><Relationship Id="rId20" Type="http://schemas.openxmlformats.org/officeDocument/2006/relationships/tags" Target="../tags/tag27.xml"/><Relationship Id="rId41" Type="http://schemas.openxmlformats.org/officeDocument/2006/relationships/tags" Target="../tags/tag48.xml"/><Relationship Id="rId54" Type="http://schemas.openxmlformats.org/officeDocument/2006/relationships/tags" Target="../tags/tag61.xml"/><Relationship Id="rId62" Type="http://schemas.openxmlformats.org/officeDocument/2006/relationships/tags" Target="../tags/tag69.xml"/><Relationship Id="rId70" Type="http://schemas.openxmlformats.org/officeDocument/2006/relationships/tags" Target="../tags/tag77.xml"/><Relationship Id="rId75" Type="http://schemas.openxmlformats.org/officeDocument/2006/relationships/tags" Target="../tags/tag82.xml"/><Relationship Id="rId83" Type="http://schemas.openxmlformats.org/officeDocument/2006/relationships/tags" Target="../tags/tag90.xml"/><Relationship Id="rId88" Type="http://schemas.openxmlformats.org/officeDocument/2006/relationships/tags" Target="../tags/tag95.xml"/><Relationship Id="rId91" Type="http://schemas.openxmlformats.org/officeDocument/2006/relationships/tags" Target="../tags/tag98.xml"/><Relationship Id="rId96" Type="http://schemas.openxmlformats.org/officeDocument/2006/relationships/chart" Target="../charts/chart2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49" Type="http://schemas.openxmlformats.org/officeDocument/2006/relationships/tags" Target="../tags/tag56.xml"/><Relationship Id="rId57" Type="http://schemas.openxmlformats.org/officeDocument/2006/relationships/tags" Target="../tags/tag64.xml"/><Relationship Id="rId10" Type="http://schemas.openxmlformats.org/officeDocument/2006/relationships/tags" Target="../tags/tag17.xml"/><Relationship Id="rId31" Type="http://schemas.openxmlformats.org/officeDocument/2006/relationships/tags" Target="../tags/tag38.xml"/><Relationship Id="rId44" Type="http://schemas.openxmlformats.org/officeDocument/2006/relationships/tags" Target="../tags/tag51.xml"/><Relationship Id="rId52" Type="http://schemas.openxmlformats.org/officeDocument/2006/relationships/tags" Target="../tags/tag59.xml"/><Relationship Id="rId60" Type="http://schemas.openxmlformats.org/officeDocument/2006/relationships/tags" Target="../tags/tag67.xml"/><Relationship Id="rId65" Type="http://schemas.openxmlformats.org/officeDocument/2006/relationships/tags" Target="../tags/tag72.xml"/><Relationship Id="rId73" Type="http://schemas.openxmlformats.org/officeDocument/2006/relationships/tags" Target="../tags/tag80.xml"/><Relationship Id="rId78" Type="http://schemas.openxmlformats.org/officeDocument/2006/relationships/tags" Target="../tags/tag85.xml"/><Relationship Id="rId81" Type="http://schemas.openxmlformats.org/officeDocument/2006/relationships/tags" Target="../tags/tag88.xml"/><Relationship Id="rId86" Type="http://schemas.openxmlformats.org/officeDocument/2006/relationships/tags" Target="../tags/tag93.xml"/><Relationship Id="rId94" Type="http://schemas.openxmlformats.org/officeDocument/2006/relationships/image" Target="../media/image3.emf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9" Type="http://schemas.openxmlformats.org/officeDocument/2006/relationships/tags" Target="../tags/tag46.xml"/><Relationship Id="rId34" Type="http://schemas.openxmlformats.org/officeDocument/2006/relationships/tags" Target="../tags/tag41.xml"/><Relationship Id="rId50" Type="http://schemas.openxmlformats.org/officeDocument/2006/relationships/tags" Target="../tags/tag57.xml"/><Relationship Id="rId55" Type="http://schemas.openxmlformats.org/officeDocument/2006/relationships/tags" Target="../tags/tag62.xml"/><Relationship Id="rId76" Type="http://schemas.openxmlformats.org/officeDocument/2006/relationships/tags" Target="../tags/tag83.xml"/><Relationship Id="rId7" Type="http://schemas.openxmlformats.org/officeDocument/2006/relationships/tags" Target="../tags/tag14.xml"/><Relationship Id="rId71" Type="http://schemas.openxmlformats.org/officeDocument/2006/relationships/tags" Target="../tags/tag78.xml"/><Relationship Id="rId92" Type="http://schemas.openxmlformats.org/officeDocument/2006/relationships/slideLayout" Target="../slideLayouts/slideLayout17.xml"/><Relationship Id="rId2" Type="http://schemas.openxmlformats.org/officeDocument/2006/relationships/tags" Target="../tags/tag9.xml"/><Relationship Id="rId29" Type="http://schemas.openxmlformats.org/officeDocument/2006/relationships/tags" Target="../tags/tag36.xml"/><Relationship Id="rId24" Type="http://schemas.openxmlformats.org/officeDocument/2006/relationships/tags" Target="../tags/tag31.xml"/><Relationship Id="rId40" Type="http://schemas.openxmlformats.org/officeDocument/2006/relationships/tags" Target="../tags/tag47.xml"/><Relationship Id="rId45" Type="http://schemas.openxmlformats.org/officeDocument/2006/relationships/tags" Target="../tags/tag52.xml"/><Relationship Id="rId66" Type="http://schemas.openxmlformats.org/officeDocument/2006/relationships/tags" Target="../tags/tag73.xml"/><Relationship Id="rId87" Type="http://schemas.openxmlformats.org/officeDocument/2006/relationships/tags" Target="../tags/tag94.xml"/><Relationship Id="rId61" Type="http://schemas.openxmlformats.org/officeDocument/2006/relationships/tags" Target="../tags/tag68.xml"/><Relationship Id="rId82" Type="http://schemas.openxmlformats.org/officeDocument/2006/relationships/tags" Target="../tags/tag89.xml"/><Relationship Id="rId19" Type="http://schemas.openxmlformats.org/officeDocument/2006/relationships/tags" Target="../tags/tag26.xml"/><Relationship Id="rId14" Type="http://schemas.openxmlformats.org/officeDocument/2006/relationships/tags" Target="../tags/tag21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56" Type="http://schemas.openxmlformats.org/officeDocument/2006/relationships/tags" Target="../tags/tag63.xml"/><Relationship Id="rId77" Type="http://schemas.openxmlformats.org/officeDocument/2006/relationships/tags" Target="../tags/tag84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tags" Target="../tags/tag124.xml"/><Relationship Id="rId39" Type="http://schemas.openxmlformats.org/officeDocument/2006/relationships/tags" Target="../tags/tag137.xml"/><Relationship Id="rId21" Type="http://schemas.openxmlformats.org/officeDocument/2006/relationships/tags" Target="../tags/tag119.xml"/><Relationship Id="rId34" Type="http://schemas.openxmlformats.org/officeDocument/2006/relationships/tags" Target="../tags/tag132.xml"/><Relationship Id="rId42" Type="http://schemas.openxmlformats.org/officeDocument/2006/relationships/tags" Target="../tags/tag140.xml"/><Relationship Id="rId47" Type="http://schemas.openxmlformats.org/officeDocument/2006/relationships/chart" Target="../charts/chart3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9" Type="http://schemas.openxmlformats.org/officeDocument/2006/relationships/tags" Target="../tags/tag127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tags" Target="../tags/tag135.xml"/><Relationship Id="rId40" Type="http://schemas.openxmlformats.org/officeDocument/2006/relationships/tags" Target="../tags/tag138.xml"/><Relationship Id="rId45" Type="http://schemas.openxmlformats.org/officeDocument/2006/relationships/oleObject" Target="../embeddings/oleObject7.bin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tags" Target="../tags/tag134.xml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31" Type="http://schemas.openxmlformats.org/officeDocument/2006/relationships/tags" Target="../tags/tag129.xml"/><Relationship Id="rId44" Type="http://schemas.microsoft.com/office/2018/10/relationships/comments" Target="../comments/modernComment_7FFE68D6_D5871361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tags" Target="../tags/tag133.xml"/><Relationship Id="rId43" Type="http://schemas.openxmlformats.org/officeDocument/2006/relationships/slideLayout" Target="../slideLayouts/slideLayout17.xml"/><Relationship Id="rId8" Type="http://schemas.openxmlformats.org/officeDocument/2006/relationships/tags" Target="../tags/tag106.xml"/><Relationship Id="rId3" Type="http://schemas.openxmlformats.org/officeDocument/2006/relationships/tags" Target="../tags/tag101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46" Type="http://schemas.openxmlformats.org/officeDocument/2006/relationships/image" Target="../media/image3.emf"/><Relationship Id="rId20" Type="http://schemas.openxmlformats.org/officeDocument/2006/relationships/tags" Target="../tags/tag118.xml"/><Relationship Id="rId41" Type="http://schemas.openxmlformats.org/officeDocument/2006/relationships/tags" Target="../tags/tag139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tags" Target="../tags/tag166.xml"/><Relationship Id="rId39" Type="http://schemas.openxmlformats.org/officeDocument/2006/relationships/tags" Target="../tags/tag179.xml"/><Relationship Id="rId21" Type="http://schemas.openxmlformats.org/officeDocument/2006/relationships/tags" Target="../tags/tag161.xml"/><Relationship Id="rId34" Type="http://schemas.openxmlformats.org/officeDocument/2006/relationships/tags" Target="../tags/tag174.xml"/><Relationship Id="rId42" Type="http://schemas.openxmlformats.org/officeDocument/2006/relationships/tags" Target="../tags/tag182.xml"/><Relationship Id="rId7" Type="http://schemas.openxmlformats.org/officeDocument/2006/relationships/tags" Target="../tags/tag147.xml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9" Type="http://schemas.openxmlformats.org/officeDocument/2006/relationships/tags" Target="../tags/tag169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tags" Target="../tags/tag164.xml"/><Relationship Id="rId32" Type="http://schemas.openxmlformats.org/officeDocument/2006/relationships/tags" Target="../tags/tag172.xml"/><Relationship Id="rId37" Type="http://schemas.openxmlformats.org/officeDocument/2006/relationships/tags" Target="../tags/tag177.xml"/><Relationship Id="rId40" Type="http://schemas.openxmlformats.org/officeDocument/2006/relationships/tags" Target="../tags/tag180.xml"/><Relationship Id="rId45" Type="http://schemas.openxmlformats.org/officeDocument/2006/relationships/image" Target="../media/image3.emf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tags" Target="../tags/tag168.xml"/><Relationship Id="rId36" Type="http://schemas.openxmlformats.org/officeDocument/2006/relationships/tags" Target="../tags/tag176.xml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31" Type="http://schemas.openxmlformats.org/officeDocument/2006/relationships/tags" Target="../tags/tag171.xml"/><Relationship Id="rId44" Type="http://schemas.openxmlformats.org/officeDocument/2006/relationships/oleObject" Target="../embeddings/oleObject8.bin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tags" Target="../tags/tag167.xml"/><Relationship Id="rId30" Type="http://schemas.openxmlformats.org/officeDocument/2006/relationships/tags" Target="../tags/tag170.xml"/><Relationship Id="rId35" Type="http://schemas.openxmlformats.org/officeDocument/2006/relationships/tags" Target="../tags/tag175.xml"/><Relationship Id="rId43" Type="http://schemas.openxmlformats.org/officeDocument/2006/relationships/slideLayout" Target="../slideLayouts/slideLayout17.xml"/><Relationship Id="rId8" Type="http://schemas.openxmlformats.org/officeDocument/2006/relationships/tags" Target="../tags/tag148.xml"/><Relationship Id="rId3" Type="http://schemas.openxmlformats.org/officeDocument/2006/relationships/tags" Target="../tags/tag143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tags" Target="../tags/tag165.xml"/><Relationship Id="rId33" Type="http://schemas.openxmlformats.org/officeDocument/2006/relationships/tags" Target="../tags/tag173.xml"/><Relationship Id="rId38" Type="http://schemas.openxmlformats.org/officeDocument/2006/relationships/tags" Target="../tags/tag178.xml"/><Relationship Id="rId46" Type="http://schemas.openxmlformats.org/officeDocument/2006/relationships/chart" Target="../charts/chart4.xml"/><Relationship Id="rId20" Type="http://schemas.openxmlformats.org/officeDocument/2006/relationships/tags" Target="../tags/tag160.xml"/><Relationship Id="rId41" Type="http://schemas.openxmlformats.org/officeDocument/2006/relationships/tags" Target="../tags/tag18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7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png"/><Relationship Id="rId18" Type="http://schemas.openxmlformats.org/officeDocument/2006/relationships/image" Target="../media/image37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17" Type="http://schemas.openxmlformats.org/officeDocument/2006/relationships/image" Target="../media/image36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35.svg"/><Relationship Id="rId1" Type="http://schemas.openxmlformats.org/officeDocument/2006/relationships/tags" Target="../tags/tag183.xml"/><Relationship Id="rId6" Type="http://schemas.openxmlformats.org/officeDocument/2006/relationships/image" Target="../media/image25.sv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svg"/><Relationship Id="rId19" Type="http://schemas.openxmlformats.org/officeDocument/2006/relationships/image" Target="../media/image38.jpeg"/><Relationship Id="rId4" Type="http://schemas.openxmlformats.org/officeDocument/2006/relationships/image" Target="../media/image3.emf"/><Relationship Id="rId9" Type="http://schemas.openxmlformats.org/officeDocument/2006/relationships/image" Target="../media/image28.png"/><Relationship Id="rId14" Type="http://schemas.openxmlformats.org/officeDocument/2006/relationships/image" Target="../media/image33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3" Type="http://schemas.openxmlformats.org/officeDocument/2006/relationships/oleObject" Target="../embeddings/oleObject10.bin"/><Relationship Id="rId21" Type="http://schemas.openxmlformats.org/officeDocument/2006/relationships/image" Target="../media/image55.svg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17" Type="http://schemas.openxmlformats.org/officeDocument/2006/relationships/image" Target="../media/image51.sv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50.png"/><Relationship Id="rId20" Type="http://schemas.openxmlformats.org/officeDocument/2006/relationships/image" Target="../media/image54.svg"/><Relationship Id="rId1" Type="http://schemas.openxmlformats.org/officeDocument/2006/relationships/tags" Target="../tags/tag184.xml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5" Type="http://schemas.openxmlformats.org/officeDocument/2006/relationships/image" Target="../media/image49.svg"/><Relationship Id="rId10" Type="http://schemas.openxmlformats.org/officeDocument/2006/relationships/image" Target="../media/image44.svg"/><Relationship Id="rId19" Type="http://schemas.openxmlformats.org/officeDocument/2006/relationships/image" Target="../media/image53.svg"/><Relationship Id="rId4" Type="http://schemas.openxmlformats.org/officeDocument/2006/relationships/image" Target="../media/image3.emf"/><Relationship Id="rId9" Type="http://schemas.openxmlformats.org/officeDocument/2006/relationships/image" Target="../media/image43.png"/><Relationship Id="rId14" Type="http://schemas.openxmlformats.org/officeDocument/2006/relationships/image" Target="../media/image48.svg"/><Relationship Id="rId22" Type="http://schemas.openxmlformats.org/officeDocument/2006/relationships/image" Target="../media/image56.sv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97.xml"/><Relationship Id="rId18" Type="http://schemas.openxmlformats.org/officeDocument/2006/relationships/tags" Target="../tags/tag202.xml"/><Relationship Id="rId26" Type="http://schemas.openxmlformats.org/officeDocument/2006/relationships/tags" Target="../tags/tag210.xml"/><Relationship Id="rId39" Type="http://schemas.openxmlformats.org/officeDocument/2006/relationships/image" Target="../media/image3.emf"/><Relationship Id="rId21" Type="http://schemas.openxmlformats.org/officeDocument/2006/relationships/tags" Target="../tags/tag205.xml"/><Relationship Id="rId34" Type="http://schemas.openxmlformats.org/officeDocument/2006/relationships/tags" Target="../tags/tag218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tags" Target="../tags/tag201.xml"/><Relationship Id="rId25" Type="http://schemas.openxmlformats.org/officeDocument/2006/relationships/tags" Target="../tags/tag209.xml"/><Relationship Id="rId33" Type="http://schemas.openxmlformats.org/officeDocument/2006/relationships/tags" Target="../tags/tag217.xml"/><Relationship Id="rId38" Type="http://schemas.openxmlformats.org/officeDocument/2006/relationships/oleObject" Target="../embeddings/oleObject11.bin"/><Relationship Id="rId2" Type="http://schemas.openxmlformats.org/officeDocument/2006/relationships/tags" Target="../tags/tag186.xml"/><Relationship Id="rId16" Type="http://schemas.openxmlformats.org/officeDocument/2006/relationships/tags" Target="../tags/tag200.xml"/><Relationship Id="rId20" Type="http://schemas.openxmlformats.org/officeDocument/2006/relationships/tags" Target="../tags/tag204.xml"/><Relationship Id="rId29" Type="http://schemas.openxmlformats.org/officeDocument/2006/relationships/tags" Target="../tags/tag213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24" Type="http://schemas.openxmlformats.org/officeDocument/2006/relationships/tags" Target="../tags/tag208.xml"/><Relationship Id="rId32" Type="http://schemas.openxmlformats.org/officeDocument/2006/relationships/tags" Target="../tags/tag216.xml"/><Relationship Id="rId37" Type="http://schemas.openxmlformats.org/officeDocument/2006/relationships/notesSlide" Target="../notesSlides/notesSlide1.xml"/><Relationship Id="rId40" Type="http://schemas.openxmlformats.org/officeDocument/2006/relationships/chart" Target="../charts/chart5.xml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23" Type="http://schemas.openxmlformats.org/officeDocument/2006/relationships/tags" Target="../tags/tag207.xml"/><Relationship Id="rId28" Type="http://schemas.openxmlformats.org/officeDocument/2006/relationships/tags" Target="../tags/tag212.xml"/><Relationship Id="rId36" Type="http://schemas.openxmlformats.org/officeDocument/2006/relationships/slideLayout" Target="../slideLayouts/slideLayout17.xml"/><Relationship Id="rId10" Type="http://schemas.openxmlformats.org/officeDocument/2006/relationships/tags" Target="../tags/tag194.xml"/><Relationship Id="rId19" Type="http://schemas.openxmlformats.org/officeDocument/2006/relationships/tags" Target="../tags/tag203.xml"/><Relationship Id="rId31" Type="http://schemas.openxmlformats.org/officeDocument/2006/relationships/tags" Target="../tags/tag215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Relationship Id="rId22" Type="http://schemas.openxmlformats.org/officeDocument/2006/relationships/tags" Target="../tags/tag206.xml"/><Relationship Id="rId27" Type="http://schemas.openxmlformats.org/officeDocument/2006/relationships/tags" Target="../tags/tag211.xml"/><Relationship Id="rId30" Type="http://schemas.openxmlformats.org/officeDocument/2006/relationships/tags" Target="../tags/tag214.xml"/><Relationship Id="rId35" Type="http://schemas.openxmlformats.org/officeDocument/2006/relationships/tags" Target="../tags/tag219.xml"/><Relationship Id="rId8" Type="http://schemas.openxmlformats.org/officeDocument/2006/relationships/tags" Target="../tags/tag192.xml"/><Relationship Id="rId3" Type="http://schemas.openxmlformats.org/officeDocument/2006/relationships/tags" Target="../tags/tag1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vehicle, land vehicle, wheel, tire&#10;&#10;Description automatically generated">
            <a:extLst>
              <a:ext uri="{FF2B5EF4-FFF2-40B4-BE49-F238E27FC236}">
                <a16:creationId xmlns:a16="http://schemas.microsoft.com/office/drawing/2014/main" id="{3CF6131F-CE84-A578-51E3-5CD99191EBF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157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82F7E02-AD86-63CA-E7D7-20FF25589A49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tx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Arial" panose="020B0604020202020204" pitchFamily="34" charset="0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4C2F26-7611-4CE9-A64A-82507227F9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4C2F26-7611-4CE9-A64A-82507227F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E78187F-8B5D-B277-D21A-EA1072AB4D9B}"/>
              </a:ext>
            </a:extLst>
          </p:cNvPr>
          <p:cNvSpPr txBox="1"/>
          <p:nvPr/>
        </p:nvSpPr>
        <p:spPr>
          <a:xfrm>
            <a:off x="-338447" y="2487881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endParaRPr lang="en-US" sz="16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EC99239-7550-7F16-C2F4-6D27E3EDFEBC}"/>
              </a:ext>
            </a:extLst>
          </p:cNvPr>
          <p:cNvSpPr txBox="1">
            <a:spLocks/>
          </p:cNvSpPr>
          <p:nvPr/>
        </p:nvSpPr>
        <p:spPr>
          <a:xfrm>
            <a:off x="419100" y="2396595"/>
            <a:ext cx="8430986" cy="23196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Hatch presents:</a:t>
            </a:r>
            <a:br>
              <a:rPr lang="en-US" sz="4250" dirty="0"/>
            </a:br>
            <a:r>
              <a:rPr lang="en-US" sz="3600" b="1" dirty="0">
                <a:solidFill>
                  <a:schemeClr val="bg1"/>
                </a:solidFill>
              </a:rPr>
              <a:t>Developing Battery Minerals Value Chain – Global Experiences and Best Practice</a:t>
            </a:r>
            <a:endParaRPr lang="en-US" sz="3600" b="1" dirty="0">
              <a:solidFill>
                <a:schemeClr val="bg1"/>
              </a:solidFill>
              <a:ea typeface="Source Sans Pro Light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347B7D0-886E-9624-EC5A-DCA379952BB6}"/>
              </a:ext>
            </a:extLst>
          </p:cNvPr>
          <p:cNvSpPr txBox="1">
            <a:spLocks/>
          </p:cNvSpPr>
          <p:nvPr/>
        </p:nvSpPr>
        <p:spPr>
          <a:xfrm>
            <a:off x="403098" y="4400577"/>
            <a:ext cx="11385804" cy="13865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sz="2667" kern="1200">
                <a:solidFill>
                  <a:schemeClr val="tx2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609585" indent="0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accent5">
                    <a:lumMod val="20000"/>
                    <a:lumOff val="80000"/>
                  </a:schemeClr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May 31</a:t>
            </a:r>
            <a:r>
              <a:rPr lang="en-US" sz="1600" baseline="30000" dirty="0">
                <a:solidFill>
                  <a:schemeClr val="accent5">
                    <a:lumMod val="20000"/>
                    <a:lumOff val="80000"/>
                  </a:schemeClr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st</a:t>
            </a:r>
            <a:r>
              <a:rPr lang="en-US" sz="1600" dirty="0">
                <a:solidFill>
                  <a:schemeClr val="accent5">
                    <a:lumMod val="20000"/>
                    <a:lumOff val="80000"/>
                  </a:schemeClr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, 2023</a:t>
            </a:r>
          </a:p>
          <a:p>
            <a:r>
              <a:rPr lang="en-US" sz="1600" dirty="0">
                <a:solidFill>
                  <a:schemeClr val="accent5">
                    <a:lumMod val="20000"/>
                    <a:lumOff val="80000"/>
                  </a:schemeClr>
                </a:solidFill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The Chamber of Mines of Zimbabwe 2023 Annual Mining Conference, Exhibition and AGM </a:t>
            </a:r>
          </a:p>
          <a:p>
            <a:r>
              <a:rPr lang="en-US" sz="1600">
                <a:solidFill>
                  <a:schemeClr val="accent1"/>
                </a:solidFill>
                <a:latin typeface="Arial"/>
                <a:cs typeface="Arial"/>
              </a:rPr>
              <a:t>Unleashing the Growth Potential of the Battery Minerals Value Chain Symposium</a:t>
            </a:r>
          </a:p>
          <a:p>
            <a:r>
              <a:rPr lang="en-US" sz="1600" dirty="0">
                <a:solidFill>
                  <a:schemeClr val="accent5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ctoria Falls, Zimbabw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FBE08CB-8BB6-5878-D94E-F45B4411D3C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3604" y="6456691"/>
            <a:ext cx="1686713" cy="32410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366E9BA-54E9-F074-F0FE-E6883F5AAABA}"/>
              </a:ext>
            </a:extLst>
          </p:cNvPr>
          <p:cNvSpPr txBox="1"/>
          <p:nvPr/>
        </p:nvSpPr>
        <p:spPr>
          <a:xfrm>
            <a:off x="479424" y="6575039"/>
            <a:ext cx="2093522" cy="1958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lvl="0" indent="0" algn="r">
              <a:lnSpc>
                <a:spcPct val="100000"/>
              </a:lnSpc>
              <a:spcBef>
                <a:spcPts val="600"/>
              </a:spcBef>
              <a:buFont typeface="Arial"/>
              <a:buNone/>
              <a:defRPr sz="800"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l"/>
            <a:r>
              <a:rPr lang="en-US" dirty="0">
                <a:solidFill>
                  <a:schemeClr val="bg1"/>
                </a:solidFill>
              </a:rPr>
              <a:t>Copyright © Hatch 2023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44229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8" name="Picture 757" descr="A picture containing nature, outdoor, mountain, geology&#10;&#10;Description automatically generated">
            <a:extLst>
              <a:ext uri="{FF2B5EF4-FFF2-40B4-BE49-F238E27FC236}">
                <a16:creationId xmlns:a16="http://schemas.microsoft.com/office/drawing/2014/main" id="{ABECC92F-37C4-0D1B-8BD0-7CEC22A230F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836009"/>
          </a:xfrm>
          <a:prstGeom prst="rect">
            <a:avLst/>
          </a:prstGeom>
        </p:spPr>
      </p:pic>
      <p:sp>
        <p:nvSpPr>
          <p:cNvPr id="759" name="Rectangle 758">
            <a:extLst>
              <a:ext uri="{FF2B5EF4-FFF2-40B4-BE49-F238E27FC236}">
                <a16:creationId xmlns:a16="http://schemas.microsoft.com/office/drawing/2014/main" id="{52A67937-7C16-EDB8-206E-D33CDFBE56DB}"/>
              </a:ext>
            </a:extLst>
          </p:cNvPr>
          <p:cNvSpPr/>
          <p:nvPr/>
        </p:nvSpPr>
        <p:spPr>
          <a:xfrm>
            <a:off x="0" y="0"/>
            <a:ext cx="12192000" cy="1836009"/>
          </a:xfrm>
          <a:prstGeom prst="rect">
            <a:avLst/>
          </a:prstGeom>
          <a:solidFill>
            <a:schemeClr val="accent2">
              <a:alpha val="6468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41" name="Rectangle 640">
            <a:extLst>
              <a:ext uri="{FF2B5EF4-FFF2-40B4-BE49-F238E27FC236}">
                <a16:creationId xmlns:a16="http://schemas.microsoft.com/office/drawing/2014/main" id="{BCFE09E0-7C5C-1736-FA9D-0428F83C25C1}"/>
              </a:ext>
            </a:extLst>
          </p:cNvPr>
          <p:cNvSpPr/>
          <p:nvPr/>
        </p:nvSpPr>
        <p:spPr>
          <a:xfrm>
            <a:off x="419101" y="1514128"/>
            <a:ext cx="4122920" cy="5302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011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dirty="0">
                <a:solidFill>
                  <a:schemeClr val="bg1"/>
                </a:solidFill>
              </a:rPr>
              <a:t>There is an opportunity for the continent to reimagine its role in the </a:t>
            </a:r>
            <a:br>
              <a:rPr lang="en-ZA" dirty="0">
                <a:solidFill>
                  <a:schemeClr val="bg1"/>
                </a:solidFill>
              </a:rPr>
            </a:br>
            <a:r>
              <a:rPr lang="en-ZA" dirty="0">
                <a:solidFill>
                  <a:schemeClr val="bg1"/>
                </a:solidFill>
              </a:rPr>
              <a:t>supply chai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7E6DCF-7B83-6799-1FEB-9FEF062B8546}"/>
              </a:ext>
            </a:extLst>
          </p:cNvPr>
          <p:cNvSpPr txBox="1"/>
          <p:nvPr/>
        </p:nvSpPr>
        <p:spPr>
          <a:xfrm>
            <a:off x="755885" y="1568048"/>
            <a:ext cx="516861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3" name="Box">
            <a:extLst>
              <a:ext uri="{FF2B5EF4-FFF2-40B4-BE49-F238E27FC236}">
                <a16:creationId xmlns:a16="http://schemas.microsoft.com/office/drawing/2014/main" id="{45B39E26-538C-17CD-F621-093B5FC3C5B0}"/>
              </a:ext>
            </a:extLst>
          </p:cNvPr>
          <p:cNvSpPr/>
          <p:nvPr/>
        </p:nvSpPr>
        <p:spPr>
          <a:xfrm>
            <a:off x="1458204" y="2104699"/>
            <a:ext cx="2471040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Explor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32C4DF9-EFA5-93CA-27A0-B8D5EEE57693}"/>
              </a:ext>
            </a:extLst>
          </p:cNvPr>
          <p:cNvGrpSpPr/>
          <p:nvPr/>
        </p:nvGrpSpPr>
        <p:grpSpPr>
          <a:xfrm>
            <a:off x="1541147" y="2182318"/>
            <a:ext cx="309873" cy="324823"/>
            <a:chOff x="9050338" y="4841875"/>
            <a:chExt cx="361950" cy="379412"/>
          </a:xfrm>
        </p:grpSpPr>
        <p:sp>
          <p:nvSpPr>
            <p:cNvPr id="12" name="Freeform 881">
              <a:extLst>
                <a:ext uri="{FF2B5EF4-FFF2-40B4-BE49-F238E27FC236}">
                  <a16:creationId xmlns:a16="http://schemas.microsoft.com/office/drawing/2014/main" id="{A8C6FE74-00C9-E1BC-1B8E-FF21DD65DD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97963" y="4889500"/>
              <a:ext cx="192088" cy="193675"/>
            </a:xfrm>
            <a:custGeom>
              <a:avLst/>
              <a:gdLst>
                <a:gd name="T0" fmla="*/ 150 w 188"/>
                <a:gd name="T1" fmla="*/ 172 h 189"/>
                <a:gd name="T2" fmla="*/ 172 w 188"/>
                <a:gd name="T3" fmla="*/ 150 h 189"/>
                <a:gd name="T4" fmla="*/ 148 w 188"/>
                <a:gd name="T5" fmla="*/ 126 h 189"/>
                <a:gd name="T6" fmla="*/ 155 w 188"/>
                <a:gd name="T7" fmla="*/ 110 h 189"/>
                <a:gd name="T8" fmla="*/ 188 w 188"/>
                <a:gd name="T9" fmla="*/ 110 h 189"/>
                <a:gd name="T10" fmla="*/ 188 w 188"/>
                <a:gd name="T11" fmla="*/ 79 h 189"/>
                <a:gd name="T12" fmla="*/ 155 w 188"/>
                <a:gd name="T13" fmla="*/ 79 h 189"/>
                <a:gd name="T14" fmla="*/ 148 w 188"/>
                <a:gd name="T15" fmla="*/ 63 h 189"/>
                <a:gd name="T16" fmla="*/ 172 w 188"/>
                <a:gd name="T17" fmla="*/ 39 h 189"/>
                <a:gd name="T18" fmla="*/ 150 w 188"/>
                <a:gd name="T19" fmla="*/ 17 h 189"/>
                <a:gd name="T20" fmla="*/ 126 w 188"/>
                <a:gd name="T21" fmla="*/ 41 h 189"/>
                <a:gd name="T22" fmla="*/ 110 w 188"/>
                <a:gd name="T23" fmla="*/ 34 h 189"/>
                <a:gd name="T24" fmla="*/ 110 w 188"/>
                <a:gd name="T25" fmla="*/ 0 h 189"/>
                <a:gd name="T26" fmla="*/ 79 w 188"/>
                <a:gd name="T27" fmla="*/ 0 h 189"/>
                <a:gd name="T28" fmla="*/ 79 w 188"/>
                <a:gd name="T29" fmla="*/ 34 h 189"/>
                <a:gd name="T30" fmla="*/ 63 w 188"/>
                <a:gd name="T31" fmla="*/ 41 h 189"/>
                <a:gd name="T32" fmla="*/ 39 w 188"/>
                <a:gd name="T33" fmla="*/ 17 h 189"/>
                <a:gd name="T34" fmla="*/ 17 w 188"/>
                <a:gd name="T35" fmla="*/ 39 h 189"/>
                <a:gd name="T36" fmla="*/ 41 w 188"/>
                <a:gd name="T37" fmla="*/ 63 h 189"/>
                <a:gd name="T38" fmla="*/ 34 w 188"/>
                <a:gd name="T39" fmla="*/ 79 h 189"/>
                <a:gd name="T40" fmla="*/ 0 w 188"/>
                <a:gd name="T41" fmla="*/ 79 h 189"/>
                <a:gd name="T42" fmla="*/ 0 w 188"/>
                <a:gd name="T43" fmla="*/ 110 h 189"/>
                <a:gd name="T44" fmla="*/ 34 w 188"/>
                <a:gd name="T45" fmla="*/ 110 h 189"/>
                <a:gd name="T46" fmla="*/ 41 w 188"/>
                <a:gd name="T47" fmla="*/ 126 h 189"/>
                <a:gd name="T48" fmla="*/ 17 w 188"/>
                <a:gd name="T49" fmla="*/ 150 h 189"/>
                <a:gd name="T50" fmla="*/ 39 w 188"/>
                <a:gd name="T51" fmla="*/ 172 h 189"/>
                <a:gd name="T52" fmla="*/ 63 w 188"/>
                <a:gd name="T53" fmla="*/ 148 h 189"/>
                <a:gd name="T54" fmla="*/ 79 w 188"/>
                <a:gd name="T55" fmla="*/ 155 h 189"/>
                <a:gd name="T56" fmla="*/ 79 w 188"/>
                <a:gd name="T57" fmla="*/ 189 h 189"/>
                <a:gd name="T58" fmla="*/ 110 w 188"/>
                <a:gd name="T59" fmla="*/ 189 h 189"/>
                <a:gd name="T60" fmla="*/ 110 w 188"/>
                <a:gd name="T61" fmla="*/ 155 h 189"/>
                <a:gd name="T62" fmla="*/ 126 w 188"/>
                <a:gd name="T63" fmla="*/ 148 h 189"/>
                <a:gd name="T64" fmla="*/ 150 w 188"/>
                <a:gd name="T65" fmla="*/ 172 h 189"/>
                <a:gd name="T66" fmla="*/ 94 w 188"/>
                <a:gd name="T67" fmla="*/ 126 h 189"/>
                <a:gd name="T68" fmla="*/ 63 w 188"/>
                <a:gd name="T69" fmla="*/ 94 h 189"/>
                <a:gd name="T70" fmla="*/ 94 w 188"/>
                <a:gd name="T71" fmla="*/ 63 h 189"/>
                <a:gd name="T72" fmla="*/ 126 w 188"/>
                <a:gd name="T73" fmla="*/ 94 h 189"/>
                <a:gd name="T74" fmla="*/ 94 w 188"/>
                <a:gd name="T75" fmla="*/ 12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89">
                  <a:moveTo>
                    <a:pt x="150" y="172"/>
                  </a:moveTo>
                  <a:cubicBezTo>
                    <a:pt x="172" y="150"/>
                    <a:pt x="172" y="150"/>
                    <a:pt x="172" y="150"/>
                  </a:cubicBezTo>
                  <a:cubicBezTo>
                    <a:pt x="148" y="126"/>
                    <a:pt x="148" y="126"/>
                    <a:pt x="148" y="126"/>
                  </a:cubicBezTo>
                  <a:cubicBezTo>
                    <a:pt x="151" y="121"/>
                    <a:pt x="153" y="116"/>
                    <a:pt x="155" y="110"/>
                  </a:cubicBezTo>
                  <a:cubicBezTo>
                    <a:pt x="188" y="110"/>
                    <a:pt x="188" y="110"/>
                    <a:pt x="188" y="110"/>
                  </a:cubicBezTo>
                  <a:cubicBezTo>
                    <a:pt x="188" y="79"/>
                    <a:pt x="188" y="79"/>
                    <a:pt x="188" y="79"/>
                  </a:cubicBezTo>
                  <a:cubicBezTo>
                    <a:pt x="155" y="79"/>
                    <a:pt x="155" y="79"/>
                    <a:pt x="155" y="79"/>
                  </a:cubicBezTo>
                  <a:cubicBezTo>
                    <a:pt x="153" y="73"/>
                    <a:pt x="151" y="68"/>
                    <a:pt x="148" y="63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50" y="17"/>
                    <a:pt x="150" y="17"/>
                    <a:pt x="150" y="17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1" y="38"/>
                    <a:pt x="116" y="35"/>
                    <a:pt x="110" y="3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3" y="35"/>
                    <a:pt x="68" y="38"/>
                    <a:pt x="63" y="41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8" y="68"/>
                    <a:pt x="35" y="73"/>
                    <a:pt x="34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6"/>
                    <a:pt x="38" y="121"/>
                    <a:pt x="41" y="126"/>
                  </a:cubicBezTo>
                  <a:cubicBezTo>
                    <a:pt x="17" y="150"/>
                    <a:pt x="17" y="150"/>
                    <a:pt x="17" y="150"/>
                  </a:cubicBezTo>
                  <a:cubicBezTo>
                    <a:pt x="39" y="172"/>
                    <a:pt x="39" y="172"/>
                    <a:pt x="39" y="172"/>
                  </a:cubicBezTo>
                  <a:cubicBezTo>
                    <a:pt x="63" y="148"/>
                    <a:pt x="63" y="148"/>
                    <a:pt x="63" y="148"/>
                  </a:cubicBezTo>
                  <a:cubicBezTo>
                    <a:pt x="68" y="151"/>
                    <a:pt x="73" y="153"/>
                    <a:pt x="79" y="155"/>
                  </a:cubicBezTo>
                  <a:cubicBezTo>
                    <a:pt x="79" y="189"/>
                    <a:pt x="79" y="189"/>
                    <a:pt x="79" y="189"/>
                  </a:cubicBezTo>
                  <a:cubicBezTo>
                    <a:pt x="110" y="189"/>
                    <a:pt x="110" y="189"/>
                    <a:pt x="110" y="189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6" y="153"/>
                    <a:pt x="121" y="151"/>
                    <a:pt x="126" y="148"/>
                  </a:cubicBezTo>
                  <a:lnTo>
                    <a:pt x="150" y="172"/>
                  </a:lnTo>
                  <a:close/>
                  <a:moveTo>
                    <a:pt x="94" y="126"/>
                  </a:moveTo>
                  <a:cubicBezTo>
                    <a:pt x="77" y="126"/>
                    <a:pt x="63" y="112"/>
                    <a:pt x="63" y="94"/>
                  </a:cubicBezTo>
                  <a:cubicBezTo>
                    <a:pt x="63" y="77"/>
                    <a:pt x="77" y="63"/>
                    <a:pt x="94" y="63"/>
                  </a:cubicBezTo>
                  <a:cubicBezTo>
                    <a:pt x="112" y="63"/>
                    <a:pt x="126" y="77"/>
                    <a:pt x="126" y="94"/>
                  </a:cubicBezTo>
                  <a:cubicBezTo>
                    <a:pt x="126" y="112"/>
                    <a:pt x="112" y="126"/>
                    <a:pt x="94" y="126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882">
              <a:extLst>
                <a:ext uri="{FF2B5EF4-FFF2-40B4-BE49-F238E27FC236}">
                  <a16:creationId xmlns:a16="http://schemas.microsoft.com/office/drawing/2014/main" id="{C0B914C8-B855-6BDD-6A66-1D7D4A8BA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0338" y="4841875"/>
              <a:ext cx="361950" cy="379412"/>
            </a:xfrm>
            <a:custGeom>
              <a:avLst/>
              <a:gdLst>
                <a:gd name="T0" fmla="*/ 282 w 356"/>
                <a:gd name="T1" fmla="*/ 141 h 372"/>
                <a:gd name="T2" fmla="*/ 141 w 356"/>
                <a:gd name="T3" fmla="*/ 0 h 372"/>
                <a:gd name="T4" fmla="*/ 0 w 356"/>
                <a:gd name="T5" fmla="*/ 141 h 372"/>
                <a:gd name="T6" fmla="*/ 141 w 356"/>
                <a:gd name="T7" fmla="*/ 283 h 372"/>
                <a:gd name="T8" fmla="*/ 220 w 356"/>
                <a:gd name="T9" fmla="*/ 258 h 372"/>
                <a:gd name="T10" fmla="*/ 334 w 356"/>
                <a:gd name="T11" fmla="*/ 372 h 372"/>
                <a:gd name="T12" fmla="*/ 356 w 356"/>
                <a:gd name="T13" fmla="*/ 350 h 372"/>
                <a:gd name="T14" fmla="*/ 244 w 356"/>
                <a:gd name="T15" fmla="*/ 238 h 372"/>
                <a:gd name="T16" fmla="*/ 282 w 356"/>
                <a:gd name="T17" fmla="*/ 141 h 372"/>
                <a:gd name="T18" fmla="*/ 22 w 356"/>
                <a:gd name="T19" fmla="*/ 141 h 372"/>
                <a:gd name="T20" fmla="*/ 141 w 356"/>
                <a:gd name="T21" fmla="*/ 22 h 372"/>
                <a:gd name="T22" fmla="*/ 261 w 356"/>
                <a:gd name="T23" fmla="*/ 141 h 372"/>
                <a:gd name="T24" fmla="*/ 141 w 356"/>
                <a:gd name="T25" fmla="*/ 261 h 372"/>
                <a:gd name="T26" fmla="*/ 22 w 356"/>
                <a:gd name="T27" fmla="*/ 14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6" h="372">
                  <a:moveTo>
                    <a:pt x="282" y="141"/>
                  </a:moveTo>
                  <a:cubicBezTo>
                    <a:pt x="282" y="64"/>
                    <a:pt x="219" y="0"/>
                    <a:pt x="141" y="0"/>
                  </a:cubicBezTo>
                  <a:cubicBezTo>
                    <a:pt x="64" y="0"/>
                    <a:pt x="0" y="64"/>
                    <a:pt x="0" y="141"/>
                  </a:cubicBezTo>
                  <a:cubicBezTo>
                    <a:pt x="0" y="219"/>
                    <a:pt x="64" y="283"/>
                    <a:pt x="141" y="283"/>
                  </a:cubicBezTo>
                  <a:cubicBezTo>
                    <a:pt x="171" y="283"/>
                    <a:pt x="198" y="274"/>
                    <a:pt x="220" y="258"/>
                  </a:cubicBezTo>
                  <a:cubicBezTo>
                    <a:pt x="334" y="372"/>
                    <a:pt x="334" y="372"/>
                    <a:pt x="334" y="372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244" y="238"/>
                    <a:pt x="244" y="238"/>
                    <a:pt x="244" y="238"/>
                  </a:cubicBezTo>
                  <a:cubicBezTo>
                    <a:pt x="268" y="213"/>
                    <a:pt x="282" y="179"/>
                    <a:pt x="282" y="141"/>
                  </a:cubicBezTo>
                  <a:close/>
                  <a:moveTo>
                    <a:pt x="22" y="141"/>
                  </a:moveTo>
                  <a:cubicBezTo>
                    <a:pt x="22" y="76"/>
                    <a:pt x="75" y="22"/>
                    <a:pt x="141" y="22"/>
                  </a:cubicBezTo>
                  <a:cubicBezTo>
                    <a:pt x="207" y="22"/>
                    <a:pt x="261" y="76"/>
                    <a:pt x="261" y="141"/>
                  </a:cubicBezTo>
                  <a:cubicBezTo>
                    <a:pt x="261" y="207"/>
                    <a:pt x="207" y="261"/>
                    <a:pt x="141" y="261"/>
                  </a:cubicBezTo>
                  <a:cubicBezTo>
                    <a:pt x="75" y="261"/>
                    <a:pt x="22" y="207"/>
                    <a:pt x="22" y="141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Box">
            <a:extLst>
              <a:ext uri="{FF2B5EF4-FFF2-40B4-BE49-F238E27FC236}">
                <a16:creationId xmlns:a16="http://schemas.microsoft.com/office/drawing/2014/main" id="{7DB70E1D-0F1A-71F1-15DD-F08BB6CCD66D}"/>
              </a:ext>
            </a:extLst>
          </p:cNvPr>
          <p:cNvSpPr/>
          <p:nvPr/>
        </p:nvSpPr>
        <p:spPr>
          <a:xfrm>
            <a:off x="1458204" y="2884175"/>
            <a:ext cx="2471040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Mining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7DEEA82-2549-3F8D-67C0-669F4FB65B33}"/>
              </a:ext>
            </a:extLst>
          </p:cNvPr>
          <p:cNvGrpSpPr/>
          <p:nvPr/>
        </p:nvGrpSpPr>
        <p:grpSpPr>
          <a:xfrm>
            <a:off x="1560713" y="2920379"/>
            <a:ext cx="361951" cy="342345"/>
            <a:chOff x="3010761" y="2762934"/>
            <a:chExt cx="391569" cy="370359"/>
          </a:xfrm>
        </p:grpSpPr>
        <p:sp>
          <p:nvSpPr>
            <p:cNvPr id="15" name="Oval 187">
              <a:extLst>
                <a:ext uri="{FF2B5EF4-FFF2-40B4-BE49-F238E27FC236}">
                  <a16:creationId xmlns:a16="http://schemas.microsoft.com/office/drawing/2014/main" id="{403907B5-A1A4-4450-247A-DAA0D18C2C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2916" y="2762934"/>
              <a:ext cx="68525" cy="66894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88">
              <a:extLst>
                <a:ext uri="{FF2B5EF4-FFF2-40B4-BE49-F238E27FC236}">
                  <a16:creationId xmlns:a16="http://schemas.microsoft.com/office/drawing/2014/main" id="{EAAD8772-410B-01FA-0DF4-D1866A90A1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0761" y="2818406"/>
              <a:ext cx="391569" cy="314887"/>
            </a:xfrm>
            <a:custGeom>
              <a:avLst/>
              <a:gdLst>
                <a:gd name="T0" fmla="*/ 38 w 166"/>
                <a:gd name="T1" fmla="*/ 98 h 133"/>
                <a:gd name="T2" fmla="*/ 35 w 166"/>
                <a:gd name="T3" fmla="*/ 80 h 133"/>
                <a:gd name="T4" fmla="*/ 50 w 166"/>
                <a:gd name="T5" fmla="*/ 98 h 133"/>
                <a:gd name="T6" fmla="*/ 33 w 166"/>
                <a:gd name="T7" fmla="*/ 133 h 133"/>
                <a:gd name="T8" fmla="*/ 50 w 166"/>
                <a:gd name="T9" fmla="*/ 133 h 133"/>
                <a:gd name="T10" fmla="*/ 67 w 166"/>
                <a:gd name="T11" fmla="*/ 93 h 133"/>
                <a:gd name="T12" fmla="*/ 45 w 166"/>
                <a:gd name="T13" fmla="*/ 63 h 133"/>
                <a:gd name="T14" fmla="*/ 49 w 166"/>
                <a:gd name="T15" fmla="*/ 56 h 133"/>
                <a:gd name="T16" fmla="*/ 112 w 166"/>
                <a:gd name="T17" fmla="*/ 102 h 133"/>
                <a:gd name="T18" fmla="*/ 104 w 166"/>
                <a:gd name="T19" fmla="*/ 110 h 133"/>
                <a:gd name="T20" fmla="*/ 102 w 166"/>
                <a:gd name="T21" fmla="*/ 110 h 133"/>
                <a:gd name="T22" fmla="*/ 91 w 166"/>
                <a:gd name="T23" fmla="*/ 122 h 133"/>
                <a:gd name="T24" fmla="*/ 91 w 166"/>
                <a:gd name="T25" fmla="*/ 122 h 133"/>
                <a:gd name="T26" fmla="*/ 88 w 166"/>
                <a:gd name="T27" fmla="*/ 122 h 133"/>
                <a:gd name="T28" fmla="*/ 79 w 166"/>
                <a:gd name="T29" fmla="*/ 131 h 133"/>
                <a:gd name="T30" fmla="*/ 80 w 166"/>
                <a:gd name="T31" fmla="*/ 133 h 133"/>
                <a:gd name="T32" fmla="*/ 166 w 166"/>
                <a:gd name="T33" fmla="*/ 133 h 133"/>
                <a:gd name="T34" fmla="*/ 166 w 166"/>
                <a:gd name="T35" fmla="*/ 131 h 133"/>
                <a:gd name="T36" fmla="*/ 158 w 166"/>
                <a:gd name="T37" fmla="*/ 122 h 133"/>
                <a:gd name="T38" fmla="*/ 155 w 166"/>
                <a:gd name="T39" fmla="*/ 122 h 133"/>
                <a:gd name="T40" fmla="*/ 155 w 166"/>
                <a:gd name="T41" fmla="*/ 122 h 133"/>
                <a:gd name="T42" fmla="*/ 143 w 166"/>
                <a:gd name="T43" fmla="*/ 110 h 133"/>
                <a:gd name="T44" fmla="*/ 141 w 166"/>
                <a:gd name="T45" fmla="*/ 110 h 133"/>
                <a:gd name="T46" fmla="*/ 123 w 166"/>
                <a:gd name="T47" fmla="*/ 98 h 133"/>
                <a:gd name="T48" fmla="*/ 112 w 166"/>
                <a:gd name="T49" fmla="*/ 101 h 133"/>
                <a:gd name="T50" fmla="*/ 82 w 166"/>
                <a:gd name="T51" fmla="*/ 80 h 133"/>
                <a:gd name="T52" fmla="*/ 73 w 166"/>
                <a:gd name="T53" fmla="*/ 53 h 133"/>
                <a:gd name="T54" fmla="*/ 73 w 166"/>
                <a:gd name="T55" fmla="*/ 17 h 133"/>
                <a:gd name="T56" fmla="*/ 44 w 166"/>
                <a:gd name="T57" fmla="*/ 0 h 133"/>
                <a:gd name="T58" fmla="*/ 9 w 166"/>
                <a:gd name="T59" fmla="*/ 0 h 133"/>
                <a:gd name="T60" fmla="*/ 6 w 166"/>
                <a:gd name="T61" fmla="*/ 25 h 133"/>
                <a:gd name="T62" fmla="*/ 0 w 166"/>
                <a:gd name="T63" fmla="*/ 21 h 133"/>
                <a:gd name="T64" fmla="*/ 0 w 166"/>
                <a:gd name="T65" fmla="*/ 21 h 133"/>
                <a:gd name="T66" fmla="*/ 23 w 166"/>
                <a:gd name="T67" fmla="*/ 38 h 133"/>
                <a:gd name="T68" fmla="*/ 15 w 166"/>
                <a:gd name="T69" fmla="*/ 52 h 133"/>
                <a:gd name="T70" fmla="*/ 21 w 166"/>
                <a:gd name="T71" fmla="*/ 93 h 133"/>
                <a:gd name="T72" fmla="*/ 0 w 166"/>
                <a:gd name="T73" fmla="*/ 133 h 133"/>
                <a:gd name="T74" fmla="*/ 15 w 166"/>
                <a:gd name="T75" fmla="*/ 133 h 133"/>
                <a:gd name="T76" fmla="*/ 38 w 166"/>
                <a:gd name="T77" fmla="*/ 98 h 133"/>
                <a:gd name="T78" fmla="*/ 62 w 166"/>
                <a:gd name="T79" fmla="*/ 36 h 133"/>
                <a:gd name="T80" fmla="*/ 62 w 166"/>
                <a:gd name="T81" fmla="*/ 58 h 133"/>
                <a:gd name="T82" fmla="*/ 21 w 166"/>
                <a:gd name="T83" fmla="*/ 29 h 133"/>
                <a:gd name="T84" fmla="*/ 21 w 166"/>
                <a:gd name="T85" fmla="*/ 11 h 133"/>
                <a:gd name="T86" fmla="*/ 37 w 166"/>
                <a:gd name="T87" fmla="*/ 11 h 133"/>
                <a:gd name="T88" fmla="*/ 25 w 166"/>
                <a:gd name="T89" fmla="*/ 32 h 133"/>
                <a:gd name="T90" fmla="*/ 21 w 166"/>
                <a:gd name="T91" fmla="*/ 2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6" h="133">
                  <a:moveTo>
                    <a:pt x="38" y="98"/>
                  </a:moveTo>
                  <a:cubicBezTo>
                    <a:pt x="35" y="80"/>
                    <a:pt x="35" y="80"/>
                    <a:pt x="35" y="80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33" y="133"/>
                    <a:pt x="33" y="133"/>
                    <a:pt x="33" y="133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67" y="93"/>
                    <a:pt x="67" y="93"/>
                    <a:pt x="67" y="9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112" y="102"/>
                    <a:pt x="112" y="102"/>
                    <a:pt x="112" y="102"/>
                  </a:cubicBezTo>
                  <a:cubicBezTo>
                    <a:pt x="109" y="104"/>
                    <a:pt x="106" y="107"/>
                    <a:pt x="104" y="110"/>
                  </a:cubicBezTo>
                  <a:cubicBezTo>
                    <a:pt x="104" y="110"/>
                    <a:pt x="103" y="110"/>
                    <a:pt x="102" y="110"/>
                  </a:cubicBezTo>
                  <a:cubicBezTo>
                    <a:pt x="96" y="110"/>
                    <a:pt x="91" y="115"/>
                    <a:pt x="91" y="122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90" y="122"/>
                    <a:pt x="89" y="122"/>
                    <a:pt x="88" y="122"/>
                  </a:cubicBezTo>
                  <a:cubicBezTo>
                    <a:pt x="83" y="122"/>
                    <a:pt x="79" y="126"/>
                    <a:pt x="79" y="131"/>
                  </a:cubicBezTo>
                  <a:cubicBezTo>
                    <a:pt x="79" y="132"/>
                    <a:pt x="79" y="133"/>
                    <a:pt x="80" y="133"/>
                  </a:cubicBezTo>
                  <a:cubicBezTo>
                    <a:pt x="166" y="133"/>
                    <a:pt x="166" y="133"/>
                    <a:pt x="166" y="133"/>
                  </a:cubicBezTo>
                  <a:cubicBezTo>
                    <a:pt x="166" y="133"/>
                    <a:pt x="166" y="132"/>
                    <a:pt x="166" y="131"/>
                  </a:cubicBezTo>
                  <a:cubicBezTo>
                    <a:pt x="166" y="126"/>
                    <a:pt x="162" y="122"/>
                    <a:pt x="158" y="122"/>
                  </a:cubicBezTo>
                  <a:cubicBezTo>
                    <a:pt x="157" y="122"/>
                    <a:pt x="156" y="122"/>
                    <a:pt x="155" y="122"/>
                  </a:cubicBezTo>
                  <a:cubicBezTo>
                    <a:pt x="155" y="122"/>
                    <a:pt x="155" y="122"/>
                    <a:pt x="155" y="122"/>
                  </a:cubicBezTo>
                  <a:cubicBezTo>
                    <a:pt x="155" y="115"/>
                    <a:pt x="149" y="110"/>
                    <a:pt x="143" y="110"/>
                  </a:cubicBezTo>
                  <a:cubicBezTo>
                    <a:pt x="142" y="110"/>
                    <a:pt x="142" y="110"/>
                    <a:pt x="141" y="110"/>
                  </a:cubicBezTo>
                  <a:cubicBezTo>
                    <a:pt x="138" y="103"/>
                    <a:pt x="131" y="98"/>
                    <a:pt x="123" y="98"/>
                  </a:cubicBezTo>
                  <a:cubicBezTo>
                    <a:pt x="121" y="98"/>
                    <a:pt x="113" y="101"/>
                    <a:pt x="112" y="101"/>
                  </a:cubicBezTo>
                  <a:cubicBezTo>
                    <a:pt x="82" y="80"/>
                    <a:pt x="82" y="80"/>
                    <a:pt x="82" y="80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1" y="93"/>
                    <a:pt x="21" y="93"/>
                    <a:pt x="21" y="93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15" y="133"/>
                    <a:pt x="15" y="133"/>
                    <a:pt x="15" y="133"/>
                  </a:cubicBezTo>
                  <a:lnTo>
                    <a:pt x="38" y="98"/>
                  </a:lnTo>
                  <a:close/>
                  <a:moveTo>
                    <a:pt x="62" y="36"/>
                  </a:moveTo>
                  <a:cubicBezTo>
                    <a:pt x="62" y="58"/>
                    <a:pt x="62" y="58"/>
                    <a:pt x="62" y="58"/>
                  </a:cubicBezTo>
                  <a:moveTo>
                    <a:pt x="21" y="29"/>
                  </a:moveTo>
                  <a:cubicBezTo>
                    <a:pt x="21" y="11"/>
                    <a:pt x="21" y="11"/>
                    <a:pt x="21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25" y="32"/>
                    <a:pt x="25" y="32"/>
                    <a:pt x="25" y="32"/>
                  </a:cubicBezTo>
                  <a:lnTo>
                    <a:pt x="21" y="29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" name="Box">
            <a:extLst>
              <a:ext uri="{FF2B5EF4-FFF2-40B4-BE49-F238E27FC236}">
                <a16:creationId xmlns:a16="http://schemas.microsoft.com/office/drawing/2014/main" id="{2B2C87FC-A4DA-FBA4-A6A6-04BCE2E409A5}"/>
              </a:ext>
            </a:extLst>
          </p:cNvPr>
          <p:cNvSpPr/>
          <p:nvPr/>
        </p:nvSpPr>
        <p:spPr>
          <a:xfrm>
            <a:off x="1458204" y="3652772"/>
            <a:ext cx="2471040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Concentratio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5D8AF84-7D64-E3A9-0304-B08DF363F3A9}"/>
              </a:ext>
            </a:extLst>
          </p:cNvPr>
          <p:cNvGrpSpPr/>
          <p:nvPr/>
        </p:nvGrpSpPr>
        <p:grpSpPr>
          <a:xfrm>
            <a:off x="1541147" y="3764234"/>
            <a:ext cx="356033" cy="279608"/>
            <a:chOff x="5485143" y="5839960"/>
            <a:chExt cx="626411" cy="49194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79CE30F-E38B-992C-8482-7AAA1798BFE0}"/>
                </a:ext>
              </a:extLst>
            </p:cNvPr>
            <p:cNvGrpSpPr/>
            <p:nvPr/>
          </p:nvGrpSpPr>
          <p:grpSpPr>
            <a:xfrm>
              <a:off x="5485143" y="6038981"/>
              <a:ext cx="626411" cy="292926"/>
              <a:chOff x="8045400" y="3790347"/>
              <a:chExt cx="383452" cy="179312"/>
            </a:xfrm>
          </p:grpSpPr>
          <p:sp>
            <p:nvSpPr>
              <p:cNvPr id="20" name="Freeform 66">
                <a:extLst>
                  <a:ext uri="{FF2B5EF4-FFF2-40B4-BE49-F238E27FC236}">
                    <a16:creationId xmlns:a16="http://schemas.microsoft.com/office/drawing/2014/main" id="{6904FB11-C7DB-71BB-676C-099675F30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6895" y="3832647"/>
                <a:ext cx="331957" cy="137012"/>
              </a:xfrm>
              <a:custGeom>
                <a:avLst/>
                <a:gdLst>
                  <a:gd name="T0" fmla="*/ 0 w 150"/>
                  <a:gd name="T1" fmla="*/ 50 h 62"/>
                  <a:gd name="T2" fmla="*/ 31 w 150"/>
                  <a:gd name="T3" fmla="*/ 31 h 62"/>
                  <a:gd name="T4" fmla="*/ 66 w 150"/>
                  <a:gd name="T5" fmla="*/ 53 h 62"/>
                  <a:gd name="T6" fmla="*/ 89 w 150"/>
                  <a:gd name="T7" fmla="*/ 56 h 62"/>
                  <a:gd name="T8" fmla="*/ 100 w 150"/>
                  <a:gd name="T9" fmla="*/ 50 h 62"/>
                  <a:gd name="T10" fmla="*/ 143 w 150"/>
                  <a:gd name="T11" fmla="*/ 19 h 62"/>
                  <a:gd name="T12" fmla="*/ 148 w 150"/>
                  <a:gd name="T13" fmla="*/ 6 h 62"/>
                  <a:gd name="T14" fmla="*/ 148 w 150"/>
                  <a:gd name="T15" fmla="*/ 6 h 62"/>
                  <a:gd name="T16" fmla="*/ 134 w 150"/>
                  <a:gd name="T17" fmla="*/ 3 h 62"/>
                  <a:gd name="T18" fmla="*/ 96 w 150"/>
                  <a:gd name="T19" fmla="*/ 1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62">
                    <a:moveTo>
                      <a:pt x="0" y="50"/>
                    </a:moveTo>
                    <a:cubicBezTo>
                      <a:pt x="31" y="31"/>
                      <a:pt x="31" y="31"/>
                      <a:pt x="31" y="31"/>
                    </a:cubicBezTo>
                    <a:cubicBezTo>
                      <a:pt x="31" y="31"/>
                      <a:pt x="53" y="44"/>
                      <a:pt x="66" y="53"/>
                    </a:cubicBezTo>
                    <a:cubicBezTo>
                      <a:pt x="78" y="62"/>
                      <a:pt x="89" y="56"/>
                      <a:pt x="89" y="56"/>
                    </a:cubicBezTo>
                    <a:cubicBezTo>
                      <a:pt x="100" y="50"/>
                      <a:pt x="100" y="50"/>
                      <a:pt x="100" y="50"/>
                    </a:cubicBezTo>
                    <a:cubicBezTo>
                      <a:pt x="143" y="19"/>
                      <a:pt x="143" y="19"/>
                      <a:pt x="143" y="19"/>
                    </a:cubicBezTo>
                    <a:cubicBezTo>
                      <a:pt x="148" y="17"/>
                      <a:pt x="150" y="11"/>
                      <a:pt x="148" y="6"/>
                    </a:cubicBezTo>
                    <a:cubicBezTo>
                      <a:pt x="148" y="6"/>
                      <a:pt x="148" y="6"/>
                      <a:pt x="148" y="6"/>
                    </a:cubicBezTo>
                    <a:cubicBezTo>
                      <a:pt x="145" y="2"/>
                      <a:pt x="139" y="0"/>
                      <a:pt x="134" y="3"/>
                    </a:cubicBezTo>
                    <a:cubicBezTo>
                      <a:pt x="96" y="19"/>
                      <a:pt x="96" y="19"/>
                      <a:pt x="96" y="19"/>
                    </a:cubicBezTo>
                  </a:path>
                </a:pathLst>
              </a:custGeom>
              <a:noFill/>
              <a:ln w="952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67">
                <a:extLst>
                  <a:ext uri="{FF2B5EF4-FFF2-40B4-BE49-F238E27FC236}">
                    <a16:creationId xmlns:a16="http://schemas.microsoft.com/office/drawing/2014/main" id="{CCD83300-5F29-5FD2-3C07-15E3DDDAD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6895" y="3790347"/>
                <a:ext cx="214255" cy="113104"/>
              </a:xfrm>
              <a:custGeom>
                <a:avLst/>
                <a:gdLst>
                  <a:gd name="T0" fmla="*/ 60 w 97"/>
                  <a:gd name="T1" fmla="*/ 37 h 51"/>
                  <a:gd name="T2" fmla="*/ 78 w 97"/>
                  <a:gd name="T3" fmla="*/ 48 h 51"/>
                  <a:gd name="T4" fmla="*/ 94 w 97"/>
                  <a:gd name="T5" fmla="*/ 45 h 51"/>
                  <a:gd name="T6" fmla="*/ 94 w 97"/>
                  <a:gd name="T7" fmla="*/ 45 h 51"/>
                  <a:gd name="T8" fmla="*/ 90 w 97"/>
                  <a:gd name="T9" fmla="*/ 29 h 51"/>
                  <a:gd name="T10" fmla="*/ 62 w 97"/>
                  <a:gd name="T11" fmla="*/ 11 h 51"/>
                  <a:gd name="T12" fmla="*/ 24 w 97"/>
                  <a:gd name="T13" fmla="*/ 16 h 51"/>
                  <a:gd name="T14" fmla="*/ 0 w 97"/>
                  <a:gd name="T15" fmla="*/ 3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51">
                    <a:moveTo>
                      <a:pt x="60" y="37"/>
                    </a:moveTo>
                    <a:cubicBezTo>
                      <a:pt x="78" y="48"/>
                      <a:pt x="78" y="48"/>
                      <a:pt x="78" y="48"/>
                    </a:cubicBezTo>
                    <a:cubicBezTo>
                      <a:pt x="84" y="51"/>
                      <a:pt x="91" y="50"/>
                      <a:pt x="94" y="45"/>
                    </a:cubicBezTo>
                    <a:cubicBezTo>
                      <a:pt x="94" y="45"/>
                      <a:pt x="94" y="45"/>
                      <a:pt x="94" y="45"/>
                    </a:cubicBezTo>
                    <a:cubicBezTo>
                      <a:pt x="97" y="39"/>
                      <a:pt x="96" y="32"/>
                      <a:pt x="90" y="29"/>
                    </a:cubicBezTo>
                    <a:cubicBezTo>
                      <a:pt x="62" y="11"/>
                      <a:pt x="62" y="11"/>
                      <a:pt x="62" y="11"/>
                    </a:cubicBezTo>
                    <a:cubicBezTo>
                      <a:pt x="62" y="11"/>
                      <a:pt x="50" y="0"/>
                      <a:pt x="24" y="16"/>
                    </a:cubicBezTo>
                    <a:cubicBezTo>
                      <a:pt x="0" y="31"/>
                      <a:pt x="0" y="31"/>
                      <a:pt x="0" y="31"/>
                    </a:cubicBezTo>
                  </a:path>
                </a:pathLst>
              </a:custGeom>
              <a:noFill/>
              <a:ln w="952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Rectangle 68">
                <a:extLst>
                  <a:ext uri="{FF2B5EF4-FFF2-40B4-BE49-F238E27FC236}">
                    <a16:creationId xmlns:a16="http://schemas.microsoft.com/office/drawing/2014/main" id="{C72EBF0D-2148-ACEC-587D-75BA73BBB1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45400" y="3839083"/>
                <a:ext cx="48736" cy="113104"/>
              </a:xfrm>
              <a:prstGeom prst="rect">
                <a:avLst/>
              </a:prstGeom>
              <a:noFill/>
              <a:ln w="952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9" name="Freeform 879">
              <a:extLst>
                <a:ext uri="{FF2B5EF4-FFF2-40B4-BE49-F238E27FC236}">
                  <a16:creationId xmlns:a16="http://schemas.microsoft.com/office/drawing/2014/main" id="{D326192E-2510-407C-04BD-9C04E39F0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3727" y="5839960"/>
              <a:ext cx="240785" cy="242298"/>
            </a:xfrm>
            <a:custGeom>
              <a:avLst/>
              <a:gdLst>
                <a:gd name="T0" fmla="*/ 50 w 248"/>
                <a:gd name="T1" fmla="*/ 172 h 248"/>
                <a:gd name="T2" fmla="*/ 24 w 248"/>
                <a:gd name="T3" fmla="*/ 199 h 248"/>
                <a:gd name="T4" fmla="*/ 49 w 248"/>
                <a:gd name="T5" fmla="*/ 224 h 248"/>
                <a:gd name="T6" fmla="*/ 75 w 248"/>
                <a:gd name="T7" fmla="*/ 197 h 248"/>
                <a:gd name="T8" fmla="*/ 106 w 248"/>
                <a:gd name="T9" fmla="*/ 210 h 248"/>
                <a:gd name="T10" fmla="*/ 106 w 248"/>
                <a:gd name="T11" fmla="*/ 248 h 248"/>
                <a:gd name="T12" fmla="*/ 142 w 248"/>
                <a:gd name="T13" fmla="*/ 248 h 248"/>
                <a:gd name="T14" fmla="*/ 142 w 248"/>
                <a:gd name="T15" fmla="*/ 210 h 248"/>
                <a:gd name="T16" fmla="*/ 173 w 248"/>
                <a:gd name="T17" fmla="*/ 197 h 248"/>
                <a:gd name="T18" fmla="*/ 199 w 248"/>
                <a:gd name="T19" fmla="*/ 224 h 248"/>
                <a:gd name="T20" fmla="*/ 224 w 248"/>
                <a:gd name="T21" fmla="*/ 199 h 248"/>
                <a:gd name="T22" fmla="*/ 198 w 248"/>
                <a:gd name="T23" fmla="*/ 172 h 248"/>
                <a:gd name="T24" fmla="*/ 211 w 248"/>
                <a:gd name="T25" fmla="*/ 141 h 248"/>
                <a:gd name="T26" fmla="*/ 248 w 248"/>
                <a:gd name="T27" fmla="*/ 141 h 248"/>
                <a:gd name="T28" fmla="*/ 248 w 248"/>
                <a:gd name="T29" fmla="*/ 106 h 248"/>
                <a:gd name="T30" fmla="*/ 211 w 248"/>
                <a:gd name="T31" fmla="*/ 106 h 248"/>
                <a:gd name="T32" fmla="*/ 198 w 248"/>
                <a:gd name="T33" fmla="*/ 75 h 248"/>
                <a:gd name="T34" fmla="*/ 224 w 248"/>
                <a:gd name="T35" fmla="*/ 49 h 248"/>
                <a:gd name="T36" fmla="*/ 199 w 248"/>
                <a:gd name="T37" fmla="*/ 23 h 248"/>
                <a:gd name="T38" fmla="*/ 173 w 248"/>
                <a:gd name="T39" fmla="*/ 50 h 248"/>
                <a:gd name="T40" fmla="*/ 142 w 248"/>
                <a:gd name="T41" fmla="*/ 37 h 248"/>
                <a:gd name="T42" fmla="*/ 142 w 248"/>
                <a:gd name="T43" fmla="*/ 0 h 248"/>
                <a:gd name="T44" fmla="*/ 106 w 248"/>
                <a:gd name="T45" fmla="*/ 0 h 248"/>
                <a:gd name="T46" fmla="*/ 106 w 248"/>
                <a:gd name="T47" fmla="*/ 37 h 248"/>
                <a:gd name="T48" fmla="*/ 75 w 248"/>
                <a:gd name="T49" fmla="*/ 50 h 248"/>
                <a:gd name="T50" fmla="*/ 49 w 248"/>
                <a:gd name="T51" fmla="*/ 23 h 248"/>
                <a:gd name="T52" fmla="*/ 24 w 248"/>
                <a:gd name="T53" fmla="*/ 49 h 248"/>
                <a:gd name="T54" fmla="*/ 50 w 248"/>
                <a:gd name="T55" fmla="*/ 75 h 248"/>
                <a:gd name="T56" fmla="*/ 37 w 248"/>
                <a:gd name="T57" fmla="*/ 106 h 248"/>
                <a:gd name="T58" fmla="*/ 0 w 248"/>
                <a:gd name="T59" fmla="*/ 106 h 248"/>
                <a:gd name="T60" fmla="*/ 0 w 248"/>
                <a:gd name="T61" fmla="*/ 141 h 248"/>
                <a:gd name="T62" fmla="*/ 37 w 248"/>
                <a:gd name="T63" fmla="*/ 141 h 248"/>
                <a:gd name="T64" fmla="*/ 50 w 248"/>
                <a:gd name="T65" fmla="*/ 172 h 248"/>
                <a:gd name="T66" fmla="*/ 124 w 248"/>
                <a:gd name="T67" fmla="*/ 71 h 248"/>
                <a:gd name="T68" fmla="*/ 177 w 248"/>
                <a:gd name="T69" fmla="*/ 124 h 248"/>
                <a:gd name="T70" fmla="*/ 124 w 248"/>
                <a:gd name="T71" fmla="*/ 177 h 248"/>
                <a:gd name="T72" fmla="*/ 71 w 248"/>
                <a:gd name="T73" fmla="*/ 124 h 248"/>
                <a:gd name="T74" fmla="*/ 124 w 248"/>
                <a:gd name="T75" fmla="*/ 7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8" h="248">
                  <a:moveTo>
                    <a:pt x="50" y="172"/>
                  </a:moveTo>
                  <a:cubicBezTo>
                    <a:pt x="24" y="199"/>
                    <a:pt x="24" y="199"/>
                    <a:pt x="24" y="199"/>
                  </a:cubicBezTo>
                  <a:cubicBezTo>
                    <a:pt x="49" y="224"/>
                    <a:pt x="49" y="224"/>
                    <a:pt x="49" y="224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85" y="204"/>
                    <a:pt x="95" y="208"/>
                    <a:pt x="106" y="210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42" y="248"/>
                    <a:pt x="142" y="248"/>
                    <a:pt x="142" y="248"/>
                  </a:cubicBezTo>
                  <a:cubicBezTo>
                    <a:pt x="142" y="210"/>
                    <a:pt x="142" y="210"/>
                    <a:pt x="142" y="210"/>
                  </a:cubicBezTo>
                  <a:cubicBezTo>
                    <a:pt x="153" y="208"/>
                    <a:pt x="163" y="204"/>
                    <a:pt x="173" y="197"/>
                  </a:cubicBezTo>
                  <a:cubicBezTo>
                    <a:pt x="199" y="224"/>
                    <a:pt x="199" y="224"/>
                    <a:pt x="199" y="224"/>
                  </a:cubicBezTo>
                  <a:cubicBezTo>
                    <a:pt x="224" y="199"/>
                    <a:pt x="224" y="199"/>
                    <a:pt x="224" y="199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204" y="163"/>
                    <a:pt x="208" y="153"/>
                    <a:pt x="211" y="141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8" y="106"/>
                    <a:pt x="248" y="106"/>
                    <a:pt x="248" y="106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8" y="95"/>
                    <a:pt x="204" y="84"/>
                    <a:pt x="198" y="75"/>
                  </a:cubicBezTo>
                  <a:cubicBezTo>
                    <a:pt x="224" y="49"/>
                    <a:pt x="224" y="49"/>
                    <a:pt x="224" y="49"/>
                  </a:cubicBezTo>
                  <a:cubicBezTo>
                    <a:pt x="199" y="23"/>
                    <a:pt x="199" y="23"/>
                    <a:pt x="199" y="23"/>
                  </a:cubicBezTo>
                  <a:cubicBezTo>
                    <a:pt x="173" y="50"/>
                    <a:pt x="173" y="50"/>
                    <a:pt x="173" y="50"/>
                  </a:cubicBezTo>
                  <a:cubicBezTo>
                    <a:pt x="163" y="44"/>
                    <a:pt x="153" y="39"/>
                    <a:pt x="142" y="37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95" y="39"/>
                    <a:pt x="85" y="44"/>
                    <a:pt x="75" y="50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44" y="84"/>
                    <a:pt x="40" y="95"/>
                    <a:pt x="37" y="10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40" y="153"/>
                    <a:pt x="44" y="163"/>
                    <a:pt x="50" y="172"/>
                  </a:cubicBezTo>
                  <a:close/>
                  <a:moveTo>
                    <a:pt x="124" y="71"/>
                  </a:moveTo>
                  <a:cubicBezTo>
                    <a:pt x="153" y="71"/>
                    <a:pt x="177" y="94"/>
                    <a:pt x="177" y="124"/>
                  </a:cubicBezTo>
                  <a:cubicBezTo>
                    <a:pt x="177" y="153"/>
                    <a:pt x="153" y="177"/>
                    <a:pt x="124" y="177"/>
                  </a:cubicBezTo>
                  <a:cubicBezTo>
                    <a:pt x="95" y="177"/>
                    <a:pt x="71" y="153"/>
                    <a:pt x="71" y="124"/>
                  </a:cubicBezTo>
                  <a:cubicBezTo>
                    <a:pt x="71" y="94"/>
                    <a:pt x="95" y="71"/>
                    <a:pt x="124" y="71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" name="Box">
            <a:extLst>
              <a:ext uri="{FF2B5EF4-FFF2-40B4-BE49-F238E27FC236}">
                <a16:creationId xmlns:a16="http://schemas.microsoft.com/office/drawing/2014/main" id="{BEC09CD2-E695-4546-3003-5BDAF4645E7D}"/>
              </a:ext>
            </a:extLst>
          </p:cNvPr>
          <p:cNvSpPr/>
          <p:nvPr/>
        </p:nvSpPr>
        <p:spPr>
          <a:xfrm>
            <a:off x="1458204" y="5183364"/>
            <a:ext cx="2471040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International Metal trad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D9AAEE1-6B89-6996-95A9-EB87A8C0FFEE}"/>
              </a:ext>
            </a:extLst>
          </p:cNvPr>
          <p:cNvGrpSpPr/>
          <p:nvPr/>
        </p:nvGrpSpPr>
        <p:grpSpPr>
          <a:xfrm>
            <a:off x="1518722" y="5307058"/>
            <a:ext cx="350010" cy="280238"/>
            <a:chOff x="276464" y="2733450"/>
            <a:chExt cx="605619" cy="484894"/>
          </a:xfrm>
        </p:grpSpPr>
        <p:sp>
          <p:nvSpPr>
            <p:cNvPr id="24" name="Freeform 3254">
              <a:extLst>
                <a:ext uri="{FF2B5EF4-FFF2-40B4-BE49-F238E27FC236}">
                  <a16:creationId xmlns:a16="http://schemas.microsoft.com/office/drawing/2014/main" id="{57772616-F7E2-A0CA-63F7-B0808352D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64" y="3079681"/>
              <a:ext cx="284160" cy="138663"/>
            </a:xfrm>
            <a:custGeom>
              <a:avLst/>
              <a:gdLst>
                <a:gd name="T0" fmla="*/ 0 w 998"/>
                <a:gd name="T1" fmla="*/ 0 h 487"/>
                <a:gd name="T2" fmla="*/ 0 w 998"/>
                <a:gd name="T3" fmla="*/ 487 h 487"/>
                <a:gd name="T4" fmla="*/ 998 w 998"/>
                <a:gd name="T5" fmla="*/ 487 h 487"/>
                <a:gd name="T6" fmla="*/ 998 w 998"/>
                <a:gd name="T7" fmla="*/ 0 h 487"/>
                <a:gd name="T8" fmla="*/ 799 w 998"/>
                <a:gd name="T9" fmla="*/ 0 h 487"/>
                <a:gd name="T10" fmla="*/ 799 w 998"/>
                <a:gd name="T11" fmla="*/ 280 h 487"/>
                <a:gd name="T12" fmla="*/ 183 w 998"/>
                <a:gd name="T13" fmla="*/ 280 h 487"/>
                <a:gd name="T14" fmla="*/ 183 w 998"/>
                <a:gd name="T15" fmla="*/ 0 h 487"/>
                <a:gd name="T16" fmla="*/ 0 w 998"/>
                <a:gd name="T1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8" h="487">
                  <a:moveTo>
                    <a:pt x="0" y="0"/>
                  </a:moveTo>
                  <a:lnTo>
                    <a:pt x="0" y="487"/>
                  </a:lnTo>
                  <a:lnTo>
                    <a:pt x="998" y="487"/>
                  </a:lnTo>
                  <a:lnTo>
                    <a:pt x="998" y="0"/>
                  </a:lnTo>
                  <a:lnTo>
                    <a:pt x="799" y="0"/>
                  </a:lnTo>
                  <a:lnTo>
                    <a:pt x="799" y="280"/>
                  </a:lnTo>
                  <a:lnTo>
                    <a:pt x="183" y="280"/>
                  </a:lnTo>
                  <a:lnTo>
                    <a:pt x="183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3255">
              <a:extLst>
                <a:ext uri="{FF2B5EF4-FFF2-40B4-BE49-F238E27FC236}">
                  <a16:creationId xmlns:a16="http://schemas.microsoft.com/office/drawing/2014/main" id="{E76DF7E9-B6B6-1436-5124-7D5DF0A3DE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64" y="2733450"/>
              <a:ext cx="605619" cy="484894"/>
            </a:xfrm>
            <a:custGeom>
              <a:avLst/>
              <a:gdLst>
                <a:gd name="T0" fmla="*/ 0 w 2127"/>
                <a:gd name="T1" fmla="*/ 1216 h 1703"/>
                <a:gd name="T2" fmla="*/ 1183 w 2127"/>
                <a:gd name="T3" fmla="*/ 0 h 1703"/>
                <a:gd name="T4" fmla="*/ 1380 w 2127"/>
                <a:gd name="T5" fmla="*/ 0 h 1703"/>
                <a:gd name="T6" fmla="*/ 1385 w 2127"/>
                <a:gd name="T7" fmla="*/ 268 h 1703"/>
                <a:gd name="T8" fmla="*/ 1681 w 2127"/>
                <a:gd name="T9" fmla="*/ 273 h 1703"/>
                <a:gd name="T10" fmla="*/ 1909 w 2127"/>
                <a:gd name="T11" fmla="*/ 35 h 1703"/>
                <a:gd name="T12" fmla="*/ 2103 w 2127"/>
                <a:gd name="T13" fmla="*/ 52 h 1703"/>
                <a:gd name="T14" fmla="*/ 2127 w 2127"/>
                <a:gd name="T15" fmla="*/ 448 h 1703"/>
                <a:gd name="T16" fmla="*/ 1961 w 2127"/>
                <a:gd name="T17" fmla="*/ 635 h 1703"/>
                <a:gd name="T18" fmla="*/ 1743 w 2127"/>
                <a:gd name="T19" fmla="*/ 877 h 1703"/>
                <a:gd name="T20" fmla="*/ 998 w 2127"/>
                <a:gd name="T21" fmla="*/ 1703 h 1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27" h="1703">
                  <a:moveTo>
                    <a:pt x="0" y="1216"/>
                  </a:moveTo>
                  <a:lnTo>
                    <a:pt x="1183" y="0"/>
                  </a:lnTo>
                  <a:lnTo>
                    <a:pt x="1380" y="0"/>
                  </a:lnTo>
                  <a:lnTo>
                    <a:pt x="1385" y="268"/>
                  </a:lnTo>
                  <a:lnTo>
                    <a:pt x="1681" y="273"/>
                  </a:lnTo>
                  <a:lnTo>
                    <a:pt x="1909" y="35"/>
                  </a:lnTo>
                  <a:lnTo>
                    <a:pt x="2103" y="52"/>
                  </a:lnTo>
                  <a:lnTo>
                    <a:pt x="2127" y="448"/>
                  </a:lnTo>
                  <a:lnTo>
                    <a:pt x="1961" y="635"/>
                  </a:lnTo>
                  <a:lnTo>
                    <a:pt x="1743" y="877"/>
                  </a:lnTo>
                  <a:lnTo>
                    <a:pt x="998" y="1703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3256">
              <a:extLst>
                <a:ext uri="{FF2B5EF4-FFF2-40B4-BE49-F238E27FC236}">
                  <a16:creationId xmlns:a16="http://schemas.microsoft.com/office/drawing/2014/main" id="{8CDDB084-CAA9-6F82-292D-B13BF495F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570" y="2806910"/>
              <a:ext cx="338828" cy="351925"/>
            </a:xfrm>
            <a:custGeom>
              <a:avLst/>
              <a:gdLst>
                <a:gd name="T0" fmla="*/ 0 w 1190"/>
                <a:gd name="T1" fmla="*/ 1236 h 1236"/>
                <a:gd name="T2" fmla="*/ 801 w 1190"/>
                <a:gd name="T3" fmla="*/ 387 h 1236"/>
                <a:gd name="T4" fmla="*/ 1190 w 1190"/>
                <a:gd name="T5" fmla="*/ 0 h 1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90" h="1236">
                  <a:moveTo>
                    <a:pt x="0" y="1236"/>
                  </a:moveTo>
                  <a:lnTo>
                    <a:pt x="801" y="387"/>
                  </a:lnTo>
                  <a:lnTo>
                    <a:pt x="1190" y="0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Line 3257">
              <a:extLst>
                <a:ext uri="{FF2B5EF4-FFF2-40B4-BE49-F238E27FC236}">
                  <a16:creationId xmlns:a16="http://schemas.microsoft.com/office/drawing/2014/main" id="{D500D379-8259-8C98-52BA-EF43BF16C0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03963" y="2811181"/>
              <a:ext cx="251131" cy="26850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Line 3258">
              <a:extLst>
                <a:ext uri="{FF2B5EF4-FFF2-40B4-BE49-F238E27FC236}">
                  <a16:creationId xmlns:a16="http://schemas.microsoft.com/office/drawing/2014/main" id="{39E01AEA-ECD7-30DF-604B-670D7DA25F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0624" y="2748256"/>
              <a:ext cx="314626" cy="331425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3259">
              <a:extLst>
                <a:ext uri="{FF2B5EF4-FFF2-40B4-BE49-F238E27FC236}">
                  <a16:creationId xmlns:a16="http://schemas.microsoft.com/office/drawing/2014/main" id="{8B7536C8-5ACC-ED8F-6EA9-A825197CD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570" y="2736013"/>
              <a:ext cx="337404" cy="343668"/>
            </a:xfrm>
            <a:custGeom>
              <a:avLst/>
              <a:gdLst>
                <a:gd name="T0" fmla="*/ 1185 w 1185"/>
                <a:gd name="T1" fmla="*/ 0 h 1207"/>
                <a:gd name="T2" fmla="*/ 502 w 1185"/>
                <a:gd name="T3" fmla="*/ 700 h 1207"/>
                <a:gd name="T4" fmla="*/ 0 w 1185"/>
                <a:gd name="T5" fmla="*/ 1207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85" h="1207">
                  <a:moveTo>
                    <a:pt x="1185" y="0"/>
                  </a:moveTo>
                  <a:lnTo>
                    <a:pt x="502" y="700"/>
                  </a:lnTo>
                  <a:lnTo>
                    <a:pt x="0" y="1207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8" name="Box">
            <a:extLst>
              <a:ext uri="{FF2B5EF4-FFF2-40B4-BE49-F238E27FC236}">
                <a16:creationId xmlns:a16="http://schemas.microsoft.com/office/drawing/2014/main" id="{F229C289-5ED6-9268-F763-6E9B16ED1F1E}"/>
              </a:ext>
            </a:extLst>
          </p:cNvPr>
          <p:cNvSpPr/>
          <p:nvPr/>
        </p:nvSpPr>
        <p:spPr>
          <a:xfrm>
            <a:off x="239843" y="6070907"/>
            <a:ext cx="1474049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Steelmaker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0184EB2-1AAC-1A66-C523-5E0CD0D4DBF0}"/>
              </a:ext>
            </a:extLst>
          </p:cNvPr>
          <p:cNvGrpSpPr/>
          <p:nvPr/>
        </p:nvGrpSpPr>
        <p:grpSpPr>
          <a:xfrm>
            <a:off x="297856" y="6142170"/>
            <a:ext cx="271800" cy="337534"/>
            <a:chOff x="2335341" y="1791566"/>
            <a:chExt cx="506248" cy="628682"/>
          </a:xfrm>
        </p:grpSpPr>
        <p:sp>
          <p:nvSpPr>
            <p:cNvPr id="31" name="Freeform 3102">
              <a:extLst>
                <a:ext uri="{FF2B5EF4-FFF2-40B4-BE49-F238E27FC236}">
                  <a16:creationId xmlns:a16="http://schemas.microsoft.com/office/drawing/2014/main" id="{453A7652-5BFF-F9A2-B35F-EA9EDE589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953" y="2184492"/>
              <a:ext cx="46696" cy="16799"/>
            </a:xfrm>
            <a:custGeom>
              <a:avLst/>
              <a:gdLst>
                <a:gd name="T0" fmla="*/ 69 w 69"/>
                <a:gd name="T1" fmla="*/ 25 h 25"/>
                <a:gd name="T2" fmla="*/ 0 w 69"/>
                <a:gd name="T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9" h="25">
                  <a:moveTo>
                    <a:pt x="69" y="25"/>
                  </a:moveTo>
                  <a:cubicBezTo>
                    <a:pt x="47" y="15"/>
                    <a:pt x="24" y="6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3103">
              <a:extLst>
                <a:ext uri="{FF2B5EF4-FFF2-40B4-BE49-F238E27FC236}">
                  <a16:creationId xmlns:a16="http://schemas.microsoft.com/office/drawing/2014/main" id="{15B23EFA-F837-58CE-11A1-B8A3BB426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7136" y="2184492"/>
              <a:ext cx="46411" cy="16799"/>
            </a:xfrm>
            <a:custGeom>
              <a:avLst/>
              <a:gdLst>
                <a:gd name="T0" fmla="*/ 69 w 69"/>
                <a:gd name="T1" fmla="*/ 0 h 25"/>
                <a:gd name="T2" fmla="*/ 0 w 69"/>
                <a:gd name="T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9" h="25">
                  <a:moveTo>
                    <a:pt x="69" y="0"/>
                  </a:moveTo>
                  <a:cubicBezTo>
                    <a:pt x="45" y="6"/>
                    <a:pt x="22" y="15"/>
                    <a:pt x="0" y="25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3104">
              <a:extLst>
                <a:ext uri="{FF2B5EF4-FFF2-40B4-BE49-F238E27FC236}">
                  <a16:creationId xmlns:a16="http://schemas.microsoft.com/office/drawing/2014/main" id="{E023664A-688C-8D58-74D1-0EE789A29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5341" y="2240584"/>
              <a:ext cx="506248" cy="179664"/>
            </a:xfrm>
            <a:custGeom>
              <a:avLst/>
              <a:gdLst>
                <a:gd name="T0" fmla="*/ 629 w 750"/>
                <a:gd name="T1" fmla="*/ 0 h 266"/>
                <a:gd name="T2" fmla="*/ 750 w 750"/>
                <a:gd name="T3" fmla="*/ 266 h 266"/>
                <a:gd name="T4" fmla="*/ 0 w 750"/>
                <a:gd name="T5" fmla="*/ 266 h 266"/>
                <a:gd name="T6" fmla="*/ 121 w 750"/>
                <a:gd name="T7" fmla="*/ 0 h 266"/>
                <a:gd name="T8" fmla="*/ 121 w 750"/>
                <a:gd name="T9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0" h="266">
                  <a:moveTo>
                    <a:pt x="629" y="0"/>
                  </a:moveTo>
                  <a:cubicBezTo>
                    <a:pt x="704" y="66"/>
                    <a:pt x="750" y="161"/>
                    <a:pt x="750" y="266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0" y="161"/>
                    <a:pt x="47" y="66"/>
                    <a:pt x="121" y="0"/>
                  </a:cubicBezTo>
                  <a:cubicBezTo>
                    <a:pt x="121" y="0"/>
                    <a:pt x="121" y="0"/>
                    <a:pt x="121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3105">
              <a:extLst>
                <a:ext uri="{FF2B5EF4-FFF2-40B4-BE49-F238E27FC236}">
                  <a16:creationId xmlns:a16="http://schemas.microsoft.com/office/drawing/2014/main" id="{1F042FD5-0BF0-9155-4FEF-1796C87BC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419" y="2187909"/>
              <a:ext cx="81717" cy="230061"/>
            </a:xfrm>
            <a:custGeom>
              <a:avLst/>
              <a:gdLst>
                <a:gd name="T0" fmla="*/ 90 w 287"/>
                <a:gd name="T1" fmla="*/ 76 h 808"/>
                <a:gd name="T2" fmla="*/ 287 w 287"/>
                <a:gd name="T3" fmla="*/ 0 h 808"/>
                <a:gd name="T4" fmla="*/ 287 w 287"/>
                <a:gd name="T5" fmla="*/ 370 h 808"/>
                <a:gd name="T6" fmla="*/ 187 w 287"/>
                <a:gd name="T7" fmla="*/ 808 h 808"/>
                <a:gd name="T8" fmla="*/ 0 w 287"/>
                <a:gd name="T9" fmla="*/ 808 h 808"/>
                <a:gd name="T10" fmla="*/ 90 w 287"/>
                <a:gd name="T11" fmla="*/ 76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7" h="808">
                  <a:moveTo>
                    <a:pt x="90" y="76"/>
                  </a:moveTo>
                  <a:lnTo>
                    <a:pt x="287" y="0"/>
                  </a:lnTo>
                  <a:lnTo>
                    <a:pt x="287" y="370"/>
                  </a:lnTo>
                  <a:lnTo>
                    <a:pt x="187" y="808"/>
                  </a:lnTo>
                  <a:lnTo>
                    <a:pt x="0" y="808"/>
                  </a:lnTo>
                  <a:lnTo>
                    <a:pt x="90" y="76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3106">
              <a:extLst>
                <a:ext uri="{FF2B5EF4-FFF2-40B4-BE49-F238E27FC236}">
                  <a16:creationId xmlns:a16="http://schemas.microsoft.com/office/drawing/2014/main" id="{1FD145CE-6AD2-21A0-A879-F0A198DE3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649" y="2187909"/>
              <a:ext cx="80863" cy="230061"/>
            </a:xfrm>
            <a:custGeom>
              <a:avLst/>
              <a:gdLst>
                <a:gd name="T0" fmla="*/ 196 w 284"/>
                <a:gd name="T1" fmla="*/ 76 h 808"/>
                <a:gd name="T2" fmla="*/ 0 w 284"/>
                <a:gd name="T3" fmla="*/ 0 h 808"/>
                <a:gd name="T4" fmla="*/ 0 w 284"/>
                <a:gd name="T5" fmla="*/ 370 h 808"/>
                <a:gd name="T6" fmla="*/ 97 w 284"/>
                <a:gd name="T7" fmla="*/ 808 h 808"/>
                <a:gd name="T8" fmla="*/ 284 w 284"/>
                <a:gd name="T9" fmla="*/ 808 h 808"/>
                <a:gd name="T10" fmla="*/ 196 w 284"/>
                <a:gd name="T11" fmla="*/ 76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808">
                  <a:moveTo>
                    <a:pt x="196" y="76"/>
                  </a:moveTo>
                  <a:lnTo>
                    <a:pt x="0" y="0"/>
                  </a:lnTo>
                  <a:lnTo>
                    <a:pt x="0" y="370"/>
                  </a:lnTo>
                  <a:lnTo>
                    <a:pt x="97" y="808"/>
                  </a:lnTo>
                  <a:lnTo>
                    <a:pt x="284" y="808"/>
                  </a:lnTo>
                  <a:lnTo>
                    <a:pt x="196" y="76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Line 3107">
              <a:extLst>
                <a:ext uri="{FF2B5EF4-FFF2-40B4-BE49-F238E27FC236}">
                  <a16:creationId xmlns:a16="http://schemas.microsoft.com/office/drawing/2014/main" id="{376E84F3-1629-F86C-F024-4D22029E29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7136" y="2293259"/>
              <a:ext cx="223512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Line 3108">
              <a:extLst>
                <a:ext uri="{FF2B5EF4-FFF2-40B4-BE49-F238E27FC236}">
                  <a16:creationId xmlns:a16="http://schemas.microsoft.com/office/drawing/2014/main" id="{C33B299B-940C-D6EA-A0AA-3026D0BFC7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69733" y="2005682"/>
              <a:ext cx="0" cy="6549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3110">
              <a:extLst>
                <a:ext uri="{FF2B5EF4-FFF2-40B4-BE49-F238E27FC236}">
                  <a16:creationId xmlns:a16="http://schemas.microsoft.com/office/drawing/2014/main" id="{797E8B11-6A9F-8674-2FF9-6D582F898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9733" y="2056080"/>
              <a:ext cx="237464" cy="123572"/>
            </a:xfrm>
            <a:custGeom>
              <a:avLst/>
              <a:gdLst>
                <a:gd name="T0" fmla="*/ 352 w 352"/>
                <a:gd name="T1" fmla="*/ 0 h 183"/>
                <a:gd name="T2" fmla="*/ 352 w 352"/>
                <a:gd name="T3" fmla="*/ 4 h 183"/>
                <a:gd name="T4" fmla="*/ 176 w 352"/>
                <a:gd name="T5" fmla="*/ 183 h 183"/>
                <a:gd name="T6" fmla="*/ 0 w 352"/>
                <a:gd name="T7" fmla="*/ 4 h 183"/>
                <a:gd name="T8" fmla="*/ 0 w 352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2" h="183">
                  <a:moveTo>
                    <a:pt x="352" y="0"/>
                  </a:moveTo>
                  <a:cubicBezTo>
                    <a:pt x="352" y="4"/>
                    <a:pt x="352" y="4"/>
                    <a:pt x="352" y="4"/>
                  </a:cubicBezTo>
                  <a:cubicBezTo>
                    <a:pt x="352" y="103"/>
                    <a:pt x="273" y="183"/>
                    <a:pt x="176" y="183"/>
                  </a:cubicBezTo>
                  <a:cubicBezTo>
                    <a:pt x="79" y="183"/>
                    <a:pt x="0" y="103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3111">
              <a:extLst>
                <a:ext uri="{FF2B5EF4-FFF2-40B4-BE49-F238E27FC236}">
                  <a16:creationId xmlns:a16="http://schemas.microsoft.com/office/drawing/2014/main" id="{4B8C4DA7-CA8E-4F1A-F28D-97AD2FB68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121" y="2012231"/>
              <a:ext cx="29612" cy="43848"/>
            </a:xfrm>
            <a:custGeom>
              <a:avLst/>
              <a:gdLst>
                <a:gd name="T0" fmla="*/ 44 w 44"/>
                <a:gd name="T1" fmla="*/ 0 h 65"/>
                <a:gd name="T2" fmla="*/ 44 w 44"/>
                <a:gd name="T3" fmla="*/ 65 h 65"/>
                <a:gd name="T4" fmla="*/ 33 w 44"/>
                <a:gd name="T5" fmla="*/ 65 h 65"/>
                <a:gd name="T6" fmla="*/ 0 w 44"/>
                <a:gd name="T7" fmla="*/ 32 h 65"/>
                <a:gd name="T8" fmla="*/ 10 w 44"/>
                <a:gd name="T9" fmla="*/ 9 h 65"/>
                <a:gd name="T10" fmla="*/ 33 w 44"/>
                <a:gd name="T11" fmla="*/ 0 h 65"/>
                <a:gd name="T12" fmla="*/ 44 w 44"/>
                <a:gd name="T1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65">
                  <a:moveTo>
                    <a:pt x="44" y="0"/>
                  </a:moveTo>
                  <a:cubicBezTo>
                    <a:pt x="44" y="65"/>
                    <a:pt x="44" y="65"/>
                    <a:pt x="44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15" y="65"/>
                    <a:pt x="0" y="51"/>
                    <a:pt x="0" y="32"/>
                  </a:cubicBezTo>
                  <a:cubicBezTo>
                    <a:pt x="0" y="23"/>
                    <a:pt x="4" y="15"/>
                    <a:pt x="10" y="9"/>
                  </a:cubicBezTo>
                  <a:cubicBezTo>
                    <a:pt x="16" y="3"/>
                    <a:pt x="24" y="0"/>
                    <a:pt x="33" y="0"/>
                  </a:cubicBezTo>
                  <a:lnTo>
                    <a:pt x="44" y="0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3112">
              <a:extLst>
                <a:ext uri="{FF2B5EF4-FFF2-40B4-BE49-F238E27FC236}">
                  <a16:creationId xmlns:a16="http://schemas.microsoft.com/office/drawing/2014/main" id="{617630FC-0AA9-0062-F385-59CDC3119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197" y="2012231"/>
              <a:ext cx="29897" cy="43848"/>
            </a:xfrm>
            <a:custGeom>
              <a:avLst/>
              <a:gdLst>
                <a:gd name="T0" fmla="*/ 44 w 44"/>
                <a:gd name="T1" fmla="*/ 32 h 65"/>
                <a:gd name="T2" fmla="*/ 34 w 44"/>
                <a:gd name="T3" fmla="*/ 56 h 65"/>
                <a:gd name="T4" fmla="*/ 11 w 44"/>
                <a:gd name="T5" fmla="*/ 65 h 65"/>
                <a:gd name="T6" fmla="*/ 0 w 44"/>
                <a:gd name="T7" fmla="*/ 65 h 65"/>
                <a:gd name="T8" fmla="*/ 0 w 44"/>
                <a:gd name="T9" fmla="*/ 0 h 65"/>
                <a:gd name="T10" fmla="*/ 11 w 44"/>
                <a:gd name="T11" fmla="*/ 0 h 65"/>
                <a:gd name="T12" fmla="*/ 44 w 44"/>
                <a:gd name="T13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65">
                  <a:moveTo>
                    <a:pt x="44" y="32"/>
                  </a:moveTo>
                  <a:cubicBezTo>
                    <a:pt x="44" y="42"/>
                    <a:pt x="40" y="50"/>
                    <a:pt x="34" y="56"/>
                  </a:cubicBezTo>
                  <a:cubicBezTo>
                    <a:pt x="29" y="62"/>
                    <a:pt x="20" y="65"/>
                    <a:pt x="11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9" y="0"/>
                    <a:pt x="44" y="14"/>
                    <a:pt x="44" y="32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3113">
              <a:extLst>
                <a:ext uri="{FF2B5EF4-FFF2-40B4-BE49-F238E27FC236}">
                  <a16:creationId xmlns:a16="http://schemas.microsoft.com/office/drawing/2014/main" id="{6310836D-4317-A3BC-B637-5F66174AF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9751" y="1813206"/>
              <a:ext cx="111899" cy="149767"/>
            </a:xfrm>
            <a:custGeom>
              <a:avLst/>
              <a:gdLst>
                <a:gd name="T0" fmla="*/ 0 w 166"/>
                <a:gd name="T1" fmla="*/ 0 h 222"/>
                <a:gd name="T2" fmla="*/ 19 w 166"/>
                <a:gd name="T3" fmla="*/ 7 h 222"/>
                <a:gd name="T4" fmla="*/ 46 w 166"/>
                <a:gd name="T5" fmla="*/ 21 h 222"/>
                <a:gd name="T6" fmla="*/ 49 w 166"/>
                <a:gd name="T7" fmla="*/ 23 h 222"/>
                <a:gd name="T8" fmla="*/ 68 w 166"/>
                <a:gd name="T9" fmla="*/ 36 h 222"/>
                <a:gd name="T10" fmla="*/ 166 w 166"/>
                <a:gd name="T11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222">
                  <a:moveTo>
                    <a:pt x="0" y="0"/>
                  </a:moveTo>
                  <a:cubicBezTo>
                    <a:pt x="6" y="2"/>
                    <a:pt x="13" y="4"/>
                    <a:pt x="19" y="7"/>
                  </a:cubicBezTo>
                  <a:cubicBezTo>
                    <a:pt x="28" y="11"/>
                    <a:pt x="37" y="16"/>
                    <a:pt x="46" y="21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7"/>
                    <a:pt x="62" y="32"/>
                    <a:pt x="68" y="36"/>
                  </a:cubicBezTo>
                  <a:cubicBezTo>
                    <a:pt x="122" y="80"/>
                    <a:pt x="159" y="151"/>
                    <a:pt x="166" y="222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3114">
              <a:extLst>
                <a:ext uri="{FF2B5EF4-FFF2-40B4-BE49-F238E27FC236}">
                  <a16:creationId xmlns:a16="http://schemas.microsoft.com/office/drawing/2014/main" id="{270F2E16-20B0-98C5-52C9-3BCC485FD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274" y="1813206"/>
              <a:ext cx="112183" cy="149198"/>
            </a:xfrm>
            <a:custGeom>
              <a:avLst/>
              <a:gdLst>
                <a:gd name="T0" fmla="*/ 0 w 166"/>
                <a:gd name="T1" fmla="*/ 221 h 221"/>
                <a:gd name="T2" fmla="*/ 100 w 166"/>
                <a:gd name="T3" fmla="*/ 35 h 221"/>
                <a:gd name="T4" fmla="*/ 119 w 166"/>
                <a:gd name="T5" fmla="*/ 22 h 221"/>
                <a:gd name="T6" fmla="*/ 123 w 166"/>
                <a:gd name="T7" fmla="*/ 19 h 221"/>
                <a:gd name="T8" fmla="*/ 145 w 166"/>
                <a:gd name="T9" fmla="*/ 8 h 221"/>
                <a:gd name="T10" fmla="*/ 166 w 166"/>
                <a:gd name="T11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221">
                  <a:moveTo>
                    <a:pt x="0" y="221"/>
                  </a:moveTo>
                  <a:cubicBezTo>
                    <a:pt x="6" y="149"/>
                    <a:pt x="45" y="78"/>
                    <a:pt x="100" y="35"/>
                  </a:cubicBezTo>
                  <a:cubicBezTo>
                    <a:pt x="106" y="30"/>
                    <a:pt x="113" y="26"/>
                    <a:pt x="119" y="22"/>
                  </a:cubicBezTo>
                  <a:cubicBezTo>
                    <a:pt x="123" y="19"/>
                    <a:pt x="123" y="19"/>
                    <a:pt x="123" y="19"/>
                  </a:cubicBezTo>
                  <a:cubicBezTo>
                    <a:pt x="130" y="15"/>
                    <a:pt x="137" y="11"/>
                    <a:pt x="145" y="8"/>
                  </a:cubicBezTo>
                  <a:cubicBezTo>
                    <a:pt x="152" y="5"/>
                    <a:pt x="159" y="2"/>
                    <a:pt x="166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3115">
              <a:extLst>
                <a:ext uri="{FF2B5EF4-FFF2-40B4-BE49-F238E27FC236}">
                  <a16:creationId xmlns:a16="http://schemas.microsoft.com/office/drawing/2014/main" id="{F61FCC37-AEB9-75FD-1D42-A5E626F6E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2020" y="1791566"/>
              <a:ext cx="75738" cy="132399"/>
            </a:xfrm>
            <a:custGeom>
              <a:avLst/>
              <a:gdLst>
                <a:gd name="T0" fmla="*/ 56 w 112"/>
                <a:gd name="T1" fmla="*/ 196 h 196"/>
                <a:gd name="T2" fmla="*/ 7 w 112"/>
                <a:gd name="T3" fmla="*/ 149 h 196"/>
                <a:gd name="T4" fmla="*/ 0 w 112"/>
                <a:gd name="T5" fmla="*/ 23 h 196"/>
                <a:gd name="T6" fmla="*/ 28 w 112"/>
                <a:gd name="T7" fmla="*/ 0 h 196"/>
                <a:gd name="T8" fmla="*/ 85 w 112"/>
                <a:gd name="T9" fmla="*/ 0 h 196"/>
                <a:gd name="T10" fmla="*/ 112 w 112"/>
                <a:gd name="T11" fmla="*/ 23 h 196"/>
                <a:gd name="T12" fmla="*/ 106 w 112"/>
                <a:gd name="T13" fmla="*/ 149 h 196"/>
                <a:gd name="T14" fmla="*/ 56 w 112"/>
                <a:gd name="T15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196">
                  <a:moveTo>
                    <a:pt x="56" y="196"/>
                  </a:moveTo>
                  <a:cubicBezTo>
                    <a:pt x="30" y="196"/>
                    <a:pt x="8" y="176"/>
                    <a:pt x="7" y="14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1"/>
                    <a:pt x="13" y="0"/>
                    <a:pt x="2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100" y="0"/>
                    <a:pt x="112" y="11"/>
                    <a:pt x="112" y="23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76"/>
                    <a:pt x="83" y="196"/>
                    <a:pt x="56" y="196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3116">
              <a:extLst>
                <a:ext uri="{FF2B5EF4-FFF2-40B4-BE49-F238E27FC236}">
                  <a16:creationId xmlns:a16="http://schemas.microsoft.com/office/drawing/2014/main" id="{927575C6-79C3-CFA7-3C7B-3C4FF5FD2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9302" y="1961550"/>
              <a:ext cx="318612" cy="44133"/>
            </a:xfrm>
            <a:custGeom>
              <a:avLst/>
              <a:gdLst>
                <a:gd name="T0" fmla="*/ 454 w 472"/>
                <a:gd name="T1" fmla="*/ 65 h 65"/>
                <a:gd name="T2" fmla="*/ 19 w 472"/>
                <a:gd name="T3" fmla="*/ 65 h 65"/>
                <a:gd name="T4" fmla="*/ 0 w 472"/>
                <a:gd name="T5" fmla="*/ 46 h 65"/>
                <a:gd name="T6" fmla="*/ 0 w 472"/>
                <a:gd name="T7" fmla="*/ 19 h 65"/>
                <a:gd name="T8" fmla="*/ 19 w 472"/>
                <a:gd name="T9" fmla="*/ 0 h 65"/>
                <a:gd name="T10" fmla="*/ 454 w 472"/>
                <a:gd name="T11" fmla="*/ 0 h 65"/>
                <a:gd name="T12" fmla="*/ 472 w 472"/>
                <a:gd name="T13" fmla="*/ 19 h 65"/>
                <a:gd name="T14" fmla="*/ 472 w 472"/>
                <a:gd name="T15" fmla="*/ 46 h 65"/>
                <a:gd name="T16" fmla="*/ 454 w 472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2" h="65">
                  <a:moveTo>
                    <a:pt x="454" y="65"/>
                  </a:moveTo>
                  <a:cubicBezTo>
                    <a:pt x="19" y="65"/>
                    <a:pt x="19" y="65"/>
                    <a:pt x="19" y="65"/>
                  </a:cubicBezTo>
                  <a:cubicBezTo>
                    <a:pt x="9" y="65"/>
                    <a:pt x="0" y="57"/>
                    <a:pt x="0" y="4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64" y="0"/>
                    <a:pt x="472" y="8"/>
                    <a:pt x="472" y="19"/>
                  </a:cubicBezTo>
                  <a:cubicBezTo>
                    <a:pt x="472" y="46"/>
                    <a:pt x="472" y="46"/>
                    <a:pt x="472" y="46"/>
                  </a:cubicBezTo>
                  <a:cubicBezTo>
                    <a:pt x="472" y="57"/>
                    <a:pt x="464" y="65"/>
                    <a:pt x="454" y="65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3117">
              <a:extLst>
                <a:ext uri="{FF2B5EF4-FFF2-40B4-BE49-F238E27FC236}">
                  <a16:creationId xmlns:a16="http://schemas.microsoft.com/office/drawing/2014/main" id="{6E1CA8A5-582E-9FE0-4A33-802E1EEB0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2977" y="2159436"/>
              <a:ext cx="130975" cy="62925"/>
            </a:xfrm>
            <a:custGeom>
              <a:avLst/>
              <a:gdLst>
                <a:gd name="T0" fmla="*/ 194 w 194"/>
                <a:gd name="T1" fmla="*/ 0 h 93"/>
                <a:gd name="T2" fmla="*/ 194 w 194"/>
                <a:gd name="T3" fmla="*/ 36 h 93"/>
                <a:gd name="T4" fmla="*/ 194 w 194"/>
                <a:gd name="T5" fmla="*/ 37 h 93"/>
                <a:gd name="T6" fmla="*/ 137 w 194"/>
                <a:gd name="T7" fmla="*/ 93 h 93"/>
                <a:gd name="T8" fmla="*/ 58 w 194"/>
                <a:gd name="T9" fmla="*/ 93 h 93"/>
                <a:gd name="T10" fmla="*/ 1 w 194"/>
                <a:gd name="T11" fmla="*/ 37 h 93"/>
                <a:gd name="T12" fmla="*/ 0 w 194"/>
                <a:gd name="T13" fmla="*/ 36 h 93"/>
                <a:gd name="T14" fmla="*/ 0 w 194"/>
                <a:gd name="T1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93">
                  <a:moveTo>
                    <a:pt x="194" y="0"/>
                  </a:moveTo>
                  <a:cubicBezTo>
                    <a:pt x="194" y="36"/>
                    <a:pt x="194" y="36"/>
                    <a:pt x="194" y="36"/>
                  </a:cubicBezTo>
                  <a:cubicBezTo>
                    <a:pt x="194" y="36"/>
                    <a:pt x="194" y="37"/>
                    <a:pt x="194" y="37"/>
                  </a:cubicBezTo>
                  <a:cubicBezTo>
                    <a:pt x="193" y="68"/>
                    <a:pt x="168" y="93"/>
                    <a:pt x="137" y="93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27" y="93"/>
                    <a:pt x="1" y="68"/>
                    <a:pt x="1" y="37"/>
                  </a:cubicBezTo>
                  <a:cubicBezTo>
                    <a:pt x="0" y="37"/>
                    <a:pt x="0" y="36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DDAFBD3-8150-6786-5146-126F312BA5CA}"/>
              </a:ext>
            </a:extLst>
          </p:cNvPr>
          <p:cNvGrpSpPr/>
          <p:nvPr/>
        </p:nvGrpSpPr>
        <p:grpSpPr>
          <a:xfrm>
            <a:off x="2550345" y="2616703"/>
            <a:ext cx="213756" cy="213756"/>
            <a:chOff x="4488873" y="2464130"/>
            <a:chExt cx="213756" cy="213756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9F39525-1610-0C39-FF9B-D845BD723E97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49" name="Chevron 48">
              <a:extLst>
                <a:ext uri="{FF2B5EF4-FFF2-40B4-BE49-F238E27FC236}">
                  <a16:creationId xmlns:a16="http://schemas.microsoft.com/office/drawing/2014/main" id="{73D2CD63-70C6-C406-AA39-D5129532A549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BC7AD6C-9853-273A-53A1-365810824442}"/>
              </a:ext>
            </a:extLst>
          </p:cNvPr>
          <p:cNvGrpSpPr/>
          <p:nvPr/>
        </p:nvGrpSpPr>
        <p:grpSpPr>
          <a:xfrm>
            <a:off x="2550345" y="3396184"/>
            <a:ext cx="213756" cy="213756"/>
            <a:chOff x="4488873" y="2464130"/>
            <a:chExt cx="213756" cy="213756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D53EE5E2-5C1C-3A31-0830-97932448012B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3" name="Chevron 52">
              <a:extLst>
                <a:ext uri="{FF2B5EF4-FFF2-40B4-BE49-F238E27FC236}">
                  <a16:creationId xmlns:a16="http://schemas.microsoft.com/office/drawing/2014/main" id="{2F258DA4-6A81-239D-91DA-EA39E1123DA5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501483F-A30C-E7E5-C6C8-532AFD4C2DFF}"/>
              </a:ext>
            </a:extLst>
          </p:cNvPr>
          <p:cNvGrpSpPr/>
          <p:nvPr/>
        </p:nvGrpSpPr>
        <p:grpSpPr>
          <a:xfrm>
            <a:off x="2550345" y="4186557"/>
            <a:ext cx="213756" cy="213756"/>
            <a:chOff x="4488873" y="2464130"/>
            <a:chExt cx="213756" cy="213756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A6E02F76-4E9B-16C3-4E03-398D43C78246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6" name="Chevron 55">
              <a:extLst>
                <a:ext uri="{FF2B5EF4-FFF2-40B4-BE49-F238E27FC236}">
                  <a16:creationId xmlns:a16="http://schemas.microsoft.com/office/drawing/2014/main" id="{245C0DCA-413F-C0A4-4129-BCDB13C2E9B4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634A50C-DD62-DFF7-49D2-A84A9A0D7E3C}"/>
              </a:ext>
            </a:extLst>
          </p:cNvPr>
          <p:cNvGrpSpPr/>
          <p:nvPr/>
        </p:nvGrpSpPr>
        <p:grpSpPr>
          <a:xfrm>
            <a:off x="2588098" y="5836076"/>
            <a:ext cx="213756" cy="213756"/>
            <a:chOff x="4488873" y="2464130"/>
            <a:chExt cx="213756" cy="213756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101B3FCC-2B7A-3EA1-E81A-1C71453A1E55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59" name="Chevron 58">
              <a:extLst>
                <a:ext uri="{FF2B5EF4-FFF2-40B4-BE49-F238E27FC236}">
                  <a16:creationId xmlns:a16="http://schemas.microsoft.com/office/drawing/2014/main" id="{85B71D01-FE90-9615-9524-A9FE2C0B3F35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642" name="TextBox 641">
            <a:extLst>
              <a:ext uri="{FF2B5EF4-FFF2-40B4-BE49-F238E27FC236}">
                <a16:creationId xmlns:a16="http://schemas.microsoft.com/office/drawing/2014/main" id="{686C49FC-03EF-E3E5-CE27-10265B04B245}"/>
              </a:ext>
            </a:extLst>
          </p:cNvPr>
          <p:cNvSpPr txBox="1"/>
          <p:nvPr/>
        </p:nvSpPr>
        <p:spPr>
          <a:xfrm>
            <a:off x="1405644" y="1675768"/>
            <a:ext cx="1978297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Current value chain</a:t>
            </a:r>
          </a:p>
        </p:txBody>
      </p: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8D14D748-FAE0-5ECA-6FC8-BCF9580E9C56}"/>
              </a:ext>
            </a:extLst>
          </p:cNvPr>
          <p:cNvCxnSpPr>
            <a:cxnSpLocks/>
          </p:cNvCxnSpPr>
          <p:nvPr/>
        </p:nvCxnSpPr>
        <p:spPr>
          <a:xfrm>
            <a:off x="1339195" y="1617649"/>
            <a:ext cx="0" cy="32316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8" name="Rectangle 647">
            <a:extLst>
              <a:ext uri="{FF2B5EF4-FFF2-40B4-BE49-F238E27FC236}">
                <a16:creationId xmlns:a16="http://schemas.microsoft.com/office/drawing/2014/main" id="{A302C145-F594-A92E-86F7-8BA67BADCA06}"/>
              </a:ext>
            </a:extLst>
          </p:cNvPr>
          <p:cNvSpPr/>
          <p:nvPr/>
        </p:nvSpPr>
        <p:spPr>
          <a:xfrm>
            <a:off x="4744387" y="1514128"/>
            <a:ext cx="6990413" cy="5302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49" name="TextBox 648">
            <a:extLst>
              <a:ext uri="{FF2B5EF4-FFF2-40B4-BE49-F238E27FC236}">
                <a16:creationId xmlns:a16="http://schemas.microsoft.com/office/drawing/2014/main" id="{60EF215F-D382-0830-CA6A-BD53F24EE669}"/>
              </a:ext>
            </a:extLst>
          </p:cNvPr>
          <p:cNvSpPr txBox="1"/>
          <p:nvPr/>
        </p:nvSpPr>
        <p:spPr>
          <a:xfrm>
            <a:off x="4911503" y="1568048"/>
            <a:ext cx="516861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650" name="TextBox 649">
            <a:extLst>
              <a:ext uri="{FF2B5EF4-FFF2-40B4-BE49-F238E27FC236}">
                <a16:creationId xmlns:a16="http://schemas.microsoft.com/office/drawing/2014/main" id="{8111FE11-1C59-15A8-6E84-342322F93AA8}"/>
              </a:ext>
            </a:extLst>
          </p:cNvPr>
          <p:cNvSpPr txBox="1"/>
          <p:nvPr/>
        </p:nvSpPr>
        <p:spPr>
          <a:xfrm>
            <a:off x="5561262" y="1671509"/>
            <a:ext cx="2373463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Re-imagined value chain</a:t>
            </a:r>
          </a:p>
        </p:txBody>
      </p:sp>
      <p:cxnSp>
        <p:nvCxnSpPr>
          <p:cNvPr id="651" name="Straight Connector 650">
            <a:extLst>
              <a:ext uri="{FF2B5EF4-FFF2-40B4-BE49-F238E27FC236}">
                <a16:creationId xmlns:a16="http://schemas.microsoft.com/office/drawing/2014/main" id="{2D5B6FC0-F454-5BD2-0ADC-3B6473EE2C98}"/>
              </a:ext>
            </a:extLst>
          </p:cNvPr>
          <p:cNvCxnSpPr>
            <a:cxnSpLocks/>
          </p:cNvCxnSpPr>
          <p:nvPr/>
        </p:nvCxnSpPr>
        <p:spPr>
          <a:xfrm>
            <a:off x="5494813" y="1617649"/>
            <a:ext cx="0" cy="323164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6" name="Box">
            <a:extLst>
              <a:ext uri="{FF2B5EF4-FFF2-40B4-BE49-F238E27FC236}">
                <a16:creationId xmlns:a16="http://schemas.microsoft.com/office/drawing/2014/main" id="{9A09620B-7753-7D24-C700-CB8E08863BB5}"/>
              </a:ext>
            </a:extLst>
          </p:cNvPr>
          <p:cNvSpPr/>
          <p:nvPr/>
        </p:nvSpPr>
        <p:spPr>
          <a:xfrm>
            <a:off x="6514436" y="2104699"/>
            <a:ext cx="1744915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Exploration</a:t>
            </a:r>
          </a:p>
        </p:txBody>
      </p:sp>
      <p:grpSp>
        <p:nvGrpSpPr>
          <p:cNvPr id="677" name="Group 676">
            <a:extLst>
              <a:ext uri="{FF2B5EF4-FFF2-40B4-BE49-F238E27FC236}">
                <a16:creationId xmlns:a16="http://schemas.microsoft.com/office/drawing/2014/main" id="{6513AF6F-96C7-A765-1614-4D14E28CDF21}"/>
              </a:ext>
            </a:extLst>
          </p:cNvPr>
          <p:cNvGrpSpPr/>
          <p:nvPr/>
        </p:nvGrpSpPr>
        <p:grpSpPr>
          <a:xfrm>
            <a:off x="6592889" y="2182318"/>
            <a:ext cx="309873" cy="324823"/>
            <a:chOff x="9050338" y="4841875"/>
            <a:chExt cx="361950" cy="379412"/>
          </a:xfrm>
        </p:grpSpPr>
        <p:sp>
          <p:nvSpPr>
            <p:cNvPr id="678" name="Freeform 881">
              <a:extLst>
                <a:ext uri="{FF2B5EF4-FFF2-40B4-BE49-F238E27FC236}">
                  <a16:creationId xmlns:a16="http://schemas.microsoft.com/office/drawing/2014/main" id="{05293D37-B07F-B718-5AF0-1257853FAF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97963" y="4889500"/>
              <a:ext cx="192088" cy="193675"/>
            </a:xfrm>
            <a:custGeom>
              <a:avLst/>
              <a:gdLst>
                <a:gd name="T0" fmla="*/ 150 w 188"/>
                <a:gd name="T1" fmla="*/ 172 h 189"/>
                <a:gd name="T2" fmla="*/ 172 w 188"/>
                <a:gd name="T3" fmla="*/ 150 h 189"/>
                <a:gd name="T4" fmla="*/ 148 w 188"/>
                <a:gd name="T5" fmla="*/ 126 h 189"/>
                <a:gd name="T6" fmla="*/ 155 w 188"/>
                <a:gd name="T7" fmla="*/ 110 h 189"/>
                <a:gd name="T8" fmla="*/ 188 w 188"/>
                <a:gd name="T9" fmla="*/ 110 h 189"/>
                <a:gd name="T10" fmla="*/ 188 w 188"/>
                <a:gd name="T11" fmla="*/ 79 h 189"/>
                <a:gd name="T12" fmla="*/ 155 w 188"/>
                <a:gd name="T13" fmla="*/ 79 h 189"/>
                <a:gd name="T14" fmla="*/ 148 w 188"/>
                <a:gd name="T15" fmla="*/ 63 h 189"/>
                <a:gd name="T16" fmla="*/ 172 w 188"/>
                <a:gd name="T17" fmla="*/ 39 h 189"/>
                <a:gd name="T18" fmla="*/ 150 w 188"/>
                <a:gd name="T19" fmla="*/ 17 h 189"/>
                <a:gd name="T20" fmla="*/ 126 w 188"/>
                <a:gd name="T21" fmla="*/ 41 h 189"/>
                <a:gd name="T22" fmla="*/ 110 w 188"/>
                <a:gd name="T23" fmla="*/ 34 h 189"/>
                <a:gd name="T24" fmla="*/ 110 w 188"/>
                <a:gd name="T25" fmla="*/ 0 h 189"/>
                <a:gd name="T26" fmla="*/ 79 w 188"/>
                <a:gd name="T27" fmla="*/ 0 h 189"/>
                <a:gd name="T28" fmla="*/ 79 w 188"/>
                <a:gd name="T29" fmla="*/ 34 h 189"/>
                <a:gd name="T30" fmla="*/ 63 w 188"/>
                <a:gd name="T31" fmla="*/ 41 h 189"/>
                <a:gd name="T32" fmla="*/ 39 w 188"/>
                <a:gd name="T33" fmla="*/ 17 h 189"/>
                <a:gd name="T34" fmla="*/ 17 w 188"/>
                <a:gd name="T35" fmla="*/ 39 h 189"/>
                <a:gd name="T36" fmla="*/ 41 w 188"/>
                <a:gd name="T37" fmla="*/ 63 h 189"/>
                <a:gd name="T38" fmla="*/ 34 w 188"/>
                <a:gd name="T39" fmla="*/ 79 h 189"/>
                <a:gd name="T40" fmla="*/ 0 w 188"/>
                <a:gd name="T41" fmla="*/ 79 h 189"/>
                <a:gd name="T42" fmla="*/ 0 w 188"/>
                <a:gd name="T43" fmla="*/ 110 h 189"/>
                <a:gd name="T44" fmla="*/ 34 w 188"/>
                <a:gd name="T45" fmla="*/ 110 h 189"/>
                <a:gd name="T46" fmla="*/ 41 w 188"/>
                <a:gd name="T47" fmla="*/ 126 h 189"/>
                <a:gd name="T48" fmla="*/ 17 w 188"/>
                <a:gd name="T49" fmla="*/ 150 h 189"/>
                <a:gd name="T50" fmla="*/ 39 w 188"/>
                <a:gd name="T51" fmla="*/ 172 h 189"/>
                <a:gd name="T52" fmla="*/ 63 w 188"/>
                <a:gd name="T53" fmla="*/ 148 h 189"/>
                <a:gd name="T54" fmla="*/ 79 w 188"/>
                <a:gd name="T55" fmla="*/ 155 h 189"/>
                <a:gd name="T56" fmla="*/ 79 w 188"/>
                <a:gd name="T57" fmla="*/ 189 h 189"/>
                <a:gd name="T58" fmla="*/ 110 w 188"/>
                <a:gd name="T59" fmla="*/ 189 h 189"/>
                <a:gd name="T60" fmla="*/ 110 w 188"/>
                <a:gd name="T61" fmla="*/ 155 h 189"/>
                <a:gd name="T62" fmla="*/ 126 w 188"/>
                <a:gd name="T63" fmla="*/ 148 h 189"/>
                <a:gd name="T64" fmla="*/ 150 w 188"/>
                <a:gd name="T65" fmla="*/ 172 h 189"/>
                <a:gd name="T66" fmla="*/ 94 w 188"/>
                <a:gd name="T67" fmla="*/ 126 h 189"/>
                <a:gd name="T68" fmla="*/ 63 w 188"/>
                <a:gd name="T69" fmla="*/ 94 h 189"/>
                <a:gd name="T70" fmla="*/ 94 w 188"/>
                <a:gd name="T71" fmla="*/ 63 h 189"/>
                <a:gd name="T72" fmla="*/ 126 w 188"/>
                <a:gd name="T73" fmla="*/ 94 h 189"/>
                <a:gd name="T74" fmla="*/ 94 w 188"/>
                <a:gd name="T75" fmla="*/ 126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8" h="189">
                  <a:moveTo>
                    <a:pt x="150" y="172"/>
                  </a:moveTo>
                  <a:cubicBezTo>
                    <a:pt x="172" y="150"/>
                    <a:pt x="172" y="150"/>
                    <a:pt x="172" y="150"/>
                  </a:cubicBezTo>
                  <a:cubicBezTo>
                    <a:pt x="148" y="126"/>
                    <a:pt x="148" y="126"/>
                    <a:pt x="148" y="126"/>
                  </a:cubicBezTo>
                  <a:cubicBezTo>
                    <a:pt x="151" y="121"/>
                    <a:pt x="153" y="116"/>
                    <a:pt x="155" y="110"/>
                  </a:cubicBezTo>
                  <a:cubicBezTo>
                    <a:pt x="188" y="110"/>
                    <a:pt x="188" y="110"/>
                    <a:pt x="188" y="110"/>
                  </a:cubicBezTo>
                  <a:cubicBezTo>
                    <a:pt x="188" y="79"/>
                    <a:pt x="188" y="79"/>
                    <a:pt x="188" y="79"/>
                  </a:cubicBezTo>
                  <a:cubicBezTo>
                    <a:pt x="155" y="79"/>
                    <a:pt x="155" y="79"/>
                    <a:pt x="155" y="79"/>
                  </a:cubicBezTo>
                  <a:cubicBezTo>
                    <a:pt x="153" y="73"/>
                    <a:pt x="151" y="68"/>
                    <a:pt x="148" y="63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50" y="17"/>
                    <a:pt x="150" y="17"/>
                    <a:pt x="150" y="17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1" y="38"/>
                    <a:pt x="116" y="35"/>
                    <a:pt x="110" y="3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3" y="35"/>
                    <a:pt x="68" y="38"/>
                    <a:pt x="63" y="41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8" y="68"/>
                    <a:pt x="35" y="73"/>
                    <a:pt x="34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5" y="116"/>
                    <a:pt x="38" y="121"/>
                    <a:pt x="41" y="126"/>
                  </a:cubicBezTo>
                  <a:cubicBezTo>
                    <a:pt x="17" y="150"/>
                    <a:pt x="17" y="150"/>
                    <a:pt x="17" y="150"/>
                  </a:cubicBezTo>
                  <a:cubicBezTo>
                    <a:pt x="39" y="172"/>
                    <a:pt x="39" y="172"/>
                    <a:pt x="39" y="172"/>
                  </a:cubicBezTo>
                  <a:cubicBezTo>
                    <a:pt x="63" y="148"/>
                    <a:pt x="63" y="148"/>
                    <a:pt x="63" y="148"/>
                  </a:cubicBezTo>
                  <a:cubicBezTo>
                    <a:pt x="68" y="151"/>
                    <a:pt x="73" y="153"/>
                    <a:pt x="79" y="155"/>
                  </a:cubicBezTo>
                  <a:cubicBezTo>
                    <a:pt x="79" y="189"/>
                    <a:pt x="79" y="189"/>
                    <a:pt x="79" y="189"/>
                  </a:cubicBezTo>
                  <a:cubicBezTo>
                    <a:pt x="110" y="189"/>
                    <a:pt x="110" y="189"/>
                    <a:pt x="110" y="189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6" y="153"/>
                    <a:pt x="121" y="151"/>
                    <a:pt x="126" y="148"/>
                  </a:cubicBezTo>
                  <a:lnTo>
                    <a:pt x="150" y="172"/>
                  </a:lnTo>
                  <a:close/>
                  <a:moveTo>
                    <a:pt x="94" y="126"/>
                  </a:moveTo>
                  <a:cubicBezTo>
                    <a:pt x="77" y="126"/>
                    <a:pt x="63" y="112"/>
                    <a:pt x="63" y="94"/>
                  </a:cubicBezTo>
                  <a:cubicBezTo>
                    <a:pt x="63" y="77"/>
                    <a:pt x="77" y="63"/>
                    <a:pt x="94" y="63"/>
                  </a:cubicBezTo>
                  <a:cubicBezTo>
                    <a:pt x="112" y="63"/>
                    <a:pt x="126" y="77"/>
                    <a:pt x="126" y="94"/>
                  </a:cubicBezTo>
                  <a:cubicBezTo>
                    <a:pt x="126" y="112"/>
                    <a:pt x="112" y="126"/>
                    <a:pt x="94" y="126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9" name="Freeform 882">
              <a:extLst>
                <a:ext uri="{FF2B5EF4-FFF2-40B4-BE49-F238E27FC236}">
                  <a16:creationId xmlns:a16="http://schemas.microsoft.com/office/drawing/2014/main" id="{C9EB63BD-F07C-8043-183D-1C651433DC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50338" y="4841875"/>
              <a:ext cx="361950" cy="379412"/>
            </a:xfrm>
            <a:custGeom>
              <a:avLst/>
              <a:gdLst>
                <a:gd name="T0" fmla="*/ 282 w 356"/>
                <a:gd name="T1" fmla="*/ 141 h 372"/>
                <a:gd name="T2" fmla="*/ 141 w 356"/>
                <a:gd name="T3" fmla="*/ 0 h 372"/>
                <a:gd name="T4" fmla="*/ 0 w 356"/>
                <a:gd name="T5" fmla="*/ 141 h 372"/>
                <a:gd name="T6" fmla="*/ 141 w 356"/>
                <a:gd name="T7" fmla="*/ 283 h 372"/>
                <a:gd name="T8" fmla="*/ 220 w 356"/>
                <a:gd name="T9" fmla="*/ 258 h 372"/>
                <a:gd name="T10" fmla="*/ 334 w 356"/>
                <a:gd name="T11" fmla="*/ 372 h 372"/>
                <a:gd name="T12" fmla="*/ 356 w 356"/>
                <a:gd name="T13" fmla="*/ 350 h 372"/>
                <a:gd name="T14" fmla="*/ 244 w 356"/>
                <a:gd name="T15" fmla="*/ 238 h 372"/>
                <a:gd name="T16" fmla="*/ 282 w 356"/>
                <a:gd name="T17" fmla="*/ 141 h 372"/>
                <a:gd name="T18" fmla="*/ 22 w 356"/>
                <a:gd name="T19" fmla="*/ 141 h 372"/>
                <a:gd name="T20" fmla="*/ 141 w 356"/>
                <a:gd name="T21" fmla="*/ 22 h 372"/>
                <a:gd name="T22" fmla="*/ 261 w 356"/>
                <a:gd name="T23" fmla="*/ 141 h 372"/>
                <a:gd name="T24" fmla="*/ 141 w 356"/>
                <a:gd name="T25" fmla="*/ 261 h 372"/>
                <a:gd name="T26" fmla="*/ 22 w 356"/>
                <a:gd name="T27" fmla="*/ 14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6" h="372">
                  <a:moveTo>
                    <a:pt x="282" y="141"/>
                  </a:moveTo>
                  <a:cubicBezTo>
                    <a:pt x="282" y="64"/>
                    <a:pt x="219" y="0"/>
                    <a:pt x="141" y="0"/>
                  </a:cubicBezTo>
                  <a:cubicBezTo>
                    <a:pt x="64" y="0"/>
                    <a:pt x="0" y="64"/>
                    <a:pt x="0" y="141"/>
                  </a:cubicBezTo>
                  <a:cubicBezTo>
                    <a:pt x="0" y="219"/>
                    <a:pt x="64" y="283"/>
                    <a:pt x="141" y="283"/>
                  </a:cubicBezTo>
                  <a:cubicBezTo>
                    <a:pt x="171" y="283"/>
                    <a:pt x="198" y="274"/>
                    <a:pt x="220" y="258"/>
                  </a:cubicBezTo>
                  <a:cubicBezTo>
                    <a:pt x="334" y="372"/>
                    <a:pt x="334" y="372"/>
                    <a:pt x="334" y="372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244" y="238"/>
                    <a:pt x="244" y="238"/>
                    <a:pt x="244" y="238"/>
                  </a:cubicBezTo>
                  <a:cubicBezTo>
                    <a:pt x="268" y="213"/>
                    <a:pt x="282" y="179"/>
                    <a:pt x="282" y="141"/>
                  </a:cubicBezTo>
                  <a:close/>
                  <a:moveTo>
                    <a:pt x="22" y="141"/>
                  </a:moveTo>
                  <a:cubicBezTo>
                    <a:pt x="22" y="76"/>
                    <a:pt x="75" y="22"/>
                    <a:pt x="141" y="22"/>
                  </a:cubicBezTo>
                  <a:cubicBezTo>
                    <a:pt x="207" y="22"/>
                    <a:pt x="261" y="76"/>
                    <a:pt x="261" y="141"/>
                  </a:cubicBezTo>
                  <a:cubicBezTo>
                    <a:pt x="261" y="207"/>
                    <a:pt x="207" y="261"/>
                    <a:pt x="141" y="261"/>
                  </a:cubicBezTo>
                  <a:cubicBezTo>
                    <a:pt x="75" y="261"/>
                    <a:pt x="22" y="207"/>
                    <a:pt x="22" y="141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80" name="Box">
            <a:extLst>
              <a:ext uri="{FF2B5EF4-FFF2-40B4-BE49-F238E27FC236}">
                <a16:creationId xmlns:a16="http://schemas.microsoft.com/office/drawing/2014/main" id="{BD24B8FC-537A-1824-74A0-0CE5081D185F}"/>
              </a:ext>
            </a:extLst>
          </p:cNvPr>
          <p:cNvSpPr/>
          <p:nvPr/>
        </p:nvSpPr>
        <p:spPr>
          <a:xfrm>
            <a:off x="6514436" y="3014807"/>
            <a:ext cx="1744915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Mining</a:t>
            </a:r>
          </a:p>
        </p:txBody>
      </p:sp>
      <p:grpSp>
        <p:nvGrpSpPr>
          <p:cNvPr id="681" name="Group 680">
            <a:extLst>
              <a:ext uri="{FF2B5EF4-FFF2-40B4-BE49-F238E27FC236}">
                <a16:creationId xmlns:a16="http://schemas.microsoft.com/office/drawing/2014/main" id="{740A636D-D734-8237-4651-3362C408A305}"/>
              </a:ext>
            </a:extLst>
          </p:cNvPr>
          <p:cNvGrpSpPr/>
          <p:nvPr/>
        </p:nvGrpSpPr>
        <p:grpSpPr>
          <a:xfrm>
            <a:off x="6612455" y="3083665"/>
            <a:ext cx="361951" cy="342345"/>
            <a:chOff x="3010761" y="2762934"/>
            <a:chExt cx="391569" cy="370359"/>
          </a:xfrm>
        </p:grpSpPr>
        <p:sp>
          <p:nvSpPr>
            <p:cNvPr id="682" name="Oval 187">
              <a:extLst>
                <a:ext uri="{FF2B5EF4-FFF2-40B4-BE49-F238E27FC236}">
                  <a16:creationId xmlns:a16="http://schemas.microsoft.com/office/drawing/2014/main" id="{11062D0B-6F17-9C45-3FA1-30BBF78CB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2916" y="2762934"/>
              <a:ext cx="68525" cy="66894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3" name="Freeform 188">
              <a:extLst>
                <a:ext uri="{FF2B5EF4-FFF2-40B4-BE49-F238E27FC236}">
                  <a16:creationId xmlns:a16="http://schemas.microsoft.com/office/drawing/2014/main" id="{CAC4E7C8-C488-B6D3-4E70-D210A9337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0761" y="2818406"/>
              <a:ext cx="391569" cy="314887"/>
            </a:xfrm>
            <a:custGeom>
              <a:avLst/>
              <a:gdLst>
                <a:gd name="T0" fmla="*/ 38 w 166"/>
                <a:gd name="T1" fmla="*/ 98 h 133"/>
                <a:gd name="T2" fmla="*/ 35 w 166"/>
                <a:gd name="T3" fmla="*/ 80 h 133"/>
                <a:gd name="T4" fmla="*/ 50 w 166"/>
                <a:gd name="T5" fmla="*/ 98 h 133"/>
                <a:gd name="T6" fmla="*/ 33 w 166"/>
                <a:gd name="T7" fmla="*/ 133 h 133"/>
                <a:gd name="T8" fmla="*/ 50 w 166"/>
                <a:gd name="T9" fmla="*/ 133 h 133"/>
                <a:gd name="T10" fmla="*/ 67 w 166"/>
                <a:gd name="T11" fmla="*/ 93 h 133"/>
                <a:gd name="T12" fmla="*/ 45 w 166"/>
                <a:gd name="T13" fmla="*/ 63 h 133"/>
                <a:gd name="T14" fmla="*/ 49 w 166"/>
                <a:gd name="T15" fmla="*/ 56 h 133"/>
                <a:gd name="T16" fmla="*/ 112 w 166"/>
                <a:gd name="T17" fmla="*/ 102 h 133"/>
                <a:gd name="T18" fmla="*/ 104 w 166"/>
                <a:gd name="T19" fmla="*/ 110 h 133"/>
                <a:gd name="T20" fmla="*/ 102 w 166"/>
                <a:gd name="T21" fmla="*/ 110 h 133"/>
                <a:gd name="T22" fmla="*/ 91 w 166"/>
                <a:gd name="T23" fmla="*/ 122 h 133"/>
                <a:gd name="T24" fmla="*/ 91 w 166"/>
                <a:gd name="T25" fmla="*/ 122 h 133"/>
                <a:gd name="T26" fmla="*/ 88 w 166"/>
                <a:gd name="T27" fmla="*/ 122 h 133"/>
                <a:gd name="T28" fmla="*/ 79 w 166"/>
                <a:gd name="T29" fmla="*/ 131 h 133"/>
                <a:gd name="T30" fmla="*/ 80 w 166"/>
                <a:gd name="T31" fmla="*/ 133 h 133"/>
                <a:gd name="T32" fmla="*/ 166 w 166"/>
                <a:gd name="T33" fmla="*/ 133 h 133"/>
                <a:gd name="T34" fmla="*/ 166 w 166"/>
                <a:gd name="T35" fmla="*/ 131 h 133"/>
                <a:gd name="T36" fmla="*/ 158 w 166"/>
                <a:gd name="T37" fmla="*/ 122 h 133"/>
                <a:gd name="T38" fmla="*/ 155 w 166"/>
                <a:gd name="T39" fmla="*/ 122 h 133"/>
                <a:gd name="T40" fmla="*/ 155 w 166"/>
                <a:gd name="T41" fmla="*/ 122 h 133"/>
                <a:gd name="T42" fmla="*/ 143 w 166"/>
                <a:gd name="T43" fmla="*/ 110 h 133"/>
                <a:gd name="T44" fmla="*/ 141 w 166"/>
                <a:gd name="T45" fmla="*/ 110 h 133"/>
                <a:gd name="T46" fmla="*/ 123 w 166"/>
                <a:gd name="T47" fmla="*/ 98 h 133"/>
                <a:gd name="T48" fmla="*/ 112 w 166"/>
                <a:gd name="T49" fmla="*/ 101 h 133"/>
                <a:gd name="T50" fmla="*/ 82 w 166"/>
                <a:gd name="T51" fmla="*/ 80 h 133"/>
                <a:gd name="T52" fmla="*/ 73 w 166"/>
                <a:gd name="T53" fmla="*/ 53 h 133"/>
                <a:gd name="T54" fmla="*/ 73 w 166"/>
                <a:gd name="T55" fmla="*/ 17 h 133"/>
                <a:gd name="T56" fmla="*/ 44 w 166"/>
                <a:gd name="T57" fmla="*/ 0 h 133"/>
                <a:gd name="T58" fmla="*/ 9 w 166"/>
                <a:gd name="T59" fmla="*/ 0 h 133"/>
                <a:gd name="T60" fmla="*/ 6 w 166"/>
                <a:gd name="T61" fmla="*/ 25 h 133"/>
                <a:gd name="T62" fmla="*/ 0 w 166"/>
                <a:gd name="T63" fmla="*/ 21 h 133"/>
                <a:gd name="T64" fmla="*/ 0 w 166"/>
                <a:gd name="T65" fmla="*/ 21 h 133"/>
                <a:gd name="T66" fmla="*/ 23 w 166"/>
                <a:gd name="T67" fmla="*/ 38 h 133"/>
                <a:gd name="T68" fmla="*/ 15 w 166"/>
                <a:gd name="T69" fmla="*/ 52 h 133"/>
                <a:gd name="T70" fmla="*/ 21 w 166"/>
                <a:gd name="T71" fmla="*/ 93 h 133"/>
                <a:gd name="T72" fmla="*/ 0 w 166"/>
                <a:gd name="T73" fmla="*/ 133 h 133"/>
                <a:gd name="T74" fmla="*/ 15 w 166"/>
                <a:gd name="T75" fmla="*/ 133 h 133"/>
                <a:gd name="T76" fmla="*/ 38 w 166"/>
                <a:gd name="T77" fmla="*/ 98 h 133"/>
                <a:gd name="T78" fmla="*/ 62 w 166"/>
                <a:gd name="T79" fmla="*/ 36 h 133"/>
                <a:gd name="T80" fmla="*/ 62 w 166"/>
                <a:gd name="T81" fmla="*/ 58 h 133"/>
                <a:gd name="T82" fmla="*/ 21 w 166"/>
                <a:gd name="T83" fmla="*/ 29 h 133"/>
                <a:gd name="T84" fmla="*/ 21 w 166"/>
                <a:gd name="T85" fmla="*/ 11 h 133"/>
                <a:gd name="T86" fmla="*/ 37 w 166"/>
                <a:gd name="T87" fmla="*/ 11 h 133"/>
                <a:gd name="T88" fmla="*/ 25 w 166"/>
                <a:gd name="T89" fmla="*/ 32 h 133"/>
                <a:gd name="T90" fmla="*/ 21 w 166"/>
                <a:gd name="T91" fmla="*/ 2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6" h="133">
                  <a:moveTo>
                    <a:pt x="38" y="98"/>
                  </a:moveTo>
                  <a:cubicBezTo>
                    <a:pt x="35" y="80"/>
                    <a:pt x="35" y="80"/>
                    <a:pt x="35" y="80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33" y="133"/>
                    <a:pt x="33" y="133"/>
                    <a:pt x="33" y="133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67" y="93"/>
                    <a:pt x="67" y="93"/>
                    <a:pt x="67" y="9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112" y="102"/>
                    <a:pt x="112" y="102"/>
                    <a:pt x="112" y="102"/>
                  </a:cubicBezTo>
                  <a:cubicBezTo>
                    <a:pt x="109" y="104"/>
                    <a:pt x="106" y="107"/>
                    <a:pt x="104" y="110"/>
                  </a:cubicBezTo>
                  <a:cubicBezTo>
                    <a:pt x="104" y="110"/>
                    <a:pt x="103" y="110"/>
                    <a:pt x="102" y="110"/>
                  </a:cubicBezTo>
                  <a:cubicBezTo>
                    <a:pt x="96" y="110"/>
                    <a:pt x="91" y="115"/>
                    <a:pt x="91" y="122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90" y="122"/>
                    <a:pt x="89" y="122"/>
                    <a:pt x="88" y="122"/>
                  </a:cubicBezTo>
                  <a:cubicBezTo>
                    <a:pt x="83" y="122"/>
                    <a:pt x="79" y="126"/>
                    <a:pt x="79" y="131"/>
                  </a:cubicBezTo>
                  <a:cubicBezTo>
                    <a:pt x="79" y="132"/>
                    <a:pt x="79" y="133"/>
                    <a:pt x="80" y="133"/>
                  </a:cubicBezTo>
                  <a:cubicBezTo>
                    <a:pt x="166" y="133"/>
                    <a:pt x="166" y="133"/>
                    <a:pt x="166" y="133"/>
                  </a:cubicBezTo>
                  <a:cubicBezTo>
                    <a:pt x="166" y="133"/>
                    <a:pt x="166" y="132"/>
                    <a:pt x="166" y="131"/>
                  </a:cubicBezTo>
                  <a:cubicBezTo>
                    <a:pt x="166" y="126"/>
                    <a:pt x="162" y="122"/>
                    <a:pt x="158" y="122"/>
                  </a:cubicBezTo>
                  <a:cubicBezTo>
                    <a:pt x="157" y="122"/>
                    <a:pt x="156" y="122"/>
                    <a:pt x="155" y="122"/>
                  </a:cubicBezTo>
                  <a:cubicBezTo>
                    <a:pt x="155" y="122"/>
                    <a:pt x="155" y="122"/>
                    <a:pt x="155" y="122"/>
                  </a:cubicBezTo>
                  <a:cubicBezTo>
                    <a:pt x="155" y="115"/>
                    <a:pt x="149" y="110"/>
                    <a:pt x="143" y="110"/>
                  </a:cubicBezTo>
                  <a:cubicBezTo>
                    <a:pt x="142" y="110"/>
                    <a:pt x="142" y="110"/>
                    <a:pt x="141" y="110"/>
                  </a:cubicBezTo>
                  <a:cubicBezTo>
                    <a:pt x="138" y="103"/>
                    <a:pt x="131" y="98"/>
                    <a:pt x="123" y="98"/>
                  </a:cubicBezTo>
                  <a:cubicBezTo>
                    <a:pt x="121" y="98"/>
                    <a:pt x="113" y="101"/>
                    <a:pt x="112" y="101"/>
                  </a:cubicBezTo>
                  <a:cubicBezTo>
                    <a:pt x="82" y="80"/>
                    <a:pt x="82" y="80"/>
                    <a:pt x="82" y="80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1" y="93"/>
                    <a:pt x="21" y="93"/>
                    <a:pt x="21" y="93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15" y="133"/>
                    <a:pt x="15" y="133"/>
                    <a:pt x="15" y="133"/>
                  </a:cubicBezTo>
                  <a:lnTo>
                    <a:pt x="38" y="98"/>
                  </a:lnTo>
                  <a:close/>
                  <a:moveTo>
                    <a:pt x="62" y="36"/>
                  </a:moveTo>
                  <a:cubicBezTo>
                    <a:pt x="62" y="58"/>
                    <a:pt x="62" y="58"/>
                    <a:pt x="62" y="58"/>
                  </a:cubicBezTo>
                  <a:moveTo>
                    <a:pt x="21" y="29"/>
                  </a:moveTo>
                  <a:cubicBezTo>
                    <a:pt x="21" y="11"/>
                    <a:pt x="21" y="11"/>
                    <a:pt x="21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25" y="32"/>
                    <a:pt x="25" y="32"/>
                    <a:pt x="25" y="32"/>
                  </a:cubicBezTo>
                  <a:lnTo>
                    <a:pt x="21" y="29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84" name="Group 683">
            <a:extLst>
              <a:ext uri="{FF2B5EF4-FFF2-40B4-BE49-F238E27FC236}">
                <a16:creationId xmlns:a16="http://schemas.microsoft.com/office/drawing/2014/main" id="{FA916D0F-0133-4BBE-EEE2-A7C2A36DDE63}"/>
              </a:ext>
            </a:extLst>
          </p:cNvPr>
          <p:cNvGrpSpPr/>
          <p:nvPr/>
        </p:nvGrpSpPr>
        <p:grpSpPr>
          <a:xfrm>
            <a:off x="7275525" y="2692905"/>
            <a:ext cx="213756" cy="213756"/>
            <a:chOff x="4488873" y="2464130"/>
            <a:chExt cx="213756" cy="213756"/>
          </a:xfrm>
        </p:grpSpPr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B166BB34-2B7C-C697-51CB-084CF3A4FF38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686" name="Chevron 685">
              <a:extLst>
                <a:ext uri="{FF2B5EF4-FFF2-40B4-BE49-F238E27FC236}">
                  <a16:creationId xmlns:a16="http://schemas.microsoft.com/office/drawing/2014/main" id="{1F71610C-7C16-CDAA-D43A-088E0F884DD4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695" name="Rounded Rectangle 694">
            <a:extLst>
              <a:ext uri="{FF2B5EF4-FFF2-40B4-BE49-F238E27FC236}">
                <a16:creationId xmlns:a16="http://schemas.microsoft.com/office/drawing/2014/main" id="{D3964820-412E-FA02-C19C-E4A86D2F8B5B}"/>
              </a:ext>
            </a:extLst>
          </p:cNvPr>
          <p:cNvSpPr/>
          <p:nvPr/>
        </p:nvSpPr>
        <p:spPr>
          <a:xfrm>
            <a:off x="6472944" y="3769417"/>
            <a:ext cx="1836878" cy="2774468"/>
          </a:xfrm>
          <a:prstGeom prst="roundRect">
            <a:avLst>
              <a:gd name="adj" fmla="val 8519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96" name="Rounded Rectangle 695">
            <a:extLst>
              <a:ext uri="{FF2B5EF4-FFF2-40B4-BE49-F238E27FC236}">
                <a16:creationId xmlns:a16="http://schemas.microsoft.com/office/drawing/2014/main" id="{EDA8B363-CD1D-585F-EDA7-6889FD6C8CA0}"/>
              </a:ext>
            </a:extLst>
          </p:cNvPr>
          <p:cNvSpPr/>
          <p:nvPr/>
        </p:nvSpPr>
        <p:spPr>
          <a:xfrm>
            <a:off x="8511634" y="3769417"/>
            <a:ext cx="1836878" cy="2738416"/>
          </a:xfrm>
          <a:prstGeom prst="roundRect">
            <a:avLst>
              <a:gd name="adj" fmla="val 8519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699" name="Box">
            <a:extLst>
              <a:ext uri="{FF2B5EF4-FFF2-40B4-BE49-F238E27FC236}">
                <a16:creationId xmlns:a16="http://schemas.microsoft.com/office/drawing/2014/main" id="{D2ABB79F-F0F0-FEB1-F066-294F94A66908}"/>
              </a:ext>
            </a:extLst>
          </p:cNvPr>
          <p:cNvSpPr/>
          <p:nvPr/>
        </p:nvSpPr>
        <p:spPr>
          <a:xfrm>
            <a:off x="8549658" y="4097146"/>
            <a:ext cx="1744915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Concentration</a:t>
            </a:r>
          </a:p>
        </p:txBody>
      </p:sp>
      <p:sp>
        <p:nvSpPr>
          <p:cNvPr id="700" name="Box">
            <a:extLst>
              <a:ext uri="{FF2B5EF4-FFF2-40B4-BE49-F238E27FC236}">
                <a16:creationId xmlns:a16="http://schemas.microsoft.com/office/drawing/2014/main" id="{91807CDA-3466-5B81-D1E3-7BDB9D39F72B}"/>
              </a:ext>
            </a:extLst>
          </p:cNvPr>
          <p:cNvSpPr/>
          <p:nvPr/>
        </p:nvSpPr>
        <p:spPr>
          <a:xfrm>
            <a:off x="8578095" y="5747112"/>
            <a:ext cx="1744915" cy="6712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>
                <a:solidFill>
                  <a:schemeClr val="accent1"/>
                </a:solidFill>
                <a:latin typeface="Arial"/>
                <a:cs typeface="Arial"/>
              </a:rPr>
              <a:t>Value addition e.g. Fuel cells from PGMs</a:t>
            </a:r>
          </a:p>
        </p:txBody>
      </p:sp>
      <p:sp>
        <p:nvSpPr>
          <p:cNvPr id="697" name="Box">
            <a:extLst>
              <a:ext uri="{FF2B5EF4-FFF2-40B4-BE49-F238E27FC236}">
                <a16:creationId xmlns:a16="http://schemas.microsoft.com/office/drawing/2014/main" id="{06D6248E-D7C1-AFCB-F2DA-536A3608BC8B}"/>
              </a:ext>
            </a:extLst>
          </p:cNvPr>
          <p:cNvSpPr/>
          <p:nvPr/>
        </p:nvSpPr>
        <p:spPr>
          <a:xfrm>
            <a:off x="6514296" y="3822828"/>
            <a:ext cx="1744915" cy="7824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/>
                <a:cs typeface="Arial"/>
              </a:rPr>
              <a:t>Battery Metal Grade Focussed Beneficiation </a:t>
            </a:r>
            <a:endParaRPr lang="en-ZA" sz="1100" dirty="0">
              <a:solidFill>
                <a:schemeClr val="accent1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98" name="Box">
            <a:extLst>
              <a:ext uri="{FF2B5EF4-FFF2-40B4-BE49-F238E27FC236}">
                <a16:creationId xmlns:a16="http://schemas.microsoft.com/office/drawing/2014/main" id="{7B04E69F-3EC3-F7CB-2319-2526041A10FE}"/>
              </a:ext>
            </a:extLst>
          </p:cNvPr>
          <p:cNvSpPr/>
          <p:nvPr/>
        </p:nvSpPr>
        <p:spPr>
          <a:xfrm>
            <a:off x="6518925" y="6018422"/>
            <a:ext cx="1744915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>
                <a:solidFill>
                  <a:schemeClr val="accent1"/>
                </a:solidFill>
                <a:latin typeface="Arial"/>
                <a:cs typeface="Arial"/>
              </a:rPr>
              <a:t>Automakers</a:t>
            </a:r>
            <a:endParaRPr lang="en-ZA" sz="11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grpSp>
        <p:nvGrpSpPr>
          <p:cNvPr id="701" name="Group 700">
            <a:extLst>
              <a:ext uri="{FF2B5EF4-FFF2-40B4-BE49-F238E27FC236}">
                <a16:creationId xmlns:a16="http://schemas.microsoft.com/office/drawing/2014/main" id="{ABFF4B5F-2F9D-C76D-6F20-E0BA45AEBDBB}"/>
              </a:ext>
            </a:extLst>
          </p:cNvPr>
          <p:cNvGrpSpPr/>
          <p:nvPr/>
        </p:nvGrpSpPr>
        <p:grpSpPr>
          <a:xfrm>
            <a:off x="7322878" y="4541881"/>
            <a:ext cx="213756" cy="213756"/>
            <a:chOff x="4488873" y="2464130"/>
            <a:chExt cx="213756" cy="213756"/>
          </a:xfrm>
        </p:grpSpPr>
        <p:sp>
          <p:nvSpPr>
            <p:cNvPr id="702" name="Oval 701">
              <a:extLst>
                <a:ext uri="{FF2B5EF4-FFF2-40B4-BE49-F238E27FC236}">
                  <a16:creationId xmlns:a16="http://schemas.microsoft.com/office/drawing/2014/main" id="{20920202-0486-3EF3-6AE9-847204E3416B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03" name="Chevron 702">
              <a:extLst>
                <a:ext uri="{FF2B5EF4-FFF2-40B4-BE49-F238E27FC236}">
                  <a16:creationId xmlns:a16="http://schemas.microsoft.com/office/drawing/2014/main" id="{585CA1A2-0582-933E-1810-9D4FDA3A8C3C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705" name="Group 704">
            <a:extLst>
              <a:ext uri="{FF2B5EF4-FFF2-40B4-BE49-F238E27FC236}">
                <a16:creationId xmlns:a16="http://schemas.microsoft.com/office/drawing/2014/main" id="{2E3566B7-91C1-28E3-F558-B357573A4329}"/>
              </a:ext>
            </a:extLst>
          </p:cNvPr>
          <p:cNvGrpSpPr/>
          <p:nvPr/>
        </p:nvGrpSpPr>
        <p:grpSpPr>
          <a:xfrm>
            <a:off x="9374763" y="5459572"/>
            <a:ext cx="213756" cy="213756"/>
            <a:chOff x="4488873" y="2464130"/>
            <a:chExt cx="213756" cy="213756"/>
          </a:xfrm>
        </p:grpSpPr>
        <p:sp>
          <p:nvSpPr>
            <p:cNvPr id="706" name="Oval 705">
              <a:extLst>
                <a:ext uri="{FF2B5EF4-FFF2-40B4-BE49-F238E27FC236}">
                  <a16:creationId xmlns:a16="http://schemas.microsoft.com/office/drawing/2014/main" id="{387F0D46-F380-9B30-7336-C16C02AAF716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07" name="Chevron 706">
              <a:extLst>
                <a:ext uri="{FF2B5EF4-FFF2-40B4-BE49-F238E27FC236}">
                  <a16:creationId xmlns:a16="http://schemas.microsoft.com/office/drawing/2014/main" id="{D7894CBC-636C-AA44-E380-FF69479B9420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708" name="Group 707">
            <a:extLst>
              <a:ext uri="{FF2B5EF4-FFF2-40B4-BE49-F238E27FC236}">
                <a16:creationId xmlns:a16="http://schemas.microsoft.com/office/drawing/2014/main" id="{DFC88817-6BC1-02AE-3C12-1F6D993C4D2D}"/>
              </a:ext>
            </a:extLst>
          </p:cNvPr>
          <p:cNvGrpSpPr/>
          <p:nvPr/>
        </p:nvGrpSpPr>
        <p:grpSpPr>
          <a:xfrm>
            <a:off x="8648796" y="4186557"/>
            <a:ext cx="356033" cy="279608"/>
            <a:chOff x="5485143" y="5839960"/>
            <a:chExt cx="626411" cy="491947"/>
          </a:xfrm>
        </p:grpSpPr>
        <p:grpSp>
          <p:nvGrpSpPr>
            <p:cNvPr id="709" name="Group 708">
              <a:extLst>
                <a:ext uri="{FF2B5EF4-FFF2-40B4-BE49-F238E27FC236}">
                  <a16:creationId xmlns:a16="http://schemas.microsoft.com/office/drawing/2014/main" id="{F6D0B29C-656F-F119-1963-644FFA3AD5F9}"/>
                </a:ext>
              </a:extLst>
            </p:cNvPr>
            <p:cNvGrpSpPr/>
            <p:nvPr/>
          </p:nvGrpSpPr>
          <p:grpSpPr>
            <a:xfrm>
              <a:off x="5485143" y="6038981"/>
              <a:ext cx="626411" cy="292926"/>
              <a:chOff x="8045400" y="3790347"/>
              <a:chExt cx="383452" cy="179312"/>
            </a:xfrm>
          </p:grpSpPr>
          <p:sp>
            <p:nvSpPr>
              <p:cNvPr id="711" name="Freeform 66">
                <a:extLst>
                  <a:ext uri="{FF2B5EF4-FFF2-40B4-BE49-F238E27FC236}">
                    <a16:creationId xmlns:a16="http://schemas.microsoft.com/office/drawing/2014/main" id="{425FBB08-0663-CCC3-6901-449F0C3C3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6895" y="3832647"/>
                <a:ext cx="331957" cy="137012"/>
              </a:xfrm>
              <a:custGeom>
                <a:avLst/>
                <a:gdLst>
                  <a:gd name="T0" fmla="*/ 0 w 150"/>
                  <a:gd name="T1" fmla="*/ 50 h 62"/>
                  <a:gd name="T2" fmla="*/ 31 w 150"/>
                  <a:gd name="T3" fmla="*/ 31 h 62"/>
                  <a:gd name="T4" fmla="*/ 66 w 150"/>
                  <a:gd name="T5" fmla="*/ 53 h 62"/>
                  <a:gd name="T6" fmla="*/ 89 w 150"/>
                  <a:gd name="T7" fmla="*/ 56 h 62"/>
                  <a:gd name="T8" fmla="*/ 100 w 150"/>
                  <a:gd name="T9" fmla="*/ 50 h 62"/>
                  <a:gd name="T10" fmla="*/ 143 w 150"/>
                  <a:gd name="T11" fmla="*/ 19 h 62"/>
                  <a:gd name="T12" fmla="*/ 148 w 150"/>
                  <a:gd name="T13" fmla="*/ 6 h 62"/>
                  <a:gd name="T14" fmla="*/ 148 w 150"/>
                  <a:gd name="T15" fmla="*/ 6 h 62"/>
                  <a:gd name="T16" fmla="*/ 134 w 150"/>
                  <a:gd name="T17" fmla="*/ 3 h 62"/>
                  <a:gd name="T18" fmla="*/ 96 w 150"/>
                  <a:gd name="T19" fmla="*/ 1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62">
                    <a:moveTo>
                      <a:pt x="0" y="50"/>
                    </a:moveTo>
                    <a:cubicBezTo>
                      <a:pt x="31" y="31"/>
                      <a:pt x="31" y="31"/>
                      <a:pt x="31" y="31"/>
                    </a:cubicBezTo>
                    <a:cubicBezTo>
                      <a:pt x="31" y="31"/>
                      <a:pt x="53" y="44"/>
                      <a:pt x="66" y="53"/>
                    </a:cubicBezTo>
                    <a:cubicBezTo>
                      <a:pt x="78" y="62"/>
                      <a:pt x="89" y="56"/>
                      <a:pt x="89" y="56"/>
                    </a:cubicBezTo>
                    <a:cubicBezTo>
                      <a:pt x="100" y="50"/>
                      <a:pt x="100" y="50"/>
                      <a:pt x="100" y="50"/>
                    </a:cubicBezTo>
                    <a:cubicBezTo>
                      <a:pt x="143" y="19"/>
                      <a:pt x="143" y="19"/>
                      <a:pt x="143" y="19"/>
                    </a:cubicBezTo>
                    <a:cubicBezTo>
                      <a:pt x="148" y="17"/>
                      <a:pt x="150" y="11"/>
                      <a:pt x="148" y="6"/>
                    </a:cubicBezTo>
                    <a:cubicBezTo>
                      <a:pt x="148" y="6"/>
                      <a:pt x="148" y="6"/>
                      <a:pt x="148" y="6"/>
                    </a:cubicBezTo>
                    <a:cubicBezTo>
                      <a:pt x="145" y="2"/>
                      <a:pt x="139" y="0"/>
                      <a:pt x="134" y="3"/>
                    </a:cubicBezTo>
                    <a:cubicBezTo>
                      <a:pt x="96" y="19"/>
                      <a:pt x="96" y="19"/>
                      <a:pt x="96" y="19"/>
                    </a:cubicBezTo>
                  </a:path>
                </a:pathLst>
              </a:custGeom>
              <a:noFill/>
              <a:ln w="952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2" name="Freeform 67">
                <a:extLst>
                  <a:ext uri="{FF2B5EF4-FFF2-40B4-BE49-F238E27FC236}">
                    <a16:creationId xmlns:a16="http://schemas.microsoft.com/office/drawing/2014/main" id="{224767AA-41D8-572D-4521-2D446D3C9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6895" y="3790347"/>
                <a:ext cx="214255" cy="113104"/>
              </a:xfrm>
              <a:custGeom>
                <a:avLst/>
                <a:gdLst>
                  <a:gd name="T0" fmla="*/ 60 w 97"/>
                  <a:gd name="T1" fmla="*/ 37 h 51"/>
                  <a:gd name="T2" fmla="*/ 78 w 97"/>
                  <a:gd name="T3" fmla="*/ 48 h 51"/>
                  <a:gd name="T4" fmla="*/ 94 w 97"/>
                  <a:gd name="T5" fmla="*/ 45 h 51"/>
                  <a:gd name="T6" fmla="*/ 94 w 97"/>
                  <a:gd name="T7" fmla="*/ 45 h 51"/>
                  <a:gd name="T8" fmla="*/ 90 w 97"/>
                  <a:gd name="T9" fmla="*/ 29 h 51"/>
                  <a:gd name="T10" fmla="*/ 62 w 97"/>
                  <a:gd name="T11" fmla="*/ 11 h 51"/>
                  <a:gd name="T12" fmla="*/ 24 w 97"/>
                  <a:gd name="T13" fmla="*/ 16 h 51"/>
                  <a:gd name="T14" fmla="*/ 0 w 97"/>
                  <a:gd name="T15" fmla="*/ 3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51">
                    <a:moveTo>
                      <a:pt x="60" y="37"/>
                    </a:moveTo>
                    <a:cubicBezTo>
                      <a:pt x="78" y="48"/>
                      <a:pt x="78" y="48"/>
                      <a:pt x="78" y="48"/>
                    </a:cubicBezTo>
                    <a:cubicBezTo>
                      <a:pt x="84" y="51"/>
                      <a:pt x="91" y="50"/>
                      <a:pt x="94" y="45"/>
                    </a:cubicBezTo>
                    <a:cubicBezTo>
                      <a:pt x="94" y="45"/>
                      <a:pt x="94" y="45"/>
                      <a:pt x="94" y="45"/>
                    </a:cubicBezTo>
                    <a:cubicBezTo>
                      <a:pt x="97" y="39"/>
                      <a:pt x="96" y="32"/>
                      <a:pt x="90" y="29"/>
                    </a:cubicBezTo>
                    <a:cubicBezTo>
                      <a:pt x="62" y="11"/>
                      <a:pt x="62" y="11"/>
                      <a:pt x="62" y="11"/>
                    </a:cubicBezTo>
                    <a:cubicBezTo>
                      <a:pt x="62" y="11"/>
                      <a:pt x="50" y="0"/>
                      <a:pt x="24" y="16"/>
                    </a:cubicBezTo>
                    <a:cubicBezTo>
                      <a:pt x="0" y="31"/>
                      <a:pt x="0" y="31"/>
                      <a:pt x="0" y="31"/>
                    </a:cubicBezTo>
                  </a:path>
                </a:pathLst>
              </a:custGeom>
              <a:noFill/>
              <a:ln w="952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3" name="Rectangle 68">
                <a:extLst>
                  <a:ext uri="{FF2B5EF4-FFF2-40B4-BE49-F238E27FC236}">
                    <a16:creationId xmlns:a16="http://schemas.microsoft.com/office/drawing/2014/main" id="{0480233F-33D9-4DF6-9275-AF62F6FC0C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45400" y="3839083"/>
                <a:ext cx="48736" cy="113104"/>
              </a:xfrm>
              <a:prstGeom prst="rect">
                <a:avLst/>
              </a:prstGeom>
              <a:noFill/>
              <a:ln w="9525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710" name="Freeform 879">
              <a:extLst>
                <a:ext uri="{FF2B5EF4-FFF2-40B4-BE49-F238E27FC236}">
                  <a16:creationId xmlns:a16="http://schemas.microsoft.com/office/drawing/2014/main" id="{E7DD6DFD-A8B0-8B41-DB69-ED779F205D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3727" y="5839960"/>
              <a:ext cx="240785" cy="242298"/>
            </a:xfrm>
            <a:custGeom>
              <a:avLst/>
              <a:gdLst>
                <a:gd name="T0" fmla="*/ 50 w 248"/>
                <a:gd name="T1" fmla="*/ 172 h 248"/>
                <a:gd name="T2" fmla="*/ 24 w 248"/>
                <a:gd name="T3" fmla="*/ 199 h 248"/>
                <a:gd name="T4" fmla="*/ 49 w 248"/>
                <a:gd name="T5" fmla="*/ 224 h 248"/>
                <a:gd name="T6" fmla="*/ 75 w 248"/>
                <a:gd name="T7" fmla="*/ 197 h 248"/>
                <a:gd name="T8" fmla="*/ 106 w 248"/>
                <a:gd name="T9" fmla="*/ 210 h 248"/>
                <a:gd name="T10" fmla="*/ 106 w 248"/>
                <a:gd name="T11" fmla="*/ 248 h 248"/>
                <a:gd name="T12" fmla="*/ 142 w 248"/>
                <a:gd name="T13" fmla="*/ 248 h 248"/>
                <a:gd name="T14" fmla="*/ 142 w 248"/>
                <a:gd name="T15" fmla="*/ 210 h 248"/>
                <a:gd name="T16" fmla="*/ 173 w 248"/>
                <a:gd name="T17" fmla="*/ 197 h 248"/>
                <a:gd name="T18" fmla="*/ 199 w 248"/>
                <a:gd name="T19" fmla="*/ 224 h 248"/>
                <a:gd name="T20" fmla="*/ 224 w 248"/>
                <a:gd name="T21" fmla="*/ 199 h 248"/>
                <a:gd name="T22" fmla="*/ 198 w 248"/>
                <a:gd name="T23" fmla="*/ 172 h 248"/>
                <a:gd name="T24" fmla="*/ 211 w 248"/>
                <a:gd name="T25" fmla="*/ 141 h 248"/>
                <a:gd name="T26" fmla="*/ 248 w 248"/>
                <a:gd name="T27" fmla="*/ 141 h 248"/>
                <a:gd name="T28" fmla="*/ 248 w 248"/>
                <a:gd name="T29" fmla="*/ 106 h 248"/>
                <a:gd name="T30" fmla="*/ 211 w 248"/>
                <a:gd name="T31" fmla="*/ 106 h 248"/>
                <a:gd name="T32" fmla="*/ 198 w 248"/>
                <a:gd name="T33" fmla="*/ 75 h 248"/>
                <a:gd name="T34" fmla="*/ 224 w 248"/>
                <a:gd name="T35" fmla="*/ 49 h 248"/>
                <a:gd name="T36" fmla="*/ 199 w 248"/>
                <a:gd name="T37" fmla="*/ 23 h 248"/>
                <a:gd name="T38" fmla="*/ 173 w 248"/>
                <a:gd name="T39" fmla="*/ 50 h 248"/>
                <a:gd name="T40" fmla="*/ 142 w 248"/>
                <a:gd name="T41" fmla="*/ 37 h 248"/>
                <a:gd name="T42" fmla="*/ 142 w 248"/>
                <a:gd name="T43" fmla="*/ 0 h 248"/>
                <a:gd name="T44" fmla="*/ 106 w 248"/>
                <a:gd name="T45" fmla="*/ 0 h 248"/>
                <a:gd name="T46" fmla="*/ 106 w 248"/>
                <a:gd name="T47" fmla="*/ 37 h 248"/>
                <a:gd name="T48" fmla="*/ 75 w 248"/>
                <a:gd name="T49" fmla="*/ 50 h 248"/>
                <a:gd name="T50" fmla="*/ 49 w 248"/>
                <a:gd name="T51" fmla="*/ 23 h 248"/>
                <a:gd name="T52" fmla="*/ 24 w 248"/>
                <a:gd name="T53" fmla="*/ 49 h 248"/>
                <a:gd name="T54" fmla="*/ 50 w 248"/>
                <a:gd name="T55" fmla="*/ 75 h 248"/>
                <a:gd name="T56" fmla="*/ 37 w 248"/>
                <a:gd name="T57" fmla="*/ 106 h 248"/>
                <a:gd name="T58" fmla="*/ 0 w 248"/>
                <a:gd name="T59" fmla="*/ 106 h 248"/>
                <a:gd name="T60" fmla="*/ 0 w 248"/>
                <a:gd name="T61" fmla="*/ 141 h 248"/>
                <a:gd name="T62" fmla="*/ 37 w 248"/>
                <a:gd name="T63" fmla="*/ 141 h 248"/>
                <a:gd name="T64" fmla="*/ 50 w 248"/>
                <a:gd name="T65" fmla="*/ 172 h 248"/>
                <a:gd name="T66" fmla="*/ 124 w 248"/>
                <a:gd name="T67" fmla="*/ 71 h 248"/>
                <a:gd name="T68" fmla="*/ 177 w 248"/>
                <a:gd name="T69" fmla="*/ 124 h 248"/>
                <a:gd name="T70" fmla="*/ 124 w 248"/>
                <a:gd name="T71" fmla="*/ 177 h 248"/>
                <a:gd name="T72" fmla="*/ 71 w 248"/>
                <a:gd name="T73" fmla="*/ 124 h 248"/>
                <a:gd name="T74" fmla="*/ 124 w 248"/>
                <a:gd name="T75" fmla="*/ 7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8" h="248">
                  <a:moveTo>
                    <a:pt x="50" y="172"/>
                  </a:moveTo>
                  <a:cubicBezTo>
                    <a:pt x="24" y="199"/>
                    <a:pt x="24" y="199"/>
                    <a:pt x="24" y="199"/>
                  </a:cubicBezTo>
                  <a:cubicBezTo>
                    <a:pt x="49" y="224"/>
                    <a:pt x="49" y="224"/>
                    <a:pt x="49" y="224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85" y="204"/>
                    <a:pt x="95" y="208"/>
                    <a:pt x="106" y="210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42" y="248"/>
                    <a:pt x="142" y="248"/>
                    <a:pt x="142" y="248"/>
                  </a:cubicBezTo>
                  <a:cubicBezTo>
                    <a:pt x="142" y="210"/>
                    <a:pt x="142" y="210"/>
                    <a:pt x="142" y="210"/>
                  </a:cubicBezTo>
                  <a:cubicBezTo>
                    <a:pt x="153" y="208"/>
                    <a:pt x="163" y="204"/>
                    <a:pt x="173" y="197"/>
                  </a:cubicBezTo>
                  <a:cubicBezTo>
                    <a:pt x="199" y="224"/>
                    <a:pt x="199" y="224"/>
                    <a:pt x="199" y="224"/>
                  </a:cubicBezTo>
                  <a:cubicBezTo>
                    <a:pt x="224" y="199"/>
                    <a:pt x="224" y="199"/>
                    <a:pt x="224" y="199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204" y="163"/>
                    <a:pt x="208" y="153"/>
                    <a:pt x="211" y="141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8" y="106"/>
                    <a:pt x="248" y="106"/>
                    <a:pt x="248" y="106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8" y="95"/>
                    <a:pt x="204" y="84"/>
                    <a:pt x="198" y="75"/>
                  </a:cubicBezTo>
                  <a:cubicBezTo>
                    <a:pt x="224" y="49"/>
                    <a:pt x="224" y="49"/>
                    <a:pt x="224" y="49"/>
                  </a:cubicBezTo>
                  <a:cubicBezTo>
                    <a:pt x="199" y="23"/>
                    <a:pt x="199" y="23"/>
                    <a:pt x="199" y="23"/>
                  </a:cubicBezTo>
                  <a:cubicBezTo>
                    <a:pt x="173" y="50"/>
                    <a:pt x="173" y="50"/>
                    <a:pt x="173" y="50"/>
                  </a:cubicBezTo>
                  <a:cubicBezTo>
                    <a:pt x="163" y="44"/>
                    <a:pt x="153" y="39"/>
                    <a:pt x="142" y="37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95" y="39"/>
                    <a:pt x="85" y="44"/>
                    <a:pt x="75" y="50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44" y="84"/>
                    <a:pt x="40" y="95"/>
                    <a:pt x="37" y="10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40" y="153"/>
                    <a:pt x="44" y="163"/>
                    <a:pt x="50" y="172"/>
                  </a:cubicBezTo>
                  <a:close/>
                  <a:moveTo>
                    <a:pt x="124" y="71"/>
                  </a:moveTo>
                  <a:cubicBezTo>
                    <a:pt x="153" y="71"/>
                    <a:pt x="177" y="94"/>
                    <a:pt x="177" y="124"/>
                  </a:cubicBezTo>
                  <a:cubicBezTo>
                    <a:pt x="177" y="153"/>
                    <a:pt x="153" y="177"/>
                    <a:pt x="124" y="177"/>
                  </a:cubicBezTo>
                  <a:cubicBezTo>
                    <a:pt x="95" y="177"/>
                    <a:pt x="71" y="153"/>
                    <a:pt x="71" y="124"/>
                  </a:cubicBezTo>
                  <a:cubicBezTo>
                    <a:pt x="71" y="94"/>
                    <a:pt x="95" y="71"/>
                    <a:pt x="124" y="71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14" name="Group 713">
            <a:extLst>
              <a:ext uri="{FF2B5EF4-FFF2-40B4-BE49-F238E27FC236}">
                <a16:creationId xmlns:a16="http://schemas.microsoft.com/office/drawing/2014/main" id="{1C3CD0EE-4C5D-A852-1DB1-CC84B19AA95E}"/>
              </a:ext>
            </a:extLst>
          </p:cNvPr>
          <p:cNvGrpSpPr/>
          <p:nvPr/>
        </p:nvGrpSpPr>
        <p:grpSpPr>
          <a:xfrm>
            <a:off x="6601162" y="6065789"/>
            <a:ext cx="330613" cy="354045"/>
            <a:chOff x="7285927" y="4417338"/>
            <a:chExt cx="586542" cy="628112"/>
          </a:xfrm>
        </p:grpSpPr>
        <p:sp>
          <p:nvSpPr>
            <p:cNvPr id="715" name="Line 3472">
              <a:extLst>
                <a:ext uri="{FF2B5EF4-FFF2-40B4-BE49-F238E27FC236}">
                  <a16:creationId xmlns:a16="http://schemas.microsoft.com/office/drawing/2014/main" id="{26D5F624-E571-5302-2D17-90917F391B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408930" y="4594439"/>
              <a:ext cx="0" cy="5979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6" name="Freeform 3473">
              <a:extLst>
                <a:ext uri="{FF2B5EF4-FFF2-40B4-BE49-F238E27FC236}">
                  <a16:creationId xmlns:a16="http://schemas.microsoft.com/office/drawing/2014/main" id="{6EE04593-6A57-6EAF-F8EB-BBA2C383D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8930" y="4640850"/>
              <a:ext cx="217818" cy="113607"/>
            </a:xfrm>
            <a:custGeom>
              <a:avLst/>
              <a:gdLst>
                <a:gd name="T0" fmla="*/ 323 w 323"/>
                <a:gd name="T1" fmla="*/ 0 h 168"/>
                <a:gd name="T2" fmla="*/ 323 w 323"/>
                <a:gd name="T3" fmla="*/ 4 h 168"/>
                <a:gd name="T4" fmla="*/ 162 w 323"/>
                <a:gd name="T5" fmla="*/ 168 h 168"/>
                <a:gd name="T6" fmla="*/ 0 w 323"/>
                <a:gd name="T7" fmla="*/ 4 h 168"/>
                <a:gd name="T8" fmla="*/ 0 w 323"/>
                <a:gd name="T9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168">
                  <a:moveTo>
                    <a:pt x="323" y="0"/>
                  </a:moveTo>
                  <a:cubicBezTo>
                    <a:pt x="323" y="4"/>
                    <a:pt x="323" y="4"/>
                    <a:pt x="323" y="4"/>
                  </a:cubicBezTo>
                  <a:cubicBezTo>
                    <a:pt x="323" y="94"/>
                    <a:pt x="251" y="168"/>
                    <a:pt x="162" y="168"/>
                  </a:cubicBezTo>
                  <a:cubicBezTo>
                    <a:pt x="73" y="168"/>
                    <a:pt x="0" y="9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7" name="Freeform 3474">
              <a:extLst>
                <a:ext uri="{FF2B5EF4-FFF2-40B4-BE49-F238E27FC236}">
                  <a16:creationId xmlns:a16="http://schemas.microsoft.com/office/drawing/2014/main" id="{A5EB8BB7-BAAC-74BB-2AD0-FFCA45B30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1880" y="4600418"/>
              <a:ext cx="27049" cy="40432"/>
            </a:xfrm>
            <a:custGeom>
              <a:avLst/>
              <a:gdLst>
                <a:gd name="T0" fmla="*/ 40 w 40"/>
                <a:gd name="T1" fmla="*/ 0 h 60"/>
                <a:gd name="T2" fmla="*/ 40 w 40"/>
                <a:gd name="T3" fmla="*/ 60 h 60"/>
                <a:gd name="T4" fmla="*/ 30 w 40"/>
                <a:gd name="T5" fmla="*/ 60 h 60"/>
                <a:gd name="T6" fmla="*/ 0 w 40"/>
                <a:gd name="T7" fmla="*/ 30 h 60"/>
                <a:gd name="T8" fmla="*/ 9 w 40"/>
                <a:gd name="T9" fmla="*/ 9 h 60"/>
                <a:gd name="T10" fmla="*/ 30 w 40"/>
                <a:gd name="T11" fmla="*/ 0 h 60"/>
                <a:gd name="T12" fmla="*/ 40 w 40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60">
                  <a:moveTo>
                    <a:pt x="40" y="0"/>
                  </a:moveTo>
                  <a:cubicBezTo>
                    <a:pt x="40" y="60"/>
                    <a:pt x="40" y="60"/>
                    <a:pt x="4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21"/>
                    <a:pt x="3" y="14"/>
                    <a:pt x="9" y="9"/>
                  </a:cubicBezTo>
                  <a:cubicBezTo>
                    <a:pt x="14" y="3"/>
                    <a:pt x="22" y="0"/>
                    <a:pt x="30" y="0"/>
                  </a:cubicBezTo>
                  <a:lnTo>
                    <a:pt x="40" y="0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8" name="Freeform 3475">
              <a:extLst>
                <a:ext uri="{FF2B5EF4-FFF2-40B4-BE49-F238E27FC236}">
                  <a16:creationId xmlns:a16="http://schemas.microsoft.com/office/drawing/2014/main" id="{68B0EB1F-81B3-5F04-A052-9AACA9316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6748" y="4600418"/>
              <a:ext cx="27903" cy="40432"/>
            </a:xfrm>
            <a:custGeom>
              <a:avLst/>
              <a:gdLst>
                <a:gd name="T0" fmla="*/ 41 w 41"/>
                <a:gd name="T1" fmla="*/ 30 h 60"/>
                <a:gd name="T2" fmla="*/ 32 w 41"/>
                <a:gd name="T3" fmla="*/ 51 h 60"/>
                <a:gd name="T4" fmla="*/ 11 w 41"/>
                <a:gd name="T5" fmla="*/ 60 h 60"/>
                <a:gd name="T6" fmla="*/ 0 w 41"/>
                <a:gd name="T7" fmla="*/ 60 h 60"/>
                <a:gd name="T8" fmla="*/ 0 w 41"/>
                <a:gd name="T9" fmla="*/ 0 h 60"/>
                <a:gd name="T10" fmla="*/ 11 w 41"/>
                <a:gd name="T11" fmla="*/ 0 h 60"/>
                <a:gd name="T12" fmla="*/ 41 w 41"/>
                <a:gd name="T13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60">
                  <a:moveTo>
                    <a:pt x="41" y="30"/>
                  </a:moveTo>
                  <a:cubicBezTo>
                    <a:pt x="41" y="38"/>
                    <a:pt x="38" y="46"/>
                    <a:pt x="32" y="51"/>
                  </a:cubicBezTo>
                  <a:cubicBezTo>
                    <a:pt x="27" y="56"/>
                    <a:pt x="19" y="60"/>
                    <a:pt x="1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7" y="0"/>
                    <a:pt x="41" y="13"/>
                    <a:pt x="41" y="30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9" name="Freeform 3476">
              <a:extLst>
                <a:ext uri="{FF2B5EF4-FFF2-40B4-BE49-F238E27FC236}">
                  <a16:creationId xmlns:a16="http://schemas.microsoft.com/office/drawing/2014/main" id="{AC5129D0-1338-99F6-82A3-A99B57325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6135" y="4417338"/>
              <a:ext cx="102502" cy="138378"/>
            </a:xfrm>
            <a:custGeom>
              <a:avLst/>
              <a:gdLst>
                <a:gd name="T0" fmla="*/ 0 w 152"/>
                <a:gd name="T1" fmla="*/ 0 h 205"/>
                <a:gd name="T2" fmla="*/ 17 w 152"/>
                <a:gd name="T3" fmla="*/ 6 h 205"/>
                <a:gd name="T4" fmla="*/ 42 w 152"/>
                <a:gd name="T5" fmla="*/ 20 h 205"/>
                <a:gd name="T6" fmla="*/ 45 w 152"/>
                <a:gd name="T7" fmla="*/ 21 h 205"/>
                <a:gd name="T8" fmla="*/ 62 w 152"/>
                <a:gd name="T9" fmla="*/ 33 h 205"/>
                <a:gd name="T10" fmla="*/ 152 w 152"/>
                <a:gd name="T1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205">
                  <a:moveTo>
                    <a:pt x="0" y="0"/>
                  </a:moveTo>
                  <a:cubicBezTo>
                    <a:pt x="6" y="2"/>
                    <a:pt x="11" y="4"/>
                    <a:pt x="17" y="6"/>
                  </a:cubicBezTo>
                  <a:cubicBezTo>
                    <a:pt x="26" y="10"/>
                    <a:pt x="34" y="15"/>
                    <a:pt x="42" y="20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51" y="25"/>
                    <a:pt x="57" y="29"/>
                    <a:pt x="62" y="33"/>
                  </a:cubicBezTo>
                  <a:cubicBezTo>
                    <a:pt x="112" y="74"/>
                    <a:pt x="147" y="140"/>
                    <a:pt x="152" y="205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0" name="Freeform 3477">
              <a:extLst>
                <a:ext uri="{FF2B5EF4-FFF2-40B4-BE49-F238E27FC236}">
                  <a16:creationId xmlns:a16="http://schemas.microsoft.com/office/drawing/2014/main" id="{60BA4AA8-8788-3478-F214-99B5F558A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9033" y="4417338"/>
              <a:ext cx="103357" cy="137809"/>
            </a:xfrm>
            <a:custGeom>
              <a:avLst/>
              <a:gdLst>
                <a:gd name="T0" fmla="*/ 0 w 153"/>
                <a:gd name="T1" fmla="*/ 204 h 204"/>
                <a:gd name="T2" fmla="*/ 92 w 153"/>
                <a:gd name="T3" fmla="*/ 32 h 204"/>
                <a:gd name="T4" fmla="*/ 109 w 153"/>
                <a:gd name="T5" fmla="*/ 20 h 204"/>
                <a:gd name="T6" fmla="*/ 113 w 153"/>
                <a:gd name="T7" fmla="*/ 18 h 204"/>
                <a:gd name="T8" fmla="*/ 133 w 153"/>
                <a:gd name="T9" fmla="*/ 7 h 204"/>
                <a:gd name="T10" fmla="*/ 153 w 153"/>
                <a:gd name="T1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3" h="204">
                  <a:moveTo>
                    <a:pt x="0" y="204"/>
                  </a:moveTo>
                  <a:cubicBezTo>
                    <a:pt x="5" y="137"/>
                    <a:pt x="41" y="71"/>
                    <a:pt x="92" y="32"/>
                  </a:cubicBezTo>
                  <a:cubicBezTo>
                    <a:pt x="98" y="27"/>
                    <a:pt x="103" y="23"/>
                    <a:pt x="109" y="20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9" y="14"/>
                    <a:pt x="126" y="10"/>
                    <a:pt x="133" y="7"/>
                  </a:cubicBezTo>
                  <a:cubicBezTo>
                    <a:pt x="139" y="4"/>
                    <a:pt x="146" y="2"/>
                    <a:pt x="153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1" name="Freeform 3479">
              <a:extLst>
                <a:ext uri="{FF2B5EF4-FFF2-40B4-BE49-F238E27FC236}">
                  <a16:creationId xmlns:a16="http://schemas.microsoft.com/office/drawing/2014/main" id="{2822FEDB-9165-A647-6116-679CE2F8C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1630" y="4553153"/>
              <a:ext cx="292986" cy="41286"/>
            </a:xfrm>
            <a:custGeom>
              <a:avLst/>
              <a:gdLst>
                <a:gd name="T0" fmla="*/ 414 w 434"/>
                <a:gd name="T1" fmla="*/ 61 h 61"/>
                <a:gd name="T2" fmla="*/ 20 w 434"/>
                <a:gd name="T3" fmla="*/ 61 h 61"/>
                <a:gd name="T4" fmla="*/ 0 w 434"/>
                <a:gd name="T5" fmla="*/ 41 h 61"/>
                <a:gd name="T6" fmla="*/ 0 w 434"/>
                <a:gd name="T7" fmla="*/ 20 h 61"/>
                <a:gd name="T8" fmla="*/ 20 w 434"/>
                <a:gd name="T9" fmla="*/ 0 h 61"/>
                <a:gd name="T10" fmla="*/ 414 w 434"/>
                <a:gd name="T11" fmla="*/ 0 h 61"/>
                <a:gd name="T12" fmla="*/ 434 w 434"/>
                <a:gd name="T13" fmla="*/ 20 h 61"/>
                <a:gd name="T14" fmla="*/ 434 w 434"/>
                <a:gd name="T15" fmla="*/ 41 h 61"/>
                <a:gd name="T16" fmla="*/ 414 w 434"/>
                <a:gd name="T1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4" h="61">
                  <a:moveTo>
                    <a:pt x="414" y="61"/>
                  </a:moveTo>
                  <a:cubicBezTo>
                    <a:pt x="20" y="61"/>
                    <a:pt x="20" y="61"/>
                    <a:pt x="20" y="61"/>
                  </a:cubicBezTo>
                  <a:cubicBezTo>
                    <a:pt x="9" y="61"/>
                    <a:pt x="0" y="52"/>
                    <a:pt x="0" y="4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425" y="0"/>
                    <a:pt x="434" y="9"/>
                    <a:pt x="434" y="20"/>
                  </a:cubicBezTo>
                  <a:cubicBezTo>
                    <a:pt x="434" y="41"/>
                    <a:pt x="434" y="41"/>
                    <a:pt x="434" y="41"/>
                  </a:cubicBezTo>
                  <a:cubicBezTo>
                    <a:pt x="434" y="52"/>
                    <a:pt x="425" y="61"/>
                    <a:pt x="414" y="61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2" name="Freeform 3480">
              <a:extLst>
                <a:ext uri="{FF2B5EF4-FFF2-40B4-BE49-F238E27FC236}">
                  <a16:creationId xmlns:a16="http://schemas.microsoft.com/office/drawing/2014/main" id="{0A079605-2E1B-3D81-3BB4-50901E69C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309" y="4735380"/>
              <a:ext cx="162011" cy="310070"/>
            </a:xfrm>
            <a:custGeom>
              <a:avLst/>
              <a:gdLst>
                <a:gd name="T0" fmla="*/ 0 w 240"/>
                <a:gd name="T1" fmla="*/ 0 h 459"/>
                <a:gd name="T2" fmla="*/ 0 w 240"/>
                <a:gd name="T3" fmla="*/ 52 h 459"/>
                <a:gd name="T4" fmla="*/ 11 w 240"/>
                <a:gd name="T5" fmla="*/ 70 h 459"/>
                <a:gd name="T6" fmla="*/ 165 w 240"/>
                <a:gd name="T7" fmla="*/ 133 h 459"/>
                <a:gd name="T8" fmla="*/ 165 w 240"/>
                <a:gd name="T9" fmla="*/ 133 h 459"/>
                <a:gd name="T10" fmla="*/ 240 w 240"/>
                <a:gd name="T11" fmla="*/ 229 h 459"/>
                <a:gd name="T12" fmla="*/ 240 w 240"/>
                <a:gd name="T13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459">
                  <a:moveTo>
                    <a:pt x="0" y="0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59"/>
                    <a:pt x="4" y="66"/>
                    <a:pt x="11" y="70"/>
                  </a:cubicBezTo>
                  <a:cubicBezTo>
                    <a:pt x="40" y="84"/>
                    <a:pt x="118" y="122"/>
                    <a:pt x="165" y="133"/>
                  </a:cubicBezTo>
                  <a:cubicBezTo>
                    <a:pt x="165" y="133"/>
                    <a:pt x="165" y="133"/>
                    <a:pt x="165" y="133"/>
                  </a:cubicBezTo>
                  <a:cubicBezTo>
                    <a:pt x="209" y="144"/>
                    <a:pt x="240" y="183"/>
                    <a:pt x="240" y="229"/>
                  </a:cubicBezTo>
                  <a:cubicBezTo>
                    <a:pt x="240" y="459"/>
                    <a:pt x="240" y="459"/>
                    <a:pt x="240" y="459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3" name="Freeform 3481">
              <a:extLst>
                <a:ext uri="{FF2B5EF4-FFF2-40B4-BE49-F238E27FC236}">
                  <a16:creationId xmlns:a16="http://schemas.microsoft.com/office/drawing/2014/main" id="{ADE0EF4C-CC70-A2D2-1E8D-E9586B581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927" y="4735380"/>
              <a:ext cx="162011" cy="310070"/>
            </a:xfrm>
            <a:custGeom>
              <a:avLst/>
              <a:gdLst>
                <a:gd name="T0" fmla="*/ 240 w 240"/>
                <a:gd name="T1" fmla="*/ 0 h 459"/>
                <a:gd name="T2" fmla="*/ 240 w 240"/>
                <a:gd name="T3" fmla="*/ 52 h 459"/>
                <a:gd name="T4" fmla="*/ 229 w 240"/>
                <a:gd name="T5" fmla="*/ 70 h 459"/>
                <a:gd name="T6" fmla="*/ 75 w 240"/>
                <a:gd name="T7" fmla="*/ 133 h 459"/>
                <a:gd name="T8" fmla="*/ 75 w 240"/>
                <a:gd name="T9" fmla="*/ 133 h 459"/>
                <a:gd name="T10" fmla="*/ 0 w 240"/>
                <a:gd name="T11" fmla="*/ 229 h 459"/>
                <a:gd name="T12" fmla="*/ 0 w 240"/>
                <a:gd name="T13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459">
                  <a:moveTo>
                    <a:pt x="240" y="0"/>
                  </a:moveTo>
                  <a:cubicBezTo>
                    <a:pt x="240" y="52"/>
                    <a:pt x="240" y="52"/>
                    <a:pt x="240" y="52"/>
                  </a:cubicBezTo>
                  <a:cubicBezTo>
                    <a:pt x="240" y="59"/>
                    <a:pt x="235" y="66"/>
                    <a:pt x="229" y="70"/>
                  </a:cubicBezTo>
                  <a:cubicBezTo>
                    <a:pt x="200" y="84"/>
                    <a:pt x="122" y="122"/>
                    <a:pt x="75" y="133"/>
                  </a:cubicBezTo>
                  <a:cubicBezTo>
                    <a:pt x="75" y="133"/>
                    <a:pt x="75" y="133"/>
                    <a:pt x="75" y="133"/>
                  </a:cubicBezTo>
                  <a:cubicBezTo>
                    <a:pt x="31" y="144"/>
                    <a:pt x="0" y="183"/>
                    <a:pt x="0" y="229"/>
                  </a:cubicBezTo>
                  <a:cubicBezTo>
                    <a:pt x="0" y="459"/>
                    <a:pt x="0" y="459"/>
                    <a:pt x="0" y="459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4" name="Freeform 3482">
              <a:extLst>
                <a:ext uri="{FF2B5EF4-FFF2-40B4-BE49-F238E27FC236}">
                  <a16:creationId xmlns:a16="http://schemas.microsoft.com/office/drawing/2014/main" id="{B6BCAE6C-09C5-3A35-A9F4-D59851DCD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8266" y="4781221"/>
              <a:ext cx="124711" cy="87981"/>
            </a:xfrm>
            <a:custGeom>
              <a:avLst/>
              <a:gdLst>
                <a:gd name="T0" fmla="*/ 268 w 438"/>
                <a:gd name="T1" fmla="*/ 0 h 309"/>
                <a:gd name="T2" fmla="*/ 0 w 438"/>
                <a:gd name="T3" fmla="*/ 226 h 309"/>
                <a:gd name="T4" fmla="*/ 213 w 438"/>
                <a:gd name="T5" fmla="*/ 309 h 309"/>
                <a:gd name="T6" fmla="*/ 438 w 438"/>
                <a:gd name="T7" fmla="*/ 8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309">
                  <a:moveTo>
                    <a:pt x="268" y="0"/>
                  </a:moveTo>
                  <a:lnTo>
                    <a:pt x="0" y="226"/>
                  </a:lnTo>
                  <a:lnTo>
                    <a:pt x="213" y="309"/>
                  </a:lnTo>
                  <a:lnTo>
                    <a:pt x="438" y="83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5" name="Freeform 3483">
              <a:extLst>
                <a:ext uri="{FF2B5EF4-FFF2-40B4-BE49-F238E27FC236}">
                  <a16:creationId xmlns:a16="http://schemas.microsoft.com/office/drawing/2014/main" id="{3F9A09A3-C172-8BF9-ACF9-36D4396DB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3270" y="4781221"/>
              <a:ext cx="124996" cy="87981"/>
            </a:xfrm>
            <a:custGeom>
              <a:avLst/>
              <a:gdLst>
                <a:gd name="T0" fmla="*/ 171 w 439"/>
                <a:gd name="T1" fmla="*/ 0 h 309"/>
                <a:gd name="T2" fmla="*/ 439 w 439"/>
                <a:gd name="T3" fmla="*/ 226 h 309"/>
                <a:gd name="T4" fmla="*/ 225 w 439"/>
                <a:gd name="T5" fmla="*/ 309 h 309"/>
                <a:gd name="T6" fmla="*/ 0 w 439"/>
                <a:gd name="T7" fmla="*/ 8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309">
                  <a:moveTo>
                    <a:pt x="171" y="0"/>
                  </a:moveTo>
                  <a:lnTo>
                    <a:pt x="439" y="226"/>
                  </a:lnTo>
                  <a:lnTo>
                    <a:pt x="225" y="309"/>
                  </a:lnTo>
                  <a:lnTo>
                    <a:pt x="0" y="83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6" name="Freeform 3484">
              <a:extLst>
                <a:ext uri="{FF2B5EF4-FFF2-40B4-BE49-F238E27FC236}">
                  <a16:creationId xmlns:a16="http://schemas.microsoft.com/office/drawing/2014/main" id="{244412CD-677F-53B3-DA11-35E370DE2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834" y="4861800"/>
              <a:ext cx="80863" cy="44418"/>
            </a:xfrm>
            <a:custGeom>
              <a:avLst/>
              <a:gdLst>
                <a:gd name="T0" fmla="*/ 120 w 120"/>
                <a:gd name="T1" fmla="*/ 0 h 66"/>
                <a:gd name="T2" fmla="*/ 94 w 120"/>
                <a:gd name="T3" fmla="*/ 58 h 66"/>
                <a:gd name="T4" fmla="*/ 87 w 120"/>
                <a:gd name="T5" fmla="*/ 66 h 66"/>
                <a:gd name="T6" fmla="*/ 84 w 120"/>
                <a:gd name="T7" fmla="*/ 66 h 66"/>
                <a:gd name="T8" fmla="*/ 36 w 120"/>
                <a:gd name="T9" fmla="*/ 66 h 66"/>
                <a:gd name="T10" fmla="*/ 33 w 120"/>
                <a:gd name="T11" fmla="*/ 66 h 66"/>
                <a:gd name="T12" fmla="*/ 26 w 120"/>
                <a:gd name="T13" fmla="*/ 58 h 66"/>
                <a:gd name="T14" fmla="*/ 0 w 120"/>
                <a:gd name="T1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66">
                  <a:moveTo>
                    <a:pt x="120" y="0"/>
                  </a:moveTo>
                  <a:cubicBezTo>
                    <a:pt x="94" y="58"/>
                    <a:pt x="94" y="58"/>
                    <a:pt x="94" y="58"/>
                  </a:cubicBezTo>
                  <a:cubicBezTo>
                    <a:pt x="92" y="63"/>
                    <a:pt x="90" y="66"/>
                    <a:pt x="87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0" y="66"/>
                    <a:pt x="27" y="63"/>
                    <a:pt x="26" y="5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7" name="Freeform 3485">
              <a:extLst>
                <a:ext uri="{FF2B5EF4-FFF2-40B4-BE49-F238E27FC236}">
                  <a16:creationId xmlns:a16="http://schemas.microsoft.com/office/drawing/2014/main" id="{EE045749-B71B-7925-531D-95165D52F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7230" y="4906217"/>
              <a:ext cx="62071" cy="139233"/>
            </a:xfrm>
            <a:custGeom>
              <a:avLst/>
              <a:gdLst>
                <a:gd name="T0" fmla="*/ 0 w 218"/>
                <a:gd name="T1" fmla="*/ 489 h 489"/>
                <a:gd name="T2" fmla="*/ 52 w 218"/>
                <a:gd name="T3" fmla="*/ 0 h 489"/>
                <a:gd name="T4" fmla="*/ 166 w 218"/>
                <a:gd name="T5" fmla="*/ 0 h 489"/>
                <a:gd name="T6" fmla="*/ 218 w 218"/>
                <a:gd name="T7" fmla="*/ 489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8" h="489">
                  <a:moveTo>
                    <a:pt x="0" y="489"/>
                  </a:moveTo>
                  <a:lnTo>
                    <a:pt x="52" y="0"/>
                  </a:lnTo>
                  <a:lnTo>
                    <a:pt x="166" y="0"/>
                  </a:lnTo>
                  <a:lnTo>
                    <a:pt x="218" y="489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8" name="Line 3486">
              <a:extLst>
                <a:ext uri="{FF2B5EF4-FFF2-40B4-BE49-F238E27FC236}">
                  <a16:creationId xmlns:a16="http://schemas.microsoft.com/office/drawing/2014/main" id="{FC5FFDB6-0A14-406F-6D84-3750B1C9A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78464" y="4927857"/>
              <a:ext cx="0" cy="117593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9" name="Line 3487">
              <a:extLst>
                <a:ext uri="{FF2B5EF4-FFF2-40B4-BE49-F238E27FC236}">
                  <a16:creationId xmlns:a16="http://schemas.microsoft.com/office/drawing/2014/main" id="{2CE0ACBA-5F92-1546-D7DB-9A670744C5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8068" y="4927857"/>
              <a:ext cx="0" cy="117593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0" name="Line 3488">
              <a:extLst>
                <a:ext uri="{FF2B5EF4-FFF2-40B4-BE49-F238E27FC236}">
                  <a16:creationId xmlns:a16="http://schemas.microsoft.com/office/drawing/2014/main" id="{AF8A72A3-2C6F-FF76-66AF-E75CB551524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58068" y="4997331"/>
              <a:ext cx="92252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1" name="Line 3489">
              <a:extLst>
                <a:ext uri="{FF2B5EF4-FFF2-40B4-BE49-F238E27FC236}">
                  <a16:creationId xmlns:a16="http://schemas.microsoft.com/office/drawing/2014/main" id="{2E7D9EEC-D6CE-7BB7-678A-90409332E3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8068" y="4958323"/>
              <a:ext cx="92252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2" name="Line 3490">
              <a:extLst>
                <a:ext uri="{FF2B5EF4-FFF2-40B4-BE49-F238E27FC236}">
                  <a16:creationId xmlns:a16="http://schemas.microsoft.com/office/drawing/2014/main" id="{2BAAFF89-99E0-2264-0722-4F1639E94B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85927" y="4958323"/>
              <a:ext cx="92537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3" name="Line 3491">
              <a:extLst>
                <a:ext uri="{FF2B5EF4-FFF2-40B4-BE49-F238E27FC236}">
                  <a16:creationId xmlns:a16="http://schemas.microsoft.com/office/drawing/2014/main" id="{50793F0C-CB55-0031-7202-4383C1AD5B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285927" y="4997331"/>
              <a:ext cx="92537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4" name="Freeform 3492">
              <a:extLst>
                <a:ext uri="{FF2B5EF4-FFF2-40B4-BE49-F238E27FC236}">
                  <a16:creationId xmlns:a16="http://schemas.microsoft.com/office/drawing/2014/main" id="{050A0FBA-5D78-C804-F376-D03DF7DF3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443" y="4458623"/>
              <a:ext cx="199026" cy="368724"/>
            </a:xfrm>
            <a:custGeom>
              <a:avLst/>
              <a:gdLst>
                <a:gd name="T0" fmla="*/ 37 w 295"/>
                <a:gd name="T1" fmla="*/ 488 h 546"/>
                <a:gd name="T2" fmla="*/ 69 w 295"/>
                <a:gd name="T3" fmla="*/ 483 h 546"/>
                <a:gd name="T4" fmla="*/ 103 w 295"/>
                <a:gd name="T5" fmla="*/ 546 h 546"/>
                <a:gd name="T6" fmla="*/ 170 w 295"/>
                <a:gd name="T7" fmla="*/ 516 h 546"/>
                <a:gd name="T8" fmla="*/ 146 w 295"/>
                <a:gd name="T9" fmla="*/ 446 h 546"/>
                <a:gd name="T10" fmla="*/ 199 w 295"/>
                <a:gd name="T11" fmla="*/ 387 h 546"/>
                <a:gd name="T12" fmla="*/ 269 w 295"/>
                <a:gd name="T13" fmla="*/ 407 h 546"/>
                <a:gd name="T14" fmla="*/ 295 w 295"/>
                <a:gd name="T15" fmla="*/ 339 h 546"/>
                <a:gd name="T16" fmla="*/ 228 w 295"/>
                <a:gd name="T17" fmla="*/ 306 h 546"/>
                <a:gd name="T18" fmla="*/ 224 w 295"/>
                <a:gd name="T19" fmla="*/ 226 h 546"/>
                <a:gd name="T20" fmla="*/ 287 w 295"/>
                <a:gd name="T21" fmla="*/ 192 h 546"/>
                <a:gd name="T22" fmla="*/ 258 w 295"/>
                <a:gd name="T23" fmla="*/ 125 h 546"/>
                <a:gd name="T24" fmla="*/ 187 w 295"/>
                <a:gd name="T25" fmla="*/ 149 h 546"/>
                <a:gd name="T26" fmla="*/ 128 w 295"/>
                <a:gd name="T27" fmla="*/ 96 h 546"/>
                <a:gd name="T28" fmla="*/ 148 w 295"/>
                <a:gd name="T29" fmla="*/ 26 h 546"/>
                <a:gd name="T30" fmla="*/ 80 w 295"/>
                <a:gd name="T31" fmla="*/ 0 h 546"/>
                <a:gd name="T32" fmla="*/ 48 w 295"/>
                <a:gd name="T33" fmla="*/ 67 h 546"/>
                <a:gd name="T34" fmla="*/ 0 w 295"/>
                <a:gd name="T35" fmla="*/ 66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5" h="546">
                  <a:moveTo>
                    <a:pt x="37" y="488"/>
                  </a:moveTo>
                  <a:cubicBezTo>
                    <a:pt x="48" y="487"/>
                    <a:pt x="58" y="485"/>
                    <a:pt x="69" y="483"/>
                  </a:cubicBezTo>
                  <a:cubicBezTo>
                    <a:pt x="103" y="546"/>
                    <a:pt x="103" y="546"/>
                    <a:pt x="103" y="546"/>
                  </a:cubicBezTo>
                  <a:cubicBezTo>
                    <a:pt x="170" y="516"/>
                    <a:pt x="170" y="516"/>
                    <a:pt x="170" y="516"/>
                  </a:cubicBezTo>
                  <a:cubicBezTo>
                    <a:pt x="146" y="446"/>
                    <a:pt x="146" y="446"/>
                    <a:pt x="146" y="446"/>
                  </a:cubicBezTo>
                  <a:cubicBezTo>
                    <a:pt x="167" y="430"/>
                    <a:pt x="185" y="410"/>
                    <a:pt x="199" y="387"/>
                  </a:cubicBezTo>
                  <a:cubicBezTo>
                    <a:pt x="269" y="407"/>
                    <a:pt x="269" y="407"/>
                    <a:pt x="269" y="407"/>
                  </a:cubicBezTo>
                  <a:cubicBezTo>
                    <a:pt x="295" y="339"/>
                    <a:pt x="295" y="339"/>
                    <a:pt x="295" y="339"/>
                  </a:cubicBezTo>
                  <a:cubicBezTo>
                    <a:pt x="228" y="306"/>
                    <a:pt x="228" y="306"/>
                    <a:pt x="228" y="306"/>
                  </a:cubicBezTo>
                  <a:cubicBezTo>
                    <a:pt x="232" y="279"/>
                    <a:pt x="230" y="252"/>
                    <a:pt x="224" y="226"/>
                  </a:cubicBezTo>
                  <a:cubicBezTo>
                    <a:pt x="287" y="192"/>
                    <a:pt x="287" y="192"/>
                    <a:pt x="287" y="192"/>
                  </a:cubicBezTo>
                  <a:cubicBezTo>
                    <a:pt x="258" y="125"/>
                    <a:pt x="258" y="125"/>
                    <a:pt x="258" y="125"/>
                  </a:cubicBezTo>
                  <a:cubicBezTo>
                    <a:pt x="187" y="149"/>
                    <a:pt x="187" y="149"/>
                    <a:pt x="187" y="149"/>
                  </a:cubicBezTo>
                  <a:cubicBezTo>
                    <a:pt x="172" y="128"/>
                    <a:pt x="152" y="110"/>
                    <a:pt x="128" y="9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32" y="65"/>
                    <a:pt x="15" y="64"/>
                    <a:pt x="0" y="66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5" name="Freeform 3493">
              <a:extLst>
                <a:ext uri="{FF2B5EF4-FFF2-40B4-BE49-F238E27FC236}">
                  <a16:creationId xmlns:a16="http://schemas.microsoft.com/office/drawing/2014/main" id="{BBBE1E70-EB27-85EB-F0BC-5A132DD57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2270" y="4553153"/>
              <a:ext cx="107912" cy="184220"/>
            </a:xfrm>
            <a:custGeom>
              <a:avLst/>
              <a:gdLst>
                <a:gd name="T0" fmla="*/ 0 w 160"/>
                <a:gd name="T1" fmla="*/ 0 h 273"/>
                <a:gd name="T2" fmla="*/ 54 w 160"/>
                <a:gd name="T3" fmla="*/ 9 h 273"/>
                <a:gd name="T4" fmla="*/ 133 w 160"/>
                <a:gd name="T5" fmla="*/ 186 h 273"/>
                <a:gd name="T6" fmla="*/ 17 w 160"/>
                <a:gd name="T7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273">
                  <a:moveTo>
                    <a:pt x="0" y="0"/>
                  </a:moveTo>
                  <a:cubicBezTo>
                    <a:pt x="18" y="0"/>
                    <a:pt x="36" y="3"/>
                    <a:pt x="54" y="9"/>
                  </a:cubicBezTo>
                  <a:cubicBezTo>
                    <a:pt x="125" y="36"/>
                    <a:pt x="160" y="115"/>
                    <a:pt x="133" y="186"/>
                  </a:cubicBezTo>
                  <a:cubicBezTo>
                    <a:pt x="113" y="236"/>
                    <a:pt x="67" y="268"/>
                    <a:pt x="17" y="273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36" name="Group 735">
            <a:extLst>
              <a:ext uri="{FF2B5EF4-FFF2-40B4-BE49-F238E27FC236}">
                <a16:creationId xmlns:a16="http://schemas.microsoft.com/office/drawing/2014/main" id="{E37662A1-4297-FFFA-C27D-EB6D869C0DBE}"/>
              </a:ext>
            </a:extLst>
          </p:cNvPr>
          <p:cNvGrpSpPr/>
          <p:nvPr/>
        </p:nvGrpSpPr>
        <p:grpSpPr>
          <a:xfrm>
            <a:off x="6646822" y="4029745"/>
            <a:ext cx="350819" cy="349448"/>
            <a:chOff x="2965451" y="3252788"/>
            <a:chExt cx="406400" cy="404812"/>
          </a:xfrm>
        </p:grpSpPr>
        <p:sp>
          <p:nvSpPr>
            <p:cNvPr id="737" name="Rectangle 190">
              <a:extLst>
                <a:ext uri="{FF2B5EF4-FFF2-40B4-BE49-F238E27FC236}">
                  <a16:creationId xmlns:a16="http://schemas.microsoft.com/office/drawing/2014/main" id="{BC3C24A1-61C0-66BC-0B0B-AAB89C15DA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5301" y="3422650"/>
              <a:ext cx="84138" cy="63500"/>
            </a:xfrm>
            <a:prstGeom prst="rect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8" name="Rectangle 191">
              <a:extLst>
                <a:ext uri="{FF2B5EF4-FFF2-40B4-BE49-F238E27FC236}">
                  <a16:creationId xmlns:a16="http://schemas.microsoft.com/office/drawing/2014/main" id="{4DD22BA1-37EB-34F4-BE95-6D51912458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9438" y="3359150"/>
              <a:ext cx="85725" cy="127000"/>
            </a:xfrm>
            <a:prstGeom prst="rect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9" name="Line 192">
              <a:extLst>
                <a:ext uri="{FF2B5EF4-FFF2-40B4-BE49-F238E27FC236}">
                  <a16:creationId xmlns:a16="http://schemas.microsoft.com/office/drawing/2014/main" id="{217FE8CA-10AC-3421-BC74-F90EF33698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486150"/>
              <a:ext cx="252413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0" name="Oval 193">
              <a:extLst>
                <a:ext uri="{FF2B5EF4-FFF2-40B4-BE49-F238E27FC236}">
                  <a16:creationId xmlns:a16="http://schemas.microsoft.com/office/drawing/2014/main" id="{A663353A-8B97-52A1-788B-75470A222B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5451" y="3252788"/>
              <a:ext cx="312738" cy="312738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1" name="Freeform 194">
              <a:extLst>
                <a:ext uri="{FF2B5EF4-FFF2-40B4-BE49-F238E27FC236}">
                  <a16:creationId xmlns:a16="http://schemas.microsoft.com/office/drawing/2014/main" id="{2058BBE8-5AA9-0749-2449-A3BD4CA7A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1988" y="3486150"/>
              <a:ext cx="169863" cy="171450"/>
            </a:xfrm>
            <a:custGeom>
              <a:avLst/>
              <a:gdLst>
                <a:gd name="T0" fmla="*/ 31 w 107"/>
                <a:gd name="T1" fmla="*/ 0 h 108"/>
                <a:gd name="T2" fmla="*/ 107 w 107"/>
                <a:gd name="T3" fmla="*/ 75 h 108"/>
                <a:gd name="T4" fmla="*/ 74 w 107"/>
                <a:gd name="T5" fmla="*/ 108 h 108"/>
                <a:gd name="T6" fmla="*/ 0 w 107"/>
                <a:gd name="T7" fmla="*/ 3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08">
                  <a:moveTo>
                    <a:pt x="31" y="0"/>
                  </a:moveTo>
                  <a:lnTo>
                    <a:pt x="107" y="75"/>
                  </a:lnTo>
                  <a:lnTo>
                    <a:pt x="74" y="108"/>
                  </a:lnTo>
                  <a:lnTo>
                    <a:pt x="0" y="33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42" name="Group 741">
            <a:extLst>
              <a:ext uri="{FF2B5EF4-FFF2-40B4-BE49-F238E27FC236}">
                <a16:creationId xmlns:a16="http://schemas.microsoft.com/office/drawing/2014/main" id="{D0AFE930-6EDE-91E3-A63E-73F6B85AABD4}"/>
              </a:ext>
            </a:extLst>
          </p:cNvPr>
          <p:cNvGrpSpPr/>
          <p:nvPr/>
        </p:nvGrpSpPr>
        <p:grpSpPr>
          <a:xfrm>
            <a:off x="8752416" y="5919415"/>
            <a:ext cx="252413" cy="301625"/>
            <a:chOff x="2466976" y="3216275"/>
            <a:chExt cx="252413" cy="301625"/>
          </a:xfrm>
        </p:grpSpPr>
        <p:sp>
          <p:nvSpPr>
            <p:cNvPr id="743" name="Freeform 191">
              <a:extLst>
                <a:ext uri="{FF2B5EF4-FFF2-40B4-BE49-F238E27FC236}">
                  <a16:creationId xmlns:a16="http://schemas.microsoft.com/office/drawing/2014/main" id="{0A586286-4C63-5BC0-3E67-DEC643F83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6976" y="3216275"/>
              <a:ext cx="252413" cy="301625"/>
            </a:xfrm>
            <a:custGeom>
              <a:avLst/>
              <a:gdLst>
                <a:gd name="T0" fmla="*/ 50 w 99"/>
                <a:gd name="T1" fmla="*/ 0 h 118"/>
                <a:gd name="T2" fmla="*/ 99 w 99"/>
                <a:gd name="T3" fmla="*/ 2 h 118"/>
                <a:gd name="T4" fmla="*/ 99 w 99"/>
                <a:gd name="T5" fmla="*/ 79 h 118"/>
                <a:gd name="T6" fmla="*/ 51 w 99"/>
                <a:gd name="T7" fmla="*/ 118 h 118"/>
                <a:gd name="T8" fmla="*/ 48 w 99"/>
                <a:gd name="T9" fmla="*/ 118 h 118"/>
                <a:gd name="T10" fmla="*/ 0 w 99"/>
                <a:gd name="T11" fmla="*/ 79 h 118"/>
                <a:gd name="T12" fmla="*/ 0 w 99"/>
                <a:gd name="T13" fmla="*/ 2 h 118"/>
                <a:gd name="T14" fmla="*/ 49 w 99"/>
                <a:gd name="T15" fmla="*/ 0 h 118"/>
                <a:gd name="T16" fmla="*/ 50 w 99"/>
                <a:gd name="T1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18">
                  <a:moveTo>
                    <a:pt x="50" y="0"/>
                  </a:moveTo>
                  <a:cubicBezTo>
                    <a:pt x="61" y="11"/>
                    <a:pt x="83" y="20"/>
                    <a:pt x="99" y="2"/>
                  </a:cubicBezTo>
                  <a:cubicBezTo>
                    <a:pt x="99" y="24"/>
                    <a:pt x="99" y="79"/>
                    <a:pt x="99" y="79"/>
                  </a:cubicBezTo>
                  <a:cubicBezTo>
                    <a:pt x="99" y="79"/>
                    <a:pt x="82" y="108"/>
                    <a:pt x="51" y="118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17" y="108"/>
                    <a:pt x="0" y="79"/>
                    <a:pt x="0" y="79"/>
                  </a:cubicBezTo>
                  <a:cubicBezTo>
                    <a:pt x="0" y="79"/>
                    <a:pt x="0" y="24"/>
                    <a:pt x="0" y="2"/>
                  </a:cubicBezTo>
                  <a:cubicBezTo>
                    <a:pt x="16" y="20"/>
                    <a:pt x="38" y="11"/>
                    <a:pt x="49" y="0"/>
                  </a:cubicBezTo>
                  <a:lnTo>
                    <a:pt x="50" y="0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4" name="Line 192">
              <a:extLst>
                <a:ext uri="{FF2B5EF4-FFF2-40B4-BE49-F238E27FC236}">
                  <a16:creationId xmlns:a16="http://schemas.microsoft.com/office/drawing/2014/main" id="{AF167B44-9225-3003-0CC1-8D64AD27A0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3976" y="3295650"/>
              <a:ext cx="0" cy="13335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5" name="Line 193">
              <a:extLst>
                <a:ext uri="{FF2B5EF4-FFF2-40B4-BE49-F238E27FC236}">
                  <a16:creationId xmlns:a16="http://schemas.microsoft.com/office/drawing/2014/main" id="{2DE00B68-3C23-DE75-8C7D-97C5A1B57D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27301" y="3362325"/>
              <a:ext cx="133350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46" name="Group 745">
            <a:extLst>
              <a:ext uri="{FF2B5EF4-FFF2-40B4-BE49-F238E27FC236}">
                <a16:creationId xmlns:a16="http://schemas.microsoft.com/office/drawing/2014/main" id="{72B9D2A0-5778-014E-459C-F512F6F73C39}"/>
              </a:ext>
            </a:extLst>
          </p:cNvPr>
          <p:cNvGrpSpPr/>
          <p:nvPr/>
        </p:nvGrpSpPr>
        <p:grpSpPr>
          <a:xfrm>
            <a:off x="7275525" y="3525264"/>
            <a:ext cx="213756" cy="213756"/>
            <a:chOff x="4488873" y="2464130"/>
            <a:chExt cx="213756" cy="213756"/>
          </a:xfrm>
        </p:grpSpPr>
        <p:sp>
          <p:nvSpPr>
            <p:cNvPr id="747" name="Oval 746">
              <a:extLst>
                <a:ext uri="{FF2B5EF4-FFF2-40B4-BE49-F238E27FC236}">
                  <a16:creationId xmlns:a16="http://schemas.microsoft.com/office/drawing/2014/main" id="{05D9B1EC-660E-9FF4-5AB9-2CC3195F8605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48" name="Chevron 747">
              <a:extLst>
                <a:ext uri="{FF2B5EF4-FFF2-40B4-BE49-F238E27FC236}">
                  <a16:creationId xmlns:a16="http://schemas.microsoft.com/office/drawing/2014/main" id="{4C7C8DF7-E8B5-1568-361E-1939F04764D3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749" name="Freeform 748">
            <a:extLst>
              <a:ext uri="{FF2B5EF4-FFF2-40B4-BE49-F238E27FC236}">
                <a16:creationId xmlns:a16="http://schemas.microsoft.com/office/drawing/2014/main" id="{1C7AC386-66B8-D1AC-F6B6-3D869973CDD0}"/>
              </a:ext>
            </a:extLst>
          </p:cNvPr>
          <p:cNvSpPr/>
          <p:nvPr/>
        </p:nvSpPr>
        <p:spPr>
          <a:xfrm>
            <a:off x="8258322" y="3249827"/>
            <a:ext cx="1223319" cy="735227"/>
          </a:xfrm>
          <a:custGeom>
            <a:avLst/>
            <a:gdLst>
              <a:gd name="connsiteX0" fmla="*/ 0 w 1223319"/>
              <a:gd name="connsiteY0" fmla="*/ 0 h 735227"/>
              <a:gd name="connsiteX1" fmla="*/ 1223319 w 1223319"/>
              <a:gd name="connsiteY1" fmla="*/ 0 h 735227"/>
              <a:gd name="connsiteX2" fmla="*/ 1223319 w 1223319"/>
              <a:gd name="connsiteY2" fmla="*/ 86497 h 735227"/>
              <a:gd name="connsiteX3" fmla="*/ 1223319 w 1223319"/>
              <a:gd name="connsiteY3" fmla="*/ 735227 h 735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3319" h="735227">
                <a:moveTo>
                  <a:pt x="0" y="0"/>
                </a:moveTo>
                <a:lnTo>
                  <a:pt x="1223319" y="0"/>
                </a:lnTo>
                <a:lnTo>
                  <a:pt x="1223319" y="86497"/>
                </a:lnTo>
                <a:lnTo>
                  <a:pt x="1223319" y="735227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50" name="Group 749">
            <a:extLst>
              <a:ext uri="{FF2B5EF4-FFF2-40B4-BE49-F238E27FC236}">
                <a16:creationId xmlns:a16="http://schemas.microsoft.com/office/drawing/2014/main" id="{9989AAB0-88F6-9B24-712C-43DD70DC0407}"/>
              </a:ext>
            </a:extLst>
          </p:cNvPr>
          <p:cNvGrpSpPr/>
          <p:nvPr/>
        </p:nvGrpSpPr>
        <p:grpSpPr>
          <a:xfrm>
            <a:off x="9382720" y="3823050"/>
            <a:ext cx="213756" cy="213756"/>
            <a:chOff x="4488873" y="2464130"/>
            <a:chExt cx="213756" cy="213756"/>
          </a:xfrm>
        </p:grpSpPr>
        <p:sp>
          <p:nvSpPr>
            <p:cNvPr id="751" name="Oval 750">
              <a:extLst>
                <a:ext uri="{FF2B5EF4-FFF2-40B4-BE49-F238E27FC236}">
                  <a16:creationId xmlns:a16="http://schemas.microsoft.com/office/drawing/2014/main" id="{40510CF0-6149-50F8-429A-F8D37B704765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52" name="Chevron 751">
              <a:extLst>
                <a:ext uri="{FF2B5EF4-FFF2-40B4-BE49-F238E27FC236}">
                  <a16:creationId xmlns:a16="http://schemas.microsoft.com/office/drawing/2014/main" id="{3FC301EA-B6B8-1E59-C0B4-FCCB0FCE7DA3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753" name="Rounded Rectangular Callout 752">
            <a:extLst>
              <a:ext uri="{FF2B5EF4-FFF2-40B4-BE49-F238E27FC236}">
                <a16:creationId xmlns:a16="http://schemas.microsoft.com/office/drawing/2014/main" id="{63A26592-932D-8354-E410-AC88385AD7A2}"/>
              </a:ext>
            </a:extLst>
          </p:cNvPr>
          <p:cNvSpPr/>
          <p:nvPr/>
        </p:nvSpPr>
        <p:spPr>
          <a:xfrm>
            <a:off x="5169934" y="4326687"/>
            <a:ext cx="1216285" cy="732063"/>
          </a:xfrm>
          <a:prstGeom prst="wedgeRoundRectCallout">
            <a:avLst>
              <a:gd name="adj1" fmla="val 56887"/>
              <a:gd name="adj2" fmla="val -25273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accent2"/>
                </a:solidFill>
              </a:rPr>
              <a:t>JV/ equity partnership between a mining company and downstream consumer e.g. Automaker </a:t>
            </a:r>
          </a:p>
        </p:txBody>
      </p:sp>
      <p:sp>
        <p:nvSpPr>
          <p:cNvPr id="754" name="Rounded Rectangular Callout 753">
            <a:extLst>
              <a:ext uri="{FF2B5EF4-FFF2-40B4-BE49-F238E27FC236}">
                <a16:creationId xmlns:a16="http://schemas.microsoft.com/office/drawing/2014/main" id="{7779B674-4438-2C05-DD08-4F756F6EB2E4}"/>
              </a:ext>
            </a:extLst>
          </p:cNvPr>
          <p:cNvSpPr/>
          <p:nvPr/>
        </p:nvSpPr>
        <p:spPr>
          <a:xfrm>
            <a:off x="5138352" y="5648530"/>
            <a:ext cx="1216285" cy="732063"/>
          </a:xfrm>
          <a:prstGeom prst="wedgeRoundRectCallout">
            <a:avLst>
              <a:gd name="adj1" fmla="val 62257"/>
              <a:gd name="adj2" fmla="val 6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accent2"/>
                </a:solidFill>
              </a:rPr>
              <a:t>Off take agreements with end consumer</a:t>
            </a:r>
          </a:p>
        </p:txBody>
      </p:sp>
      <p:sp>
        <p:nvSpPr>
          <p:cNvPr id="755" name="Rounded Rectangular Callout 754">
            <a:extLst>
              <a:ext uri="{FF2B5EF4-FFF2-40B4-BE49-F238E27FC236}">
                <a16:creationId xmlns:a16="http://schemas.microsoft.com/office/drawing/2014/main" id="{5391374E-574A-B931-A752-F43707563105}"/>
              </a:ext>
            </a:extLst>
          </p:cNvPr>
          <p:cNvSpPr/>
          <p:nvPr/>
        </p:nvSpPr>
        <p:spPr>
          <a:xfrm>
            <a:off x="10418656" y="4326687"/>
            <a:ext cx="1216285" cy="732063"/>
          </a:xfrm>
          <a:prstGeom prst="wedgeRoundRectCallout">
            <a:avLst>
              <a:gd name="adj1" fmla="val -56498"/>
              <a:gd name="adj2" fmla="val 61753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accent2"/>
                </a:solidFill>
              </a:rPr>
              <a:t>Vertical integration of mining companies</a:t>
            </a:r>
          </a:p>
        </p:txBody>
      </p:sp>
      <p:sp>
        <p:nvSpPr>
          <p:cNvPr id="756" name="Rounded Rectangular Callout 755">
            <a:extLst>
              <a:ext uri="{FF2B5EF4-FFF2-40B4-BE49-F238E27FC236}">
                <a16:creationId xmlns:a16="http://schemas.microsoft.com/office/drawing/2014/main" id="{32288FB2-DE62-C08F-4E83-D0DC06FEF984}"/>
              </a:ext>
            </a:extLst>
          </p:cNvPr>
          <p:cNvSpPr/>
          <p:nvPr/>
        </p:nvSpPr>
        <p:spPr>
          <a:xfrm>
            <a:off x="10418656" y="5748603"/>
            <a:ext cx="1216285" cy="732063"/>
          </a:xfrm>
          <a:prstGeom prst="wedgeRoundRectCallout">
            <a:avLst>
              <a:gd name="adj1" fmla="val -54650"/>
              <a:gd name="adj2" fmla="val -19130"/>
              <a:gd name="adj3" fmla="val 16667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>
                <a:solidFill>
                  <a:schemeClr val="accent2"/>
                </a:solidFill>
              </a:rPr>
              <a:t>Government guarantees and incentives required</a:t>
            </a:r>
          </a:p>
        </p:txBody>
      </p:sp>
      <p:grpSp>
        <p:nvGrpSpPr>
          <p:cNvPr id="760" name="Group 759">
            <a:extLst>
              <a:ext uri="{FF2B5EF4-FFF2-40B4-BE49-F238E27FC236}">
                <a16:creationId xmlns:a16="http://schemas.microsoft.com/office/drawing/2014/main" id="{384224BE-8675-ECE5-5B42-EC3F1AE74966}"/>
              </a:ext>
            </a:extLst>
          </p:cNvPr>
          <p:cNvGrpSpPr/>
          <p:nvPr/>
        </p:nvGrpSpPr>
        <p:grpSpPr>
          <a:xfrm>
            <a:off x="4615567" y="1978870"/>
            <a:ext cx="221387" cy="4246318"/>
            <a:chOff x="5754489" y="1448382"/>
            <a:chExt cx="221387" cy="4852210"/>
          </a:xfrm>
        </p:grpSpPr>
        <p:cxnSp>
          <p:nvCxnSpPr>
            <p:cNvPr id="761" name="Straight Connector 760">
              <a:extLst>
                <a:ext uri="{FF2B5EF4-FFF2-40B4-BE49-F238E27FC236}">
                  <a16:creationId xmlns:a16="http://schemas.microsoft.com/office/drawing/2014/main" id="{1004F6C6-3D54-0732-175F-04067DEE9FEC}"/>
                </a:ext>
              </a:extLst>
            </p:cNvPr>
            <p:cNvCxnSpPr>
              <a:cxnSpLocks/>
            </p:cNvCxnSpPr>
            <p:nvPr/>
          </p:nvCxnSpPr>
          <p:spPr>
            <a:xfrm>
              <a:off x="5778961" y="1448382"/>
              <a:ext cx="0" cy="485221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2" name="Triangle 761">
              <a:extLst>
                <a:ext uri="{FF2B5EF4-FFF2-40B4-BE49-F238E27FC236}">
                  <a16:creationId xmlns:a16="http://schemas.microsoft.com/office/drawing/2014/main" id="{1FF9757E-31CB-4A03-9B18-F705DEEEB816}"/>
                </a:ext>
              </a:extLst>
            </p:cNvPr>
            <p:cNvSpPr/>
            <p:nvPr/>
          </p:nvSpPr>
          <p:spPr>
            <a:xfrm rot="5400000">
              <a:off x="5508803" y="3763794"/>
              <a:ext cx="712759" cy="221387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" name="Box">
            <a:extLst>
              <a:ext uri="{FF2B5EF4-FFF2-40B4-BE49-F238E27FC236}">
                <a16:creationId xmlns:a16="http://schemas.microsoft.com/office/drawing/2014/main" id="{6474875B-530B-0198-06CE-099293036E1D}"/>
              </a:ext>
            </a:extLst>
          </p:cNvPr>
          <p:cNvSpPr/>
          <p:nvPr/>
        </p:nvSpPr>
        <p:spPr>
          <a:xfrm>
            <a:off x="1472384" y="4429304"/>
            <a:ext cx="2471040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Smelting and Refining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1F36D77-86FD-1230-C43B-3EF3FC089C33}"/>
              </a:ext>
            </a:extLst>
          </p:cNvPr>
          <p:cNvGrpSpPr/>
          <p:nvPr/>
        </p:nvGrpSpPr>
        <p:grpSpPr>
          <a:xfrm>
            <a:off x="2550345" y="4955131"/>
            <a:ext cx="213756" cy="213756"/>
            <a:chOff x="4488873" y="2464130"/>
            <a:chExt cx="213756" cy="213756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6E1A554-1B20-D6B4-A14A-82C0C337C0FE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61" name="Chevron 58">
              <a:extLst>
                <a:ext uri="{FF2B5EF4-FFF2-40B4-BE49-F238E27FC236}">
                  <a16:creationId xmlns:a16="http://schemas.microsoft.com/office/drawing/2014/main" id="{8A6DFCBF-BC07-962F-D3DF-8191D9D3BB6A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62" name="Box">
            <a:extLst>
              <a:ext uri="{FF2B5EF4-FFF2-40B4-BE49-F238E27FC236}">
                <a16:creationId xmlns:a16="http://schemas.microsoft.com/office/drawing/2014/main" id="{A9E80856-D452-9797-A489-E40E1BC22B5E}"/>
              </a:ext>
            </a:extLst>
          </p:cNvPr>
          <p:cNvSpPr/>
          <p:nvPr/>
        </p:nvSpPr>
        <p:spPr>
          <a:xfrm>
            <a:off x="1829236" y="6073144"/>
            <a:ext cx="1474048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Automakers</a:t>
            </a:r>
          </a:p>
        </p:txBody>
      </p:sp>
      <p:sp>
        <p:nvSpPr>
          <p:cNvPr id="63" name="Box">
            <a:extLst>
              <a:ext uri="{FF2B5EF4-FFF2-40B4-BE49-F238E27FC236}">
                <a16:creationId xmlns:a16="http://schemas.microsoft.com/office/drawing/2014/main" id="{D00BCF60-0BCF-F95C-C336-7327116B49E7}"/>
              </a:ext>
            </a:extLst>
          </p:cNvPr>
          <p:cNvSpPr/>
          <p:nvPr/>
        </p:nvSpPr>
        <p:spPr>
          <a:xfrm>
            <a:off x="3447265" y="6070907"/>
            <a:ext cx="1146793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Others</a:t>
            </a:r>
          </a:p>
        </p:txBody>
      </p:sp>
      <p:grpSp>
        <p:nvGrpSpPr>
          <p:cNvPr id="671" name="Group 670">
            <a:extLst>
              <a:ext uri="{FF2B5EF4-FFF2-40B4-BE49-F238E27FC236}">
                <a16:creationId xmlns:a16="http://schemas.microsoft.com/office/drawing/2014/main" id="{FD615F5C-26C0-842B-8B3C-B525CA2845AC}"/>
              </a:ext>
            </a:extLst>
          </p:cNvPr>
          <p:cNvGrpSpPr/>
          <p:nvPr/>
        </p:nvGrpSpPr>
        <p:grpSpPr>
          <a:xfrm>
            <a:off x="863065" y="5825993"/>
            <a:ext cx="213756" cy="213756"/>
            <a:chOff x="4488873" y="2464130"/>
            <a:chExt cx="213756" cy="213756"/>
          </a:xfrm>
        </p:grpSpPr>
        <p:sp>
          <p:nvSpPr>
            <p:cNvPr id="672" name="Oval 671">
              <a:extLst>
                <a:ext uri="{FF2B5EF4-FFF2-40B4-BE49-F238E27FC236}">
                  <a16:creationId xmlns:a16="http://schemas.microsoft.com/office/drawing/2014/main" id="{0C15A99B-478B-3F64-2C8D-E4AC27918CA0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673" name="Chevron 58">
              <a:extLst>
                <a:ext uri="{FF2B5EF4-FFF2-40B4-BE49-F238E27FC236}">
                  <a16:creationId xmlns:a16="http://schemas.microsoft.com/office/drawing/2014/main" id="{ECBA98E1-E701-1778-FF0C-B2F2A4F7B6BF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674" name="Group 673">
            <a:extLst>
              <a:ext uri="{FF2B5EF4-FFF2-40B4-BE49-F238E27FC236}">
                <a16:creationId xmlns:a16="http://schemas.microsoft.com/office/drawing/2014/main" id="{2737FD8C-C758-3B2C-A25A-F0802778D0A5}"/>
              </a:ext>
            </a:extLst>
          </p:cNvPr>
          <p:cNvGrpSpPr/>
          <p:nvPr/>
        </p:nvGrpSpPr>
        <p:grpSpPr>
          <a:xfrm>
            <a:off x="3993650" y="5837224"/>
            <a:ext cx="213756" cy="213756"/>
            <a:chOff x="4488873" y="2464130"/>
            <a:chExt cx="213756" cy="213756"/>
          </a:xfrm>
        </p:grpSpPr>
        <p:sp>
          <p:nvSpPr>
            <p:cNvPr id="675" name="Oval 674">
              <a:extLst>
                <a:ext uri="{FF2B5EF4-FFF2-40B4-BE49-F238E27FC236}">
                  <a16:creationId xmlns:a16="http://schemas.microsoft.com/office/drawing/2014/main" id="{DF38FC4E-3844-E142-4033-4B30541963F9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687" name="Chevron 58">
              <a:extLst>
                <a:ext uri="{FF2B5EF4-FFF2-40B4-BE49-F238E27FC236}">
                  <a16:creationId xmlns:a16="http://schemas.microsoft.com/office/drawing/2014/main" id="{D449F22A-DF77-FA47-2532-3079E8420D65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cxnSp>
        <p:nvCxnSpPr>
          <p:cNvPr id="689" name="Connector: Elbow 688">
            <a:extLst>
              <a:ext uri="{FF2B5EF4-FFF2-40B4-BE49-F238E27FC236}">
                <a16:creationId xmlns:a16="http://schemas.microsoft.com/office/drawing/2014/main" id="{9E2240D4-4D6B-B96D-68A4-018A0CA50D39}"/>
              </a:ext>
            </a:extLst>
          </p:cNvPr>
          <p:cNvCxnSpPr>
            <a:cxnSpLocks/>
            <a:stCxn id="7" idx="1"/>
            <a:endCxn id="672" idx="0"/>
          </p:cNvCxnSpPr>
          <p:nvPr/>
        </p:nvCxnSpPr>
        <p:spPr>
          <a:xfrm rot="10800000" flipV="1">
            <a:off x="969944" y="5423393"/>
            <a:ext cx="488261" cy="402599"/>
          </a:xfrm>
          <a:prstGeom prst="bentConnector2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94" name="Connector: Elbow 693">
            <a:extLst>
              <a:ext uri="{FF2B5EF4-FFF2-40B4-BE49-F238E27FC236}">
                <a16:creationId xmlns:a16="http://schemas.microsoft.com/office/drawing/2014/main" id="{5C8AB664-1729-D971-4977-13D3A3855A00}"/>
              </a:ext>
            </a:extLst>
          </p:cNvPr>
          <p:cNvCxnSpPr>
            <a:stCxn id="7" idx="3"/>
            <a:endCxn id="675" idx="0"/>
          </p:cNvCxnSpPr>
          <p:nvPr/>
        </p:nvCxnSpPr>
        <p:spPr>
          <a:xfrm>
            <a:off x="3929244" y="5423394"/>
            <a:ext cx="171284" cy="413830"/>
          </a:xfrm>
          <a:prstGeom prst="bentConnector2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04" name="Group 703">
            <a:extLst>
              <a:ext uri="{FF2B5EF4-FFF2-40B4-BE49-F238E27FC236}">
                <a16:creationId xmlns:a16="http://schemas.microsoft.com/office/drawing/2014/main" id="{726D5EFE-9E84-F213-201C-3E3F027BEFF3}"/>
              </a:ext>
            </a:extLst>
          </p:cNvPr>
          <p:cNvGrpSpPr/>
          <p:nvPr/>
        </p:nvGrpSpPr>
        <p:grpSpPr>
          <a:xfrm>
            <a:off x="1928566" y="6153788"/>
            <a:ext cx="330613" cy="354045"/>
            <a:chOff x="7285927" y="4417338"/>
            <a:chExt cx="586542" cy="628112"/>
          </a:xfrm>
        </p:grpSpPr>
        <p:sp>
          <p:nvSpPr>
            <p:cNvPr id="757" name="Line 3472">
              <a:extLst>
                <a:ext uri="{FF2B5EF4-FFF2-40B4-BE49-F238E27FC236}">
                  <a16:creationId xmlns:a16="http://schemas.microsoft.com/office/drawing/2014/main" id="{2069AED7-96F9-7A64-496B-149FD3D4A3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408930" y="4594439"/>
              <a:ext cx="0" cy="5979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3" name="Freeform 3473">
              <a:extLst>
                <a:ext uri="{FF2B5EF4-FFF2-40B4-BE49-F238E27FC236}">
                  <a16:creationId xmlns:a16="http://schemas.microsoft.com/office/drawing/2014/main" id="{9D7F1A52-16BE-0621-5627-06A8FB1F3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8930" y="4640850"/>
              <a:ext cx="217818" cy="113607"/>
            </a:xfrm>
            <a:custGeom>
              <a:avLst/>
              <a:gdLst>
                <a:gd name="T0" fmla="*/ 323 w 323"/>
                <a:gd name="T1" fmla="*/ 0 h 168"/>
                <a:gd name="T2" fmla="*/ 323 w 323"/>
                <a:gd name="T3" fmla="*/ 4 h 168"/>
                <a:gd name="T4" fmla="*/ 162 w 323"/>
                <a:gd name="T5" fmla="*/ 168 h 168"/>
                <a:gd name="T6" fmla="*/ 0 w 323"/>
                <a:gd name="T7" fmla="*/ 4 h 168"/>
                <a:gd name="T8" fmla="*/ 0 w 323"/>
                <a:gd name="T9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168">
                  <a:moveTo>
                    <a:pt x="323" y="0"/>
                  </a:moveTo>
                  <a:cubicBezTo>
                    <a:pt x="323" y="4"/>
                    <a:pt x="323" y="4"/>
                    <a:pt x="323" y="4"/>
                  </a:cubicBezTo>
                  <a:cubicBezTo>
                    <a:pt x="323" y="94"/>
                    <a:pt x="251" y="168"/>
                    <a:pt x="162" y="168"/>
                  </a:cubicBezTo>
                  <a:cubicBezTo>
                    <a:pt x="73" y="168"/>
                    <a:pt x="0" y="9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4" name="Freeform 3474">
              <a:extLst>
                <a:ext uri="{FF2B5EF4-FFF2-40B4-BE49-F238E27FC236}">
                  <a16:creationId xmlns:a16="http://schemas.microsoft.com/office/drawing/2014/main" id="{83EC662C-0383-2C25-2A67-0B5E151E2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1880" y="4600418"/>
              <a:ext cx="27049" cy="40432"/>
            </a:xfrm>
            <a:custGeom>
              <a:avLst/>
              <a:gdLst>
                <a:gd name="T0" fmla="*/ 40 w 40"/>
                <a:gd name="T1" fmla="*/ 0 h 60"/>
                <a:gd name="T2" fmla="*/ 40 w 40"/>
                <a:gd name="T3" fmla="*/ 60 h 60"/>
                <a:gd name="T4" fmla="*/ 30 w 40"/>
                <a:gd name="T5" fmla="*/ 60 h 60"/>
                <a:gd name="T6" fmla="*/ 0 w 40"/>
                <a:gd name="T7" fmla="*/ 30 h 60"/>
                <a:gd name="T8" fmla="*/ 9 w 40"/>
                <a:gd name="T9" fmla="*/ 9 h 60"/>
                <a:gd name="T10" fmla="*/ 30 w 40"/>
                <a:gd name="T11" fmla="*/ 0 h 60"/>
                <a:gd name="T12" fmla="*/ 40 w 40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60">
                  <a:moveTo>
                    <a:pt x="40" y="0"/>
                  </a:moveTo>
                  <a:cubicBezTo>
                    <a:pt x="40" y="60"/>
                    <a:pt x="40" y="60"/>
                    <a:pt x="4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13" y="60"/>
                    <a:pt x="0" y="46"/>
                    <a:pt x="0" y="30"/>
                  </a:cubicBezTo>
                  <a:cubicBezTo>
                    <a:pt x="0" y="21"/>
                    <a:pt x="3" y="14"/>
                    <a:pt x="9" y="9"/>
                  </a:cubicBezTo>
                  <a:cubicBezTo>
                    <a:pt x="14" y="3"/>
                    <a:pt x="22" y="0"/>
                    <a:pt x="30" y="0"/>
                  </a:cubicBezTo>
                  <a:lnTo>
                    <a:pt x="40" y="0"/>
                  </a:ln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5" name="Freeform 3475">
              <a:extLst>
                <a:ext uri="{FF2B5EF4-FFF2-40B4-BE49-F238E27FC236}">
                  <a16:creationId xmlns:a16="http://schemas.microsoft.com/office/drawing/2014/main" id="{E7409F4D-8828-1DDA-FAAB-E142FFDD3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6748" y="4600418"/>
              <a:ext cx="27903" cy="40432"/>
            </a:xfrm>
            <a:custGeom>
              <a:avLst/>
              <a:gdLst>
                <a:gd name="T0" fmla="*/ 41 w 41"/>
                <a:gd name="T1" fmla="*/ 30 h 60"/>
                <a:gd name="T2" fmla="*/ 32 w 41"/>
                <a:gd name="T3" fmla="*/ 51 h 60"/>
                <a:gd name="T4" fmla="*/ 11 w 41"/>
                <a:gd name="T5" fmla="*/ 60 h 60"/>
                <a:gd name="T6" fmla="*/ 0 w 41"/>
                <a:gd name="T7" fmla="*/ 60 h 60"/>
                <a:gd name="T8" fmla="*/ 0 w 41"/>
                <a:gd name="T9" fmla="*/ 0 h 60"/>
                <a:gd name="T10" fmla="*/ 11 w 41"/>
                <a:gd name="T11" fmla="*/ 0 h 60"/>
                <a:gd name="T12" fmla="*/ 41 w 41"/>
                <a:gd name="T13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60">
                  <a:moveTo>
                    <a:pt x="41" y="30"/>
                  </a:moveTo>
                  <a:cubicBezTo>
                    <a:pt x="41" y="38"/>
                    <a:pt x="38" y="46"/>
                    <a:pt x="32" y="51"/>
                  </a:cubicBezTo>
                  <a:cubicBezTo>
                    <a:pt x="27" y="56"/>
                    <a:pt x="19" y="60"/>
                    <a:pt x="1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7" y="0"/>
                    <a:pt x="41" y="13"/>
                    <a:pt x="41" y="30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6" name="Freeform 3476">
              <a:extLst>
                <a:ext uri="{FF2B5EF4-FFF2-40B4-BE49-F238E27FC236}">
                  <a16:creationId xmlns:a16="http://schemas.microsoft.com/office/drawing/2014/main" id="{E5BD82A9-5574-76FA-69A9-86DA09EEB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6135" y="4417338"/>
              <a:ext cx="102502" cy="138378"/>
            </a:xfrm>
            <a:custGeom>
              <a:avLst/>
              <a:gdLst>
                <a:gd name="T0" fmla="*/ 0 w 152"/>
                <a:gd name="T1" fmla="*/ 0 h 205"/>
                <a:gd name="T2" fmla="*/ 17 w 152"/>
                <a:gd name="T3" fmla="*/ 6 h 205"/>
                <a:gd name="T4" fmla="*/ 42 w 152"/>
                <a:gd name="T5" fmla="*/ 20 h 205"/>
                <a:gd name="T6" fmla="*/ 45 w 152"/>
                <a:gd name="T7" fmla="*/ 21 h 205"/>
                <a:gd name="T8" fmla="*/ 62 w 152"/>
                <a:gd name="T9" fmla="*/ 33 h 205"/>
                <a:gd name="T10" fmla="*/ 152 w 152"/>
                <a:gd name="T1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205">
                  <a:moveTo>
                    <a:pt x="0" y="0"/>
                  </a:moveTo>
                  <a:cubicBezTo>
                    <a:pt x="6" y="2"/>
                    <a:pt x="11" y="4"/>
                    <a:pt x="17" y="6"/>
                  </a:cubicBezTo>
                  <a:cubicBezTo>
                    <a:pt x="26" y="10"/>
                    <a:pt x="34" y="15"/>
                    <a:pt x="42" y="20"/>
                  </a:cubicBezTo>
                  <a:cubicBezTo>
                    <a:pt x="45" y="21"/>
                    <a:pt x="45" y="21"/>
                    <a:pt x="45" y="21"/>
                  </a:cubicBezTo>
                  <a:cubicBezTo>
                    <a:pt x="51" y="25"/>
                    <a:pt x="57" y="29"/>
                    <a:pt x="62" y="33"/>
                  </a:cubicBezTo>
                  <a:cubicBezTo>
                    <a:pt x="112" y="74"/>
                    <a:pt x="147" y="140"/>
                    <a:pt x="152" y="205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7" name="Freeform 3477">
              <a:extLst>
                <a:ext uri="{FF2B5EF4-FFF2-40B4-BE49-F238E27FC236}">
                  <a16:creationId xmlns:a16="http://schemas.microsoft.com/office/drawing/2014/main" id="{1991E967-DF12-8C81-C45D-6D3472507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9033" y="4417338"/>
              <a:ext cx="103357" cy="137809"/>
            </a:xfrm>
            <a:custGeom>
              <a:avLst/>
              <a:gdLst>
                <a:gd name="T0" fmla="*/ 0 w 153"/>
                <a:gd name="T1" fmla="*/ 204 h 204"/>
                <a:gd name="T2" fmla="*/ 92 w 153"/>
                <a:gd name="T3" fmla="*/ 32 h 204"/>
                <a:gd name="T4" fmla="*/ 109 w 153"/>
                <a:gd name="T5" fmla="*/ 20 h 204"/>
                <a:gd name="T6" fmla="*/ 113 w 153"/>
                <a:gd name="T7" fmla="*/ 18 h 204"/>
                <a:gd name="T8" fmla="*/ 133 w 153"/>
                <a:gd name="T9" fmla="*/ 7 h 204"/>
                <a:gd name="T10" fmla="*/ 153 w 153"/>
                <a:gd name="T11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3" h="204">
                  <a:moveTo>
                    <a:pt x="0" y="204"/>
                  </a:moveTo>
                  <a:cubicBezTo>
                    <a:pt x="5" y="137"/>
                    <a:pt x="41" y="71"/>
                    <a:pt x="92" y="32"/>
                  </a:cubicBezTo>
                  <a:cubicBezTo>
                    <a:pt x="98" y="27"/>
                    <a:pt x="103" y="23"/>
                    <a:pt x="109" y="20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9" y="14"/>
                    <a:pt x="126" y="10"/>
                    <a:pt x="133" y="7"/>
                  </a:cubicBezTo>
                  <a:cubicBezTo>
                    <a:pt x="139" y="4"/>
                    <a:pt x="146" y="2"/>
                    <a:pt x="153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8" name="Freeform 3479">
              <a:extLst>
                <a:ext uri="{FF2B5EF4-FFF2-40B4-BE49-F238E27FC236}">
                  <a16:creationId xmlns:a16="http://schemas.microsoft.com/office/drawing/2014/main" id="{786A833B-AC53-E38B-3768-F50B6C918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1630" y="4553153"/>
              <a:ext cx="292986" cy="41286"/>
            </a:xfrm>
            <a:custGeom>
              <a:avLst/>
              <a:gdLst>
                <a:gd name="T0" fmla="*/ 414 w 434"/>
                <a:gd name="T1" fmla="*/ 61 h 61"/>
                <a:gd name="T2" fmla="*/ 20 w 434"/>
                <a:gd name="T3" fmla="*/ 61 h 61"/>
                <a:gd name="T4" fmla="*/ 0 w 434"/>
                <a:gd name="T5" fmla="*/ 41 h 61"/>
                <a:gd name="T6" fmla="*/ 0 w 434"/>
                <a:gd name="T7" fmla="*/ 20 h 61"/>
                <a:gd name="T8" fmla="*/ 20 w 434"/>
                <a:gd name="T9" fmla="*/ 0 h 61"/>
                <a:gd name="T10" fmla="*/ 414 w 434"/>
                <a:gd name="T11" fmla="*/ 0 h 61"/>
                <a:gd name="T12" fmla="*/ 434 w 434"/>
                <a:gd name="T13" fmla="*/ 20 h 61"/>
                <a:gd name="T14" fmla="*/ 434 w 434"/>
                <a:gd name="T15" fmla="*/ 41 h 61"/>
                <a:gd name="T16" fmla="*/ 414 w 434"/>
                <a:gd name="T1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4" h="61">
                  <a:moveTo>
                    <a:pt x="414" y="61"/>
                  </a:moveTo>
                  <a:cubicBezTo>
                    <a:pt x="20" y="61"/>
                    <a:pt x="20" y="61"/>
                    <a:pt x="20" y="61"/>
                  </a:cubicBezTo>
                  <a:cubicBezTo>
                    <a:pt x="9" y="61"/>
                    <a:pt x="0" y="52"/>
                    <a:pt x="0" y="4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425" y="0"/>
                    <a:pt x="434" y="9"/>
                    <a:pt x="434" y="20"/>
                  </a:cubicBezTo>
                  <a:cubicBezTo>
                    <a:pt x="434" y="41"/>
                    <a:pt x="434" y="41"/>
                    <a:pt x="434" y="41"/>
                  </a:cubicBezTo>
                  <a:cubicBezTo>
                    <a:pt x="434" y="52"/>
                    <a:pt x="425" y="61"/>
                    <a:pt x="414" y="61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9" name="Freeform 3480">
              <a:extLst>
                <a:ext uri="{FF2B5EF4-FFF2-40B4-BE49-F238E27FC236}">
                  <a16:creationId xmlns:a16="http://schemas.microsoft.com/office/drawing/2014/main" id="{8ED41FAA-0CAE-80D2-DA10-33704CD25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309" y="4735380"/>
              <a:ext cx="162011" cy="310070"/>
            </a:xfrm>
            <a:custGeom>
              <a:avLst/>
              <a:gdLst>
                <a:gd name="T0" fmla="*/ 0 w 240"/>
                <a:gd name="T1" fmla="*/ 0 h 459"/>
                <a:gd name="T2" fmla="*/ 0 w 240"/>
                <a:gd name="T3" fmla="*/ 52 h 459"/>
                <a:gd name="T4" fmla="*/ 11 w 240"/>
                <a:gd name="T5" fmla="*/ 70 h 459"/>
                <a:gd name="T6" fmla="*/ 165 w 240"/>
                <a:gd name="T7" fmla="*/ 133 h 459"/>
                <a:gd name="T8" fmla="*/ 165 w 240"/>
                <a:gd name="T9" fmla="*/ 133 h 459"/>
                <a:gd name="T10" fmla="*/ 240 w 240"/>
                <a:gd name="T11" fmla="*/ 229 h 459"/>
                <a:gd name="T12" fmla="*/ 240 w 240"/>
                <a:gd name="T13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459">
                  <a:moveTo>
                    <a:pt x="0" y="0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59"/>
                    <a:pt x="4" y="66"/>
                    <a:pt x="11" y="70"/>
                  </a:cubicBezTo>
                  <a:cubicBezTo>
                    <a:pt x="40" y="84"/>
                    <a:pt x="118" y="122"/>
                    <a:pt x="165" y="133"/>
                  </a:cubicBezTo>
                  <a:cubicBezTo>
                    <a:pt x="165" y="133"/>
                    <a:pt x="165" y="133"/>
                    <a:pt x="165" y="133"/>
                  </a:cubicBezTo>
                  <a:cubicBezTo>
                    <a:pt x="209" y="144"/>
                    <a:pt x="240" y="183"/>
                    <a:pt x="240" y="229"/>
                  </a:cubicBezTo>
                  <a:cubicBezTo>
                    <a:pt x="240" y="459"/>
                    <a:pt x="240" y="459"/>
                    <a:pt x="240" y="459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0" name="Freeform 3481">
              <a:extLst>
                <a:ext uri="{FF2B5EF4-FFF2-40B4-BE49-F238E27FC236}">
                  <a16:creationId xmlns:a16="http://schemas.microsoft.com/office/drawing/2014/main" id="{E2431323-6FA1-D1AA-6EC0-F2D728FE8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927" y="4735380"/>
              <a:ext cx="162011" cy="310070"/>
            </a:xfrm>
            <a:custGeom>
              <a:avLst/>
              <a:gdLst>
                <a:gd name="T0" fmla="*/ 240 w 240"/>
                <a:gd name="T1" fmla="*/ 0 h 459"/>
                <a:gd name="T2" fmla="*/ 240 w 240"/>
                <a:gd name="T3" fmla="*/ 52 h 459"/>
                <a:gd name="T4" fmla="*/ 229 w 240"/>
                <a:gd name="T5" fmla="*/ 70 h 459"/>
                <a:gd name="T6" fmla="*/ 75 w 240"/>
                <a:gd name="T7" fmla="*/ 133 h 459"/>
                <a:gd name="T8" fmla="*/ 75 w 240"/>
                <a:gd name="T9" fmla="*/ 133 h 459"/>
                <a:gd name="T10" fmla="*/ 0 w 240"/>
                <a:gd name="T11" fmla="*/ 229 h 459"/>
                <a:gd name="T12" fmla="*/ 0 w 240"/>
                <a:gd name="T13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459">
                  <a:moveTo>
                    <a:pt x="240" y="0"/>
                  </a:moveTo>
                  <a:cubicBezTo>
                    <a:pt x="240" y="52"/>
                    <a:pt x="240" y="52"/>
                    <a:pt x="240" y="52"/>
                  </a:cubicBezTo>
                  <a:cubicBezTo>
                    <a:pt x="240" y="59"/>
                    <a:pt x="235" y="66"/>
                    <a:pt x="229" y="70"/>
                  </a:cubicBezTo>
                  <a:cubicBezTo>
                    <a:pt x="200" y="84"/>
                    <a:pt x="122" y="122"/>
                    <a:pt x="75" y="133"/>
                  </a:cubicBezTo>
                  <a:cubicBezTo>
                    <a:pt x="75" y="133"/>
                    <a:pt x="75" y="133"/>
                    <a:pt x="75" y="133"/>
                  </a:cubicBezTo>
                  <a:cubicBezTo>
                    <a:pt x="31" y="144"/>
                    <a:pt x="0" y="183"/>
                    <a:pt x="0" y="229"/>
                  </a:cubicBezTo>
                  <a:cubicBezTo>
                    <a:pt x="0" y="459"/>
                    <a:pt x="0" y="459"/>
                    <a:pt x="0" y="459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1" name="Freeform 3482">
              <a:extLst>
                <a:ext uri="{FF2B5EF4-FFF2-40B4-BE49-F238E27FC236}">
                  <a16:creationId xmlns:a16="http://schemas.microsoft.com/office/drawing/2014/main" id="{74DD3577-5C75-3C52-2ADA-5F63FF7E47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8266" y="4781221"/>
              <a:ext cx="124711" cy="87981"/>
            </a:xfrm>
            <a:custGeom>
              <a:avLst/>
              <a:gdLst>
                <a:gd name="T0" fmla="*/ 268 w 438"/>
                <a:gd name="T1" fmla="*/ 0 h 309"/>
                <a:gd name="T2" fmla="*/ 0 w 438"/>
                <a:gd name="T3" fmla="*/ 226 h 309"/>
                <a:gd name="T4" fmla="*/ 213 w 438"/>
                <a:gd name="T5" fmla="*/ 309 h 309"/>
                <a:gd name="T6" fmla="*/ 438 w 438"/>
                <a:gd name="T7" fmla="*/ 8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309">
                  <a:moveTo>
                    <a:pt x="268" y="0"/>
                  </a:moveTo>
                  <a:lnTo>
                    <a:pt x="0" y="226"/>
                  </a:lnTo>
                  <a:lnTo>
                    <a:pt x="213" y="309"/>
                  </a:lnTo>
                  <a:lnTo>
                    <a:pt x="438" y="83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2" name="Freeform 3483">
              <a:extLst>
                <a:ext uri="{FF2B5EF4-FFF2-40B4-BE49-F238E27FC236}">
                  <a16:creationId xmlns:a16="http://schemas.microsoft.com/office/drawing/2014/main" id="{AE6F1853-95F6-7A8D-D91C-36F557120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3270" y="4781221"/>
              <a:ext cx="124996" cy="87981"/>
            </a:xfrm>
            <a:custGeom>
              <a:avLst/>
              <a:gdLst>
                <a:gd name="T0" fmla="*/ 171 w 439"/>
                <a:gd name="T1" fmla="*/ 0 h 309"/>
                <a:gd name="T2" fmla="*/ 439 w 439"/>
                <a:gd name="T3" fmla="*/ 226 h 309"/>
                <a:gd name="T4" fmla="*/ 225 w 439"/>
                <a:gd name="T5" fmla="*/ 309 h 309"/>
                <a:gd name="T6" fmla="*/ 0 w 439"/>
                <a:gd name="T7" fmla="*/ 8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9" h="309">
                  <a:moveTo>
                    <a:pt x="171" y="0"/>
                  </a:moveTo>
                  <a:lnTo>
                    <a:pt x="439" y="226"/>
                  </a:lnTo>
                  <a:lnTo>
                    <a:pt x="225" y="309"/>
                  </a:lnTo>
                  <a:lnTo>
                    <a:pt x="0" y="83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3" name="Freeform 3484">
              <a:extLst>
                <a:ext uri="{FF2B5EF4-FFF2-40B4-BE49-F238E27FC236}">
                  <a16:creationId xmlns:a16="http://schemas.microsoft.com/office/drawing/2014/main" id="{12365E23-40EF-78C7-B643-327C1A75B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834" y="4861800"/>
              <a:ext cx="80863" cy="44418"/>
            </a:xfrm>
            <a:custGeom>
              <a:avLst/>
              <a:gdLst>
                <a:gd name="T0" fmla="*/ 120 w 120"/>
                <a:gd name="T1" fmla="*/ 0 h 66"/>
                <a:gd name="T2" fmla="*/ 94 w 120"/>
                <a:gd name="T3" fmla="*/ 58 h 66"/>
                <a:gd name="T4" fmla="*/ 87 w 120"/>
                <a:gd name="T5" fmla="*/ 66 h 66"/>
                <a:gd name="T6" fmla="*/ 84 w 120"/>
                <a:gd name="T7" fmla="*/ 66 h 66"/>
                <a:gd name="T8" fmla="*/ 36 w 120"/>
                <a:gd name="T9" fmla="*/ 66 h 66"/>
                <a:gd name="T10" fmla="*/ 33 w 120"/>
                <a:gd name="T11" fmla="*/ 66 h 66"/>
                <a:gd name="T12" fmla="*/ 26 w 120"/>
                <a:gd name="T13" fmla="*/ 58 h 66"/>
                <a:gd name="T14" fmla="*/ 0 w 120"/>
                <a:gd name="T1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0" h="66">
                  <a:moveTo>
                    <a:pt x="120" y="0"/>
                  </a:moveTo>
                  <a:cubicBezTo>
                    <a:pt x="94" y="58"/>
                    <a:pt x="94" y="58"/>
                    <a:pt x="94" y="58"/>
                  </a:cubicBezTo>
                  <a:cubicBezTo>
                    <a:pt x="92" y="63"/>
                    <a:pt x="90" y="66"/>
                    <a:pt x="87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0" y="66"/>
                    <a:pt x="27" y="63"/>
                    <a:pt x="26" y="5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4" name="Freeform 3485">
              <a:extLst>
                <a:ext uri="{FF2B5EF4-FFF2-40B4-BE49-F238E27FC236}">
                  <a16:creationId xmlns:a16="http://schemas.microsoft.com/office/drawing/2014/main" id="{A422B823-223C-B4C7-EDD8-5621BF56A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7230" y="4906217"/>
              <a:ext cx="62071" cy="139233"/>
            </a:xfrm>
            <a:custGeom>
              <a:avLst/>
              <a:gdLst>
                <a:gd name="T0" fmla="*/ 0 w 218"/>
                <a:gd name="T1" fmla="*/ 489 h 489"/>
                <a:gd name="T2" fmla="*/ 52 w 218"/>
                <a:gd name="T3" fmla="*/ 0 h 489"/>
                <a:gd name="T4" fmla="*/ 166 w 218"/>
                <a:gd name="T5" fmla="*/ 0 h 489"/>
                <a:gd name="T6" fmla="*/ 218 w 218"/>
                <a:gd name="T7" fmla="*/ 489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8" h="489">
                  <a:moveTo>
                    <a:pt x="0" y="489"/>
                  </a:moveTo>
                  <a:lnTo>
                    <a:pt x="52" y="0"/>
                  </a:lnTo>
                  <a:lnTo>
                    <a:pt x="166" y="0"/>
                  </a:lnTo>
                  <a:lnTo>
                    <a:pt x="218" y="489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5" name="Line 3486">
              <a:extLst>
                <a:ext uri="{FF2B5EF4-FFF2-40B4-BE49-F238E27FC236}">
                  <a16:creationId xmlns:a16="http://schemas.microsoft.com/office/drawing/2014/main" id="{0A443A52-BB43-CB83-C1E8-3929A73CD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78464" y="4927857"/>
              <a:ext cx="0" cy="117593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6" name="Line 3487">
              <a:extLst>
                <a:ext uri="{FF2B5EF4-FFF2-40B4-BE49-F238E27FC236}">
                  <a16:creationId xmlns:a16="http://schemas.microsoft.com/office/drawing/2014/main" id="{5141547F-63FF-CCC8-9FDE-A488B88CF4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8068" y="4927857"/>
              <a:ext cx="0" cy="117593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7" name="Line 3488">
              <a:extLst>
                <a:ext uri="{FF2B5EF4-FFF2-40B4-BE49-F238E27FC236}">
                  <a16:creationId xmlns:a16="http://schemas.microsoft.com/office/drawing/2014/main" id="{3FB11D19-4728-53F7-08BF-B0A7012F2E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58068" y="4997331"/>
              <a:ext cx="92252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8" name="Line 3489">
              <a:extLst>
                <a:ext uri="{FF2B5EF4-FFF2-40B4-BE49-F238E27FC236}">
                  <a16:creationId xmlns:a16="http://schemas.microsoft.com/office/drawing/2014/main" id="{97BF2EB5-7406-F58E-F413-E384D95652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8068" y="4958323"/>
              <a:ext cx="92252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9" name="Line 3490">
              <a:extLst>
                <a:ext uri="{FF2B5EF4-FFF2-40B4-BE49-F238E27FC236}">
                  <a16:creationId xmlns:a16="http://schemas.microsoft.com/office/drawing/2014/main" id="{3707B893-2C4A-CCC9-53BE-D6BC40FDD0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85927" y="4958323"/>
              <a:ext cx="92537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0" name="Line 3491">
              <a:extLst>
                <a:ext uri="{FF2B5EF4-FFF2-40B4-BE49-F238E27FC236}">
                  <a16:creationId xmlns:a16="http://schemas.microsoft.com/office/drawing/2014/main" id="{95694255-6E89-D1CF-DFDB-010CCD77F4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285927" y="4997331"/>
              <a:ext cx="92537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1" name="Freeform 3492">
              <a:extLst>
                <a:ext uri="{FF2B5EF4-FFF2-40B4-BE49-F238E27FC236}">
                  <a16:creationId xmlns:a16="http://schemas.microsoft.com/office/drawing/2014/main" id="{07B9004B-2452-3E8F-B337-3A6619588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443" y="4458623"/>
              <a:ext cx="199026" cy="368724"/>
            </a:xfrm>
            <a:custGeom>
              <a:avLst/>
              <a:gdLst>
                <a:gd name="T0" fmla="*/ 37 w 295"/>
                <a:gd name="T1" fmla="*/ 488 h 546"/>
                <a:gd name="T2" fmla="*/ 69 w 295"/>
                <a:gd name="T3" fmla="*/ 483 h 546"/>
                <a:gd name="T4" fmla="*/ 103 w 295"/>
                <a:gd name="T5" fmla="*/ 546 h 546"/>
                <a:gd name="T6" fmla="*/ 170 w 295"/>
                <a:gd name="T7" fmla="*/ 516 h 546"/>
                <a:gd name="T8" fmla="*/ 146 w 295"/>
                <a:gd name="T9" fmla="*/ 446 h 546"/>
                <a:gd name="T10" fmla="*/ 199 w 295"/>
                <a:gd name="T11" fmla="*/ 387 h 546"/>
                <a:gd name="T12" fmla="*/ 269 w 295"/>
                <a:gd name="T13" fmla="*/ 407 h 546"/>
                <a:gd name="T14" fmla="*/ 295 w 295"/>
                <a:gd name="T15" fmla="*/ 339 h 546"/>
                <a:gd name="T16" fmla="*/ 228 w 295"/>
                <a:gd name="T17" fmla="*/ 306 h 546"/>
                <a:gd name="T18" fmla="*/ 224 w 295"/>
                <a:gd name="T19" fmla="*/ 226 h 546"/>
                <a:gd name="T20" fmla="*/ 287 w 295"/>
                <a:gd name="T21" fmla="*/ 192 h 546"/>
                <a:gd name="T22" fmla="*/ 258 w 295"/>
                <a:gd name="T23" fmla="*/ 125 h 546"/>
                <a:gd name="T24" fmla="*/ 187 w 295"/>
                <a:gd name="T25" fmla="*/ 149 h 546"/>
                <a:gd name="T26" fmla="*/ 128 w 295"/>
                <a:gd name="T27" fmla="*/ 96 h 546"/>
                <a:gd name="T28" fmla="*/ 148 w 295"/>
                <a:gd name="T29" fmla="*/ 26 h 546"/>
                <a:gd name="T30" fmla="*/ 80 w 295"/>
                <a:gd name="T31" fmla="*/ 0 h 546"/>
                <a:gd name="T32" fmla="*/ 48 w 295"/>
                <a:gd name="T33" fmla="*/ 67 h 546"/>
                <a:gd name="T34" fmla="*/ 0 w 295"/>
                <a:gd name="T35" fmla="*/ 66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5" h="546">
                  <a:moveTo>
                    <a:pt x="37" y="488"/>
                  </a:moveTo>
                  <a:cubicBezTo>
                    <a:pt x="48" y="487"/>
                    <a:pt x="58" y="485"/>
                    <a:pt x="69" y="483"/>
                  </a:cubicBezTo>
                  <a:cubicBezTo>
                    <a:pt x="103" y="546"/>
                    <a:pt x="103" y="546"/>
                    <a:pt x="103" y="546"/>
                  </a:cubicBezTo>
                  <a:cubicBezTo>
                    <a:pt x="170" y="516"/>
                    <a:pt x="170" y="516"/>
                    <a:pt x="170" y="516"/>
                  </a:cubicBezTo>
                  <a:cubicBezTo>
                    <a:pt x="146" y="446"/>
                    <a:pt x="146" y="446"/>
                    <a:pt x="146" y="446"/>
                  </a:cubicBezTo>
                  <a:cubicBezTo>
                    <a:pt x="167" y="430"/>
                    <a:pt x="185" y="410"/>
                    <a:pt x="199" y="387"/>
                  </a:cubicBezTo>
                  <a:cubicBezTo>
                    <a:pt x="269" y="407"/>
                    <a:pt x="269" y="407"/>
                    <a:pt x="269" y="407"/>
                  </a:cubicBezTo>
                  <a:cubicBezTo>
                    <a:pt x="295" y="339"/>
                    <a:pt x="295" y="339"/>
                    <a:pt x="295" y="339"/>
                  </a:cubicBezTo>
                  <a:cubicBezTo>
                    <a:pt x="228" y="306"/>
                    <a:pt x="228" y="306"/>
                    <a:pt x="228" y="306"/>
                  </a:cubicBezTo>
                  <a:cubicBezTo>
                    <a:pt x="232" y="279"/>
                    <a:pt x="230" y="252"/>
                    <a:pt x="224" y="226"/>
                  </a:cubicBezTo>
                  <a:cubicBezTo>
                    <a:pt x="287" y="192"/>
                    <a:pt x="287" y="192"/>
                    <a:pt x="287" y="192"/>
                  </a:cubicBezTo>
                  <a:cubicBezTo>
                    <a:pt x="258" y="125"/>
                    <a:pt x="258" y="125"/>
                    <a:pt x="258" y="125"/>
                  </a:cubicBezTo>
                  <a:cubicBezTo>
                    <a:pt x="187" y="149"/>
                    <a:pt x="187" y="149"/>
                    <a:pt x="187" y="149"/>
                  </a:cubicBezTo>
                  <a:cubicBezTo>
                    <a:pt x="172" y="128"/>
                    <a:pt x="152" y="110"/>
                    <a:pt x="128" y="96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32" y="65"/>
                    <a:pt x="15" y="64"/>
                    <a:pt x="0" y="66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2" name="Freeform 3493">
              <a:extLst>
                <a:ext uri="{FF2B5EF4-FFF2-40B4-BE49-F238E27FC236}">
                  <a16:creationId xmlns:a16="http://schemas.microsoft.com/office/drawing/2014/main" id="{9FE215CE-42BC-EFB4-C69B-AAE15D50A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2270" y="4553153"/>
              <a:ext cx="107912" cy="184220"/>
            </a:xfrm>
            <a:custGeom>
              <a:avLst/>
              <a:gdLst>
                <a:gd name="T0" fmla="*/ 0 w 160"/>
                <a:gd name="T1" fmla="*/ 0 h 273"/>
                <a:gd name="T2" fmla="*/ 54 w 160"/>
                <a:gd name="T3" fmla="*/ 9 h 273"/>
                <a:gd name="T4" fmla="*/ 133 w 160"/>
                <a:gd name="T5" fmla="*/ 186 h 273"/>
                <a:gd name="T6" fmla="*/ 17 w 160"/>
                <a:gd name="T7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273">
                  <a:moveTo>
                    <a:pt x="0" y="0"/>
                  </a:moveTo>
                  <a:cubicBezTo>
                    <a:pt x="18" y="0"/>
                    <a:pt x="36" y="3"/>
                    <a:pt x="54" y="9"/>
                  </a:cubicBezTo>
                  <a:cubicBezTo>
                    <a:pt x="125" y="36"/>
                    <a:pt x="160" y="115"/>
                    <a:pt x="133" y="186"/>
                  </a:cubicBezTo>
                  <a:cubicBezTo>
                    <a:pt x="113" y="236"/>
                    <a:pt x="67" y="268"/>
                    <a:pt x="17" y="273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784" name="Graphic 783" descr="Production outline">
            <a:extLst>
              <a:ext uri="{FF2B5EF4-FFF2-40B4-BE49-F238E27FC236}">
                <a16:creationId xmlns:a16="http://schemas.microsoft.com/office/drawing/2014/main" id="{86A07F62-D71F-372F-9661-2394715F3C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24642" y="4452288"/>
            <a:ext cx="434091" cy="434091"/>
          </a:xfrm>
          <a:prstGeom prst="rect">
            <a:avLst/>
          </a:prstGeom>
        </p:spPr>
      </p:pic>
      <p:pic>
        <p:nvPicPr>
          <p:cNvPr id="786" name="Graphic 785" descr="Wind Turbines outline">
            <a:extLst>
              <a:ext uri="{FF2B5EF4-FFF2-40B4-BE49-F238E27FC236}">
                <a16:creationId xmlns:a16="http://schemas.microsoft.com/office/drawing/2014/main" id="{7B17A3A9-F57E-BF97-ACFD-6CACBF25B9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13634" y="6157175"/>
            <a:ext cx="386710" cy="386710"/>
          </a:xfrm>
          <a:prstGeom prst="rect">
            <a:avLst/>
          </a:prstGeom>
        </p:spPr>
      </p:pic>
      <p:sp>
        <p:nvSpPr>
          <p:cNvPr id="787" name="Box">
            <a:extLst>
              <a:ext uri="{FF2B5EF4-FFF2-40B4-BE49-F238E27FC236}">
                <a16:creationId xmlns:a16="http://schemas.microsoft.com/office/drawing/2014/main" id="{9ADC9174-4FD8-4A75-C22D-3769DA78DAEE}"/>
              </a:ext>
            </a:extLst>
          </p:cNvPr>
          <p:cNvSpPr/>
          <p:nvPr/>
        </p:nvSpPr>
        <p:spPr>
          <a:xfrm>
            <a:off x="8578095" y="4906010"/>
            <a:ext cx="1744915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 panose="020B0604020202020204" pitchFamily="34" charset="0"/>
              </a:rPr>
              <a:t>Smelting &amp;  Refining</a:t>
            </a:r>
          </a:p>
        </p:txBody>
      </p:sp>
      <p:pic>
        <p:nvPicPr>
          <p:cNvPr id="788" name="Graphic 787" descr="Production outline">
            <a:extLst>
              <a:ext uri="{FF2B5EF4-FFF2-40B4-BE49-F238E27FC236}">
                <a16:creationId xmlns:a16="http://schemas.microsoft.com/office/drawing/2014/main" id="{15D9F5BA-23E4-4D82-C949-B831E45EFA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78312" y="4920850"/>
            <a:ext cx="434091" cy="434091"/>
          </a:xfrm>
          <a:prstGeom prst="rect">
            <a:avLst/>
          </a:prstGeom>
        </p:spPr>
      </p:pic>
      <p:grpSp>
        <p:nvGrpSpPr>
          <p:cNvPr id="790" name="Group 789">
            <a:extLst>
              <a:ext uri="{FF2B5EF4-FFF2-40B4-BE49-F238E27FC236}">
                <a16:creationId xmlns:a16="http://schemas.microsoft.com/office/drawing/2014/main" id="{A62171F2-0B0B-715C-86B8-704F59AB9F04}"/>
              </a:ext>
            </a:extLst>
          </p:cNvPr>
          <p:cNvGrpSpPr/>
          <p:nvPr/>
        </p:nvGrpSpPr>
        <p:grpSpPr>
          <a:xfrm>
            <a:off x="9382720" y="4654506"/>
            <a:ext cx="213756" cy="213756"/>
            <a:chOff x="4488873" y="2464130"/>
            <a:chExt cx="213756" cy="213756"/>
          </a:xfrm>
        </p:grpSpPr>
        <p:sp>
          <p:nvSpPr>
            <p:cNvPr id="791" name="Oval 790">
              <a:extLst>
                <a:ext uri="{FF2B5EF4-FFF2-40B4-BE49-F238E27FC236}">
                  <a16:creationId xmlns:a16="http://schemas.microsoft.com/office/drawing/2014/main" id="{E02A9BCF-ECB7-89D8-2AF3-03FED52D08CD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92" name="Chevron 706">
              <a:extLst>
                <a:ext uri="{FF2B5EF4-FFF2-40B4-BE49-F238E27FC236}">
                  <a16:creationId xmlns:a16="http://schemas.microsoft.com/office/drawing/2014/main" id="{5390AB27-8CBA-7E75-4F84-CF6D1B6D546C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793" name="Box">
            <a:extLst>
              <a:ext uri="{FF2B5EF4-FFF2-40B4-BE49-F238E27FC236}">
                <a16:creationId xmlns:a16="http://schemas.microsoft.com/office/drawing/2014/main" id="{D8867EFB-7B5A-7BEA-622E-44B07341FB6E}"/>
              </a:ext>
            </a:extLst>
          </p:cNvPr>
          <p:cNvSpPr/>
          <p:nvPr/>
        </p:nvSpPr>
        <p:spPr>
          <a:xfrm>
            <a:off x="6535480" y="4743679"/>
            <a:ext cx="1744915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/>
                <a:cs typeface="Arial"/>
              </a:rPr>
              <a:t>pCAM/CAM</a:t>
            </a:r>
            <a:endParaRPr lang="en-ZA" sz="11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794" name="Box">
            <a:extLst>
              <a:ext uri="{FF2B5EF4-FFF2-40B4-BE49-F238E27FC236}">
                <a16:creationId xmlns:a16="http://schemas.microsoft.com/office/drawing/2014/main" id="{8F226189-B3A2-21CC-8D1A-8E9886DF8A00}"/>
              </a:ext>
            </a:extLst>
          </p:cNvPr>
          <p:cNvSpPr/>
          <p:nvPr/>
        </p:nvSpPr>
        <p:spPr>
          <a:xfrm>
            <a:off x="6520190" y="5406883"/>
            <a:ext cx="1744915" cy="4800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100" dirty="0">
                <a:solidFill>
                  <a:schemeClr val="accent1"/>
                </a:solidFill>
                <a:latin typeface="Arial"/>
                <a:cs typeface="Arial"/>
              </a:rPr>
              <a:t>Batteries</a:t>
            </a:r>
            <a:endParaRPr lang="en-ZA" sz="11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grpSp>
        <p:nvGrpSpPr>
          <p:cNvPr id="795" name="Group 794">
            <a:extLst>
              <a:ext uri="{FF2B5EF4-FFF2-40B4-BE49-F238E27FC236}">
                <a16:creationId xmlns:a16="http://schemas.microsoft.com/office/drawing/2014/main" id="{0501FD65-5003-FF1C-0B25-258280059552}"/>
              </a:ext>
            </a:extLst>
          </p:cNvPr>
          <p:cNvGrpSpPr/>
          <p:nvPr/>
        </p:nvGrpSpPr>
        <p:grpSpPr>
          <a:xfrm>
            <a:off x="7311541" y="5202557"/>
            <a:ext cx="213756" cy="213756"/>
            <a:chOff x="4488873" y="2464130"/>
            <a:chExt cx="213756" cy="213756"/>
          </a:xfrm>
        </p:grpSpPr>
        <p:sp>
          <p:nvSpPr>
            <p:cNvPr id="796" name="Oval 795">
              <a:extLst>
                <a:ext uri="{FF2B5EF4-FFF2-40B4-BE49-F238E27FC236}">
                  <a16:creationId xmlns:a16="http://schemas.microsoft.com/office/drawing/2014/main" id="{E8E010AD-8E92-8432-A018-EF102DE65C57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797" name="Chevron 747">
              <a:extLst>
                <a:ext uri="{FF2B5EF4-FFF2-40B4-BE49-F238E27FC236}">
                  <a16:creationId xmlns:a16="http://schemas.microsoft.com/office/drawing/2014/main" id="{C58982F7-FB3A-6AFE-A1E2-D54A8B1B1D52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798" name="Group 797">
            <a:extLst>
              <a:ext uri="{FF2B5EF4-FFF2-40B4-BE49-F238E27FC236}">
                <a16:creationId xmlns:a16="http://schemas.microsoft.com/office/drawing/2014/main" id="{2444FA5D-0123-E65C-46E8-31E6907BD75A}"/>
              </a:ext>
            </a:extLst>
          </p:cNvPr>
          <p:cNvGrpSpPr/>
          <p:nvPr/>
        </p:nvGrpSpPr>
        <p:grpSpPr>
          <a:xfrm>
            <a:off x="7335050" y="5833417"/>
            <a:ext cx="213756" cy="213756"/>
            <a:chOff x="4488873" y="2464130"/>
            <a:chExt cx="213756" cy="213756"/>
          </a:xfrm>
        </p:grpSpPr>
        <p:sp>
          <p:nvSpPr>
            <p:cNvPr id="799" name="Oval 798">
              <a:extLst>
                <a:ext uri="{FF2B5EF4-FFF2-40B4-BE49-F238E27FC236}">
                  <a16:creationId xmlns:a16="http://schemas.microsoft.com/office/drawing/2014/main" id="{1D5B9070-9909-8E9D-E6B5-6B0D3CCDCB3A}"/>
                </a:ext>
              </a:extLst>
            </p:cNvPr>
            <p:cNvSpPr/>
            <p:nvPr/>
          </p:nvSpPr>
          <p:spPr>
            <a:xfrm>
              <a:off x="4488873" y="2464130"/>
              <a:ext cx="213756" cy="21375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00" name="Chevron 747">
              <a:extLst>
                <a:ext uri="{FF2B5EF4-FFF2-40B4-BE49-F238E27FC236}">
                  <a16:creationId xmlns:a16="http://schemas.microsoft.com/office/drawing/2014/main" id="{BBD5F7FA-E3EB-759F-F6A5-66785C4DDF89}"/>
                </a:ext>
              </a:extLst>
            </p:cNvPr>
            <p:cNvSpPr/>
            <p:nvPr/>
          </p:nvSpPr>
          <p:spPr>
            <a:xfrm rot="5400000">
              <a:off x="4536226" y="2511483"/>
              <a:ext cx="119050" cy="119050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802" name="Graphic 801" descr="Battery charging outline">
            <a:extLst>
              <a:ext uri="{FF2B5EF4-FFF2-40B4-BE49-F238E27FC236}">
                <a16:creationId xmlns:a16="http://schemas.microsoft.com/office/drawing/2014/main" id="{C580520C-235C-1864-DAD8-6B02A6A8BB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584687" y="5441839"/>
            <a:ext cx="457200" cy="457200"/>
          </a:xfrm>
          <a:prstGeom prst="rect">
            <a:avLst/>
          </a:prstGeom>
        </p:spPr>
      </p:pic>
      <p:pic>
        <p:nvPicPr>
          <p:cNvPr id="804" name="Graphic 803" descr="Gold bars outline">
            <a:extLst>
              <a:ext uri="{FF2B5EF4-FFF2-40B4-BE49-F238E27FC236}">
                <a16:creationId xmlns:a16="http://schemas.microsoft.com/office/drawing/2014/main" id="{582C9688-BC80-A242-5BCD-2C75B0C3F1F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28993" y="4735519"/>
            <a:ext cx="544283" cy="544283"/>
          </a:xfrm>
          <a:prstGeom prst="rect">
            <a:avLst/>
          </a:prstGeom>
        </p:spPr>
      </p:pic>
      <p:cxnSp>
        <p:nvCxnSpPr>
          <p:cNvPr id="806" name="Straight Connector 805">
            <a:extLst>
              <a:ext uri="{FF2B5EF4-FFF2-40B4-BE49-F238E27FC236}">
                <a16:creationId xmlns:a16="http://schemas.microsoft.com/office/drawing/2014/main" id="{1DDB202F-8C94-D74E-A7F9-3F0AB8110338}"/>
              </a:ext>
            </a:extLst>
          </p:cNvPr>
          <p:cNvCxnSpPr>
            <a:stCxn id="7" idx="2"/>
            <a:endCxn id="58" idx="0"/>
          </p:cNvCxnSpPr>
          <p:nvPr/>
        </p:nvCxnSpPr>
        <p:spPr>
          <a:xfrm>
            <a:off x="2693724" y="5663424"/>
            <a:ext cx="1252" cy="172652"/>
          </a:xfrm>
          <a:prstGeom prst="lin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5315935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88" name="Connector: Elbow 987">
            <a:extLst>
              <a:ext uri="{FF2B5EF4-FFF2-40B4-BE49-F238E27FC236}">
                <a16:creationId xmlns:a16="http://schemas.microsoft.com/office/drawing/2014/main" id="{38C27B40-3D76-886F-7849-0A31B699CA41}"/>
              </a:ext>
            </a:extLst>
          </p:cNvPr>
          <p:cNvCxnSpPr>
            <a:cxnSpLocks/>
            <a:stCxn id="979" idx="1"/>
            <a:endCxn id="40" idx="3"/>
          </p:cNvCxnSpPr>
          <p:nvPr/>
        </p:nvCxnSpPr>
        <p:spPr>
          <a:xfrm rot="10800000">
            <a:off x="10208041" y="2617506"/>
            <a:ext cx="314675" cy="1522496"/>
          </a:xfrm>
          <a:prstGeom prst="bentConnector3">
            <a:avLst>
              <a:gd name="adj1" fmla="val 35874"/>
            </a:avLst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1" name="Connector: Elbow 980">
            <a:extLst>
              <a:ext uri="{FF2B5EF4-FFF2-40B4-BE49-F238E27FC236}">
                <a16:creationId xmlns:a16="http://schemas.microsoft.com/office/drawing/2014/main" id="{FCDC5145-B55C-A8DE-A154-D822D132EE09}"/>
              </a:ext>
            </a:extLst>
          </p:cNvPr>
          <p:cNvCxnSpPr>
            <a:stCxn id="969" idx="1"/>
            <a:endCxn id="40" idx="3"/>
          </p:cNvCxnSpPr>
          <p:nvPr/>
        </p:nvCxnSpPr>
        <p:spPr>
          <a:xfrm rot="10800000" flipV="1">
            <a:off x="10208041" y="2225788"/>
            <a:ext cx="294287" cy="391717"/>
          </a:xfrm>
          <a:prstGeom prst="bentConnector3">
            <a:avLst>
              <a:gd name="adj1" fmla="val 32194"/>
            </a:avLst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63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ample: the nickel flow sheet is quite complex – many paths to make BG Ni sulphate</a:t>
            </a:r>
            <a:endParaRPr lang="en-ZA" dirty="0"/>
          </a:p>
        </p:txBody>
      </p:sp>
      <p:sp>
        <p:nvSpPr>
          <p:cNvPr id="738" name="Rectangle 737">
            <a:extLst>
              <a:ext uri="{FF2B5EF4-FFF2-40B4-BE49-F238E27FC236}">
                <a16:creationId xmlns:a16="http://schemas.microsoft.com/office/drawing/2014/main" id="{7A84095D-CA35-742B-6F82-8882404B9A39}"/>
              </a:ext>
            </a:extLst>
          </p:cNvPr>
          <p:cNvSpPr/>
          <p:nvPr/>
        </p:nvSpPr>
        <p:spPr>
          <a:xfrm>
            <a:off x="7209698" y="5168274"/>
            <a:ext cx="915866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Vapor metallur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D2C99A-073A-9B14-07CF-EF1B42B5B6A9}"/>
              </a:ext>
            </a:extLst>
          </p:cNvPr>
          <p:cNvSpPr/>
          <p:nvPr/>
        </p:nvSpPr>
        <p:spPr>
          <a:xfrm>
            <a:off x="697715" y="1613099"/>
            <a:ext cx="915866" cy="6583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Laterite </a:t>
            </a:r>
            <a:br>
              <a:rPr lang="en-US" sz="900" dirty="0">
                <a:solidFill>
                  <a:schemeClr val="accent2"/>
                </a:solidFill>
              </a:rPr>
            </a:br>
            <a:r>
              <a:rPr lang="en-US" sz="900" dirty="0">
                <a:solidFill>
                  <a:schemeClr val="accent2"/>
                </a:solidFill>
              </a:rPr>
              <a:t>ores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64E9C2-A925-A460-A6A6-7B9B9DA0C141}"/>
              </a:ext>
            </a:extLst>
          </p:cNvPr>
          <p:cNvSpPr/>
          <p:nvPr/>
        </p:nvSpPr>
        <p:spPr>
          <a:xfrm>
            <a:off x="8838775" y="4989214"/>
            <a:ext cx="1369265" cy="548640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Rechargeable Batte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89CF32F-DCAA-EE38-AD5B-5EC9AF3F739B}"/>
              </a:ext>
            </a:extLst>
          </p:cNvPr>
          <p:cNvSpPr/>
          <p:nvPr/>
        </p:nvSpPr>
        <p:spPr>
          <a:xfrm>
            <a:off x="6947587" y="2641552"/>
            <a:ext cx="1059384" cy="4887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Hydromet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Refining</a:t>
            </a: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DC10EAA2-A5BC-001B-DE0A-EFC83B8B22DD}"/>
              </a:ext>
            </a:extLst>
          </p:cNvPr>
          <p:cNvSpPr/>
          <p:nvPr/>
        </p:nvSpPr>
        <p:spPr>
          <a:xfrm>
            <a:off x="1727373" y="1134110"/>
            <a:ext cx="1402459" cy="412734"/>
          </a:xfrm>
          <a:prstGeom prst="chevron">
            <a:avLst>
              <a:gd name="adj" fmla="val 24614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Mining &amp; Beneficiation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1FC61A20-BF7D-6B52-7C96-81DB963879AE}"/>
              </a:ext>
            </a:extLst>
          </p:cNvPr>
          <p:cNvSpPr/>
          <p:nvPr/>
        </p:nvSpPr>
        <p:spPr>
          <a:xfrm>
            <a:off x="3126697" y="1134110"/>
            <a:ext cx="5248138" cy="412734"/>
          </a:xfrm>
          <a:prstGeom prst="chevron">
            <a:avLst>
              <a:gd name="adj" fmla="val 2846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1200" dirty="0">
                <a:solidFill>
                  <a:schemeClr val="bg1"/>
                </a:solidFill>
              </a:rPr>
              <a:t>Processing &amp; Smelting &amp; Refining</a:t>
            </a:r>
          </a:p>
        </p:txBody>
      </p:sp>
      <p:sp>
        <p:nvSpPr>
          <p:cNvPr id="17" name="Arrow: Chevron 16">
            <a:extLst>
              <a:ext uri="{FF2B5EF4-FFF2-40B4-BE49-F238E27FC236}">
                <a16:creationId xmlns:a16="http://schemas.microsoft.com/office/drawing/2014/main" id="{B5BD5E6A-B0A5-E9A4-C375-BE7242749273}"/>
              </a:ext>
            </a:extLst>
          </p:cNvPr>
          <p:cNvSpPr/>
          <p:nvPr/>
        </p:nvSpPr>
        <p:spPr>
          <a:xfrm>
            <a:off x="8371699" y="1134110"/>
            <a:ext cx="1975130" cy="412734"/>
          </a:xfrm>
          <a:prstGeom prst="chevron">
            <a:avLst>
              <a:gd name="adj" fmla="val 2230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First Use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D4C43F96-0222-E70C-B3D1-F6DCC81806DE}"/>
              </a:ext>
            </a:extLst>
          </p:cNvPr>
          <p:cNvSpPr/>
          <p:nvPr/>
        </p:nvSpPr>
        <p:spPr>
          <a:xfrm>
            <a:off x="490734" y="1134110"/>
            <a:ext cx="1239774" cy="412734"/>
          </a:xfrm>
          <a:prstGeom prst="homePlate">
            <a:avLst>
              <a:gd name="adj" fmla="val 19845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Ores</a:t>
            </a:r>
            <a:endParaRPr lang="en-CA" sz="1200" dirty="0">
              <a:solidFill>
                <a:schemeClr val="bg1"/>
              </a:solidFill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029A8605-09C5-8189-4BC9-EE1C3A5AC940}"/>
              </a:ext>
            </a:extLst>
          </p:cNvPr>
          <p:cNvCxnSpPr>
            <a:cxnSpLocks/>
            <a:stCxn id="854" idx="3"/>
            <a:endCxn id="766" idx="1"/>
          </p:cNvCxnSpPr>
          <p:nvPr/>
        </p:nvCxnSpPr>
        <p:spPr>
          <a:xfrm>
            <a:off x="6129690" y="1760863"/>
            <a:ext cx="2705045" cy="18370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DB12AD01-344F-D603-329D-285F4DAA7455}"/>
              </a:ext>
            </a:extLst>
          </p:cNvPr>
          <p:cNvSpPr/>
          <p:nvPr/>
        </p:nvSpPr>
        <p:spPr>
          <a:xfrm>
            <a:off x="8840353" y="3016123"/>
            <a:ext cx="1367687" cy="548640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High Ni alloys</a:t>
            </a:r>
            <a:endParaRPr lang="en-CA" sz="900" dirty="0">
              <a:solidFill>
                <a:schemeClr val="accent2"/>
              </a:solidFill>
            </a:endParaRPr>
          </a:p>
        </p:txBody>
      </p: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FAE1E2E-B682-782A-6364-A9D92793E60A}"/>
              </a:ext>
            </a:extLst>
          </p:cNvPr>
          <p:cNvCxnSpPr>
            <a:cxnSpLocks/>
            <a:stCxn id="766" idx="3"/>
            <a:endCxn id="13" idx="1"/>
          </p:cNvCxnSpPr>
          <p:nvPr/>
        </p:nvCxnSpPr>
        <p:spPr>
          <a:xfrm>
            <a:off x="10208040" y="1944569"/>
            <a:ext cx="294287" cy="11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4EC73451-4256-D7FC-19B8-C5272C30F272}"/>
              </a:ext>
            </a:extLst>
          </p:cNvPr>
          <p:cNvCxnSpPr>
            <a:cxnSpLocks/>
            <a:stCxn id="766" idx="3"/>
            <a:endCxn id="19" idx="1"/>
          </p:cNvCxnSpPr>
          <p:nvPr/>
        </p:nvCxnSpPr>
        <p:spPr>
          <a:xfrm>
            <a:off x="10208040" y="1944569"/>
            <a:ext cx="314675" cy="82479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A54954B6-77C4-ADBA-C1FE-B22C1C86980D}"/>
              </a:ext>
            </a:extLst>
          </p:cNvPr>
          <p:cNvCxnSpPr>
            <a:cxnSpLocks/>
            <a:stCxn id="766" idx="3"/>
            <a:endCxn id="25" idx="1"/>
          </p:cNvCxnSpPr>
          <p:nvPr/>
        </p:nvCxnSpPr>
        <p:spPr>
          <a:xfrm>
            <a:off x="10208040" y="1944569"/>
            <a:ext cx="314675" cy="165185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1A712BD-455E-4778-D014-271C297D07C1}"/>
              </a:ext>
            </a:extLst>
          </p:cNvPr>
          <p:cNvSpPr/>
          <p:nvPr/>
        </p:nvSpPr>
        <p:spPr>
          <a:xfrm>
            <a:off x="1850061" y="1904757"/>
            <a:ext cx="1078387" cy="13470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0" rtlCol="0" anchor="t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OP mining,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Grinding,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Classifying</a:t>
            </a:r>
          </a:p>
        </p:txBody>
      </p:sp>
      <p:cxnSp>
        <p:nvCxnSpPr>
          <p:cNvPr id="672" name="Connector: Elbow 671">
            <a:extLst>
              <a:ext uri="{FF2B5EF4-FFF2-40B4-BE49-F238E27FC236}">
                <a16:creationId xmlns:a16="http://schemas.microsoft.com/office/drawing/2014/main" id="{B2B4B659-EB04-CE23-333E-ED7C5896A4D5}"/>
              </a:ext>
            </a:extLst>
          </p:cNvPr>
          <p:cNvCxnSpPr>
            <a:cxnSpLocks/>
            <a:stCxn id="10" idx="2"/>
            <a:endCxn id="27" idx="1"/>
          </p:cNvCxnSpPr>
          <p:nvPr/>
        </p:nvCxnSpPr>
        <p:spPr>
          <a:xfrm rot="16200000" flipH="1">
            <a:off x="1349445" y="2077669"/>
            <a:ext cx="306819" cy="694413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Arrow Connector 672">
            <a:extLst>
              <a:ext uri="{FF2B5EF4-FFF2-40B4-BE49-F238E27FC236}">
                <a16:creationId xmlns:a16="http://schemas.microsoft.com/office/drawing/2014/main" id="{A10A53BC-6471-5AC7-BFFF-DE9448DB89B2}"/>
              </a:ext>
            </a:extLst>
          </p:cNvPr>
          <p:cNvCxnSpPr>
            <a:cxnSpLocks/>
            <a:stCxn id="11" idx="3"/>
            <a:endCxn id="677" idx="1"/>
          </p:cNvCxnSpPr>
          <p:nvPr/>
        </p:nvCxnSpPr>
        <p:spPr>
          <a:xfrm flipV="1">
            <a:off x="10208040" y="5250549"/>
            <a:ext cx="314675" cy="12985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Rectangle 676">
            <a:extLst>
              <a:ext uri="{FF2B5EF4-FFF2-40B4-BE49-F238E27FC236}">
                <a16:creationId xmlns:a16="http://schemas.microsoft.com/office/drawing/2014/main" id="{E4714939-7E63-A90E-4084-31F685D07C74}"/>
              </a:ext>
            </a:extLst>
          </p:cNvPr>
          <p:cNvSpPr/>
          <p:nvPr/>
        </p:nvSpPr>
        <p:spPr>
          <a:xfrm>
            <a:off x="10522715" y="4921344"/>
            <a:ext cx="1275586" cy="658410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Electric vehicles 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&amp; Other uses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678" name="Rectangle 677">
            <a:extLst>
              <a:ext uri="{FF2B5EF4-FFF2-40B4-BE49-F238E27FC236}">
                <a16:creationId xmlns:a16="http://schemas.microsoft.com/office/drawing/2014/main" id="{EA9B073E-6D13-4577-2153-D6F0E7273F87}"/>
              </a:ext>
            </a:extLst>
          </p:cNvPr>
          <p:cNvSpPr/>
          <p:nvPr/>
        </p:nvSpPr>
        <p:spPr>
          <a:xfrm>
            <a:off x="1951028" y="2646768"/>
            <a:ext cx="876455" cy="2257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Saprolit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679" name="Rectangle 678">
            <a:extLst>
              <a:ext uri="{FF2B5EF4-FFF2-40B4-BE49-F238E27FC236}">
                <a16:creationId xmlns:a16="http://schemas.microsoft.com/office/drawing/2014/main" id="{5908BE32-48E3-90A9-FC03-8C0B8AE91E31}"/>
              </a:ext>
            </a:extLst>
          </p:cNvPr>
          <p:cNvSpPr/>
          <p:nvPr/>
        </p:nvSpPr>
        <p:spPr>
          <a:xfrm>
            <a:off x="1951028" y="2917981"/>
            <a:ext cx="876455" cy="2257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Limonit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681" name="Rectangle 680">
            <a:extLst>
              <a:ext uri="{FF2B5EF4-FFF2-40B4-BE49-F238E27FC236}">
                <a16:creationId xmlns:a16="http://schemas.microsoft.com/office/drawing/2014/main" id="{B0EB88CD-D0E3-CEBE-8FBD-E95E7AE68C7E}"/>
              </a:ext>
            </a:extLst>
          </p:cNvPr>
          <p:cNvSpPr/>
          <p:nvPr/>
        </p:nvSpPr>
        <p:spPr>
          <a:xfrm>
            <a:off x="3348182" y="1709470"/>
            <a:ext cx="915682" cy="41151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Smelting</a:t>
            </a:r>
          </a:p>
        </p:txBody>
      </p:sp>
      <p:sp>
        <p:nvSpPr>
          <p:cNvPr id="682" name="Rectangle 681">
            <a:extLst>
              <a:ext uri="{FF2B5EF4-FFF2-40B4-BE49-F238E27FC236}">
                <a16:creationId xmlns:a16="http://schemas.microsoft.com/office/drawing/2014/main" id="{59A627DE-9935-7BFB-E979-9C586BA09B0C}"/>
              </a:ext>
            </a:extLst>
          </p:cNvPr>
          <p:cNvSpPr/>
          <p:nvPr/>
        </p:nvSpPr>
        <p:spPr>
          <a:xfrm>
            <a:off x="4819370" y="1988969"/>
            <a:ext cx="1310320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</a:rPr>
              <a:t>Nickel pig iron</a:t>
            </a:r>
          </a:p>
        </p:txBody>
      </p:sp>
      <p:cxnSp>
        <p:nvCxnSpPr>
          <p:cNvPr id="684" name="Connector: Elbow 683">
            <a:extLst>
              <a:ext uri="{FF2B5EF4-FFF2-40B4-BE49-F238E27FC236}">
                <a16:creationId xmlns:a16="http://schemas.microsoft.com/office/drawing/2014/main" id="{6B4E4846-1F8B-64BA-462A-ECB466F17C30}"/>
              </a:ext>
            </a:extLst>
          </p:cNvPr>
          <p:cNvCxnSpPr>
            <a:cxnSpLocks/>
            <a:stCxn id="682" idx="3"/>
            <a:endCxn id="766" idx="1"/>
          </p:cNvCxnSpPr>
          <p:nvPr/>
        </p:nvCxnSpPr>
        <p:spPr>
          <a:xfrm flipV="1">
            <a:off x="6129690" y="1944569"/>
            <a:ext cx="2705045" cy="9144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5" name="Connector: Elbow 684">
            <a:extLst>
              <a:ext uri="{FF2B5EF4-FFF2-40B4-BE49-F238E27FC236}">
                <a16:creationId xmlns:a16="http://schemas.microsoft.com/office/drawing/2014/main" id="{ED8BD316-1643-2DAA-39B8-18D9091D65EB}"/>
              </a:ext>
            </a:extLst>
          </p:cNvPr>
          <p:cNvCxnSpPr>
            <a:cxnSpLocks/>
            <a:stCxn id="681" idx="3"/>
            <a:endCxn id="854" idx="1"/>
          </p:cNvCxnSpPr>
          <p:nvPr/>
        </p:nvCxnSpPr>
        <p:spPr>
          <a:xfrm flipV="1">
            <a:off x="4263864" y="1760863"/>
            <a:ext cx="555506" cy="15436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7" name="Connector: Elbow 686">
            <a:extLst>
              <a:ext uri="{FF2B5EF4-FFF2-40B4-BE49-F238E27FC236}">
                <a16:creationId xmlns:a16="http://schemas.microsoft.com/office/drawing/2014/main" id="{5D34B1A9-C8D3-23AC-5CCA-12F44480D8A9}"/>
              </a:ext>
            </a:extLst>
          </p:cNvPr>
          <p:cNvCxnSpPr>
            <a:cxnSpLocks/>
            <a:stCxn id="681" idx="3"/>
            <a:endCxn id="682" idx="1"/>
          </p:cNvCxnSpPr>
          <p:nvPr/>
        </p:nvCxnSpPr>
        <p:spPr>
          <a:xfrm>
            <a:off x="4263864" y="1915228"/>
            <a:ext cx="555506" cy="22150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8" name="Connector: Elbow 687">
            <a:extLst>
              <a:ext uri="{FF2B5EF4-FFF2-40B4-BE49-F238E27FC236}">
                <a16:creationId xmlns:a16="http://schemas.microsoft.com/office/drawing/2014/main" id="{41096FEE-10E9-C803-2C42-757749C86A42}"/>
              </a:ext>
            </a:extLst>
          </p:cNvPr>
          <p:cNvCxnSpPr>
            <a:cxnSpLocks/>
            <a:stCxn id="678" idx="3"/>
            <a:endCxn id="681" idx="1"/>
          </p:cNvCxnSpPr>
          <p:nvPr/>
        </p:nvCxnSpPr>
        <p:spPr>
          <a:xfrm flipV="1">
            <a:off x="2827483" y="1915228"/>
            <a:ext cx="520699" cy="844419"/>
          </a:xfrm>
          <a:prstGeom prst="bentConnector3">
            <a:avLst>
              <a:gd name="adj1" fmla="val 36697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Connector: Elbow 689">
            <a:extLst>
              <a:ext uri="{FF2B5EF4-FFF2-40B4-BE49-F238E27FC236}">
                <a16:creationId xmlns:a16="http://schemas.microsoft.com/office/drawing/2014/main" id="{6BB678EF-7717-A991-F57F-5E6C9E0CED12}"/>
              </a:ext>
            </a:extLst>
          </p:cNvPr>
          <p:cNvCxnSpPr>
            <a:cxnSpLocks/>
            <a:stCxn id="678" idx="3"/>
            <a:endCxn id="782" idx="0"/>
          </p:cNvCxnSpPr>
          <p:nvPr/>
        </p:nvCxnSpPr>
        <p:spPr>
          <a:xfrm flipV="1">
            <a:off x="2827483" y="2434712"/>
            <a:ext cx="963477" cy="324935"/>
          </a:xfrm>
          <a:prstGeom prst="bentConnector4">
            <a:avLst>
              <a:gd name="adj1" fmla="val 19812"/>
              <a:gd name="adj2" fmla="val 170353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1" name="Connector: Elbow 690">
            <a:extLst>
              <a:ext uri="{FF2B5EF4-FFF2-40B4-BE49-F238E27FC236}">
                <a16:creationId xmlns:a16="http://schemas.microsoft.com/office/drawing/2014/main" id="{6FDC51D3-6857-AA24-50F4-A898FD59B9EC}"/>
              </a:ext>
            </a:extLst>
          </p:cNvPr>
          <p:cNvCxnSpPr>
            <a:cxnSpLocks/>
            <a:stCxn id="679" idx="3"/>
            <a:endCxn id="782" idx="1"/>
          </p:cNvCxnSpPr>
          <p:nvPr/>
        </p:nvCxnSpPr>
        <p:spPr>
          <a:xfrm flipV="1">
            <a:off x="2827483" y="2640470"/>
            <a:ext cx="507710" cy="390390"/>
          </a:xfrm>
          <a:prstGeom prst="bentConnector3">
            <a:avLst>
              <a:gd name="adj1" fmla="val 5124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4" name="Rectangle 693">
            <a:extLst>
              <a:ext uri="{FF2B5EF4-FFF2-40B4-BE49-F238E27FC236}">
                <a16:creationId xmlns:a16="http://schemas.microsoft.com/office/drawing/2014/main" id="{A499D89A-55FF-D775-CF8B-0C4FDFD3E231}"/>
              </a:ext>
            </a:extLst>
          </p:cNvPr>
          <p:cNvSpPr/>
          <p:nvPr/>
        </p:nvSpPr>
        <p:spPr>
          <a:xfrm>
            <a:off x="4819370" y="2740707"/>
            <a:ext cx="1310320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</a:rPr>
              <a:t>MSP</a:t>
            </a:r>
          </a:p>
        </p:txBody>
      </p:sp>
      <p:cxnSp>
        <p:nvCxnSpPr>
          <p:cNvPr id="696" name="Connector: Elbow 695">
            <a:extLst>
              <a:ext uri="{FF2B5EF4-FFF2-40B4-BE49-F238E27FC236}">
                <a16:creationId xmlns:a16="http://schemas.microsoft.com/office/drawing/2014/main" id="{45475463-F9EC-D3E7-F5E1-D74C2D780C9F}"/>
              </a:ext>
            </a:extLst>
          </p:cNvPr>
          <p:cNvCxnSpPr>
            <a:cxnSpLocks/>
            <a:stCxn id="782" idx="3"/>
            <a:endCxn id="694" idx="1"/>
          </p:cNvCxnSpPr>
          <p:nvPr/>
        </p:nvCxnSpPr>
        <p:spPr>
          <a:xfrm>
            <a:off x="4246727" y="2640470"/>
            <a:ext cx="572643" cy="24800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7" name="Connector: Elbow 696">
            <a:extLst>
              <a:ext uri="{FF2B5EF4-FFF2-40B4-BE49-F238E27FC236}">
                <a16:creationId xmlns:a16="http://schemas.microsoft.com/office/drawing/2014/main" id="{40C04158-9BF1-4734-B697-3C803B4C9112}"/>
              </a:ext>
            </a:extLst>
          </p:cNvPr>
          <p:cNvCxnSpPr>
            <a:cxnSpLocks/>
            <a:stCxn id="781" idx="3"/>
          </p:cNvCxnSpPr>
          <p:nvPr/>
        </p:nvCxnSpPr>
        <p:spPr>
          <a:xfrm>
            <a:off x="4245517" y="2513197"/>
            <a:ext cx="2696599" cy="183565"/>
          </a:xfrm>
          <a:prstGeom prst="bentConnector3">
            <a:avLst>
              <a:gd name="adj1" fmla="val 78258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9" name="Rectangle 698">
            <a:extLst>
              <a:ext uri="{FF2B5EF4-FFF2-40B4-BE49-F238E27FC236}">
                <a16:creationId xmlns:a16="http://schemas.microsoft.com/office/drawing/2014/main" id="{6CEBDA42-F542-5AF0-8FEB-40B35F8A03A4}"/>
              </a:ext>
            </a:extLst>
          </p:cNvPr>
          <p:cNvSpPr/>
          <p:nvPr/>
        </p:nvSpPr>
        <p:spPr>
          <a:xfrm>
            <a:off x="4819955" y="3116575"/>
            <a:ext cx="1303538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</a:rPr>
              <a:t>MHP</a:t>
            </a:r>
          </a:p>
        </p:txBody>
      </p:sp>
      <p:cxnSp>
        <p:nvCxnSpPr>
          <p:cNvPr id="700" name="Connector: Elbow 699">
            <a:extLst>
              <a:ext uri="{FF2B5EF4-FFF2-40B4-BE49-F238E27FC236}">
                <a16:creationId xmlns:a16="http://schemas.microsoft.com/office/drawing/2014/main" id="{56282A02-5901-F0F1-F012-5AB0161E29BB}"/>
              </a:ext>
            </a:extLst>
          </p:cNvPr>
          <p:cNvCxnSpPr>
            <a:cxnSpLocks/>
            <a:stCxn id="782" idx="3"/>
            <a:endCxn id="699" idx="1"/>
          </p:cNvCxnSpPr>
          <p:nvPr/>
        </p:nvCxnSpPr>
        <p:spPr>
          <a:xfrm>
            <a:off x="4246727" y="2640470"/>
            <a:ext cx="573228" cy="62386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2" name="Rectangle 701">
            <a:extLst>
              <a:ext uri="{FF2B5EF4-FFF2-40B4-BE49-F238E27FC236}">
                <a16:creationId xmlns:a16="http://schemas.microsoft.com/office/drawing/2014/main" id="{A449D8CB-8DB0-A6C6-822F-CD9D1FCCD9C9}"/>
              </a:ext>
            </a:extLst>
          </p:cNvPr>
          <p:cNvSpPr/>
          <p:nvPr/>
        </p:nvSpPr>
        <p:spPr>
          <a:xfrm>
            <a:off x="3348182" y="3059869"/>
            <a:ext cx="915682" cy="41151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Heap </a:t>
            </a:r>
            <a:br>
              <a:rPr lang="en-CA" sz="900" dirty="0">
                <a:solidFill>
                  <a:schemeClr val="accent2"/>
                </a:solidFill>
              </a:rPr>
            </a:br>
            <a:r>
              <a:rPr lang="en-CA" sz="900" dirty="0">
                <a:solidFill>
                  <a:schemeClr val="accent2"/>
                </a:solidFill>
              </a:rPr>
              <a:t>leach</a:t>
            </a:r>
          </a:p>
        </p:txBody>
      </p:sp>
      <p:cxnSp>
        <p:nvCxnSpPr>
          <p:cNvPr id="703" name="Connector: Elbow 702">
            <a:extLst>
              <a:ext uri="{FF2B5EF4-FFF2-40B4-BE49-F238E27FC236}">
                <a16:creationId xmlns:a16="http://schemas.microsoft.com/office/drawing/2014/main" id="{9C9462CF-7EE8-90C4-6D6E-CC44308B37ED}"/>
              </a:ext>
            </a:extLst>
          </p:cNvPr>
          <p:cNvCxnSpPr>
            <a:cxnSpLocks/>
            <a:stCxn id="679" idx="3"/>
            <a:endCxn id="702" idx="1"/>
          </p:cNvCxnSpPr>
          <p:nvPr/>
        </p:nvCxnSpPr>
        <p:spPr>
          <a:xfrm>
            <a:off x="2827483" y="3030860"/>
            <a:ext cx="520699" cy="23476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83E4E33D-1215-0998-18E8-5EA6525B0558}"/>
              </a:ext>
            </a:extLst>
          </p:cNvPr>
          <p:cNvCxnSpPr>
            <a:cxnSpLocks/>
            <a:stCxn id="702" idx="3"/>
            <a:endCxn id="694" idx="1"/>
          </p:cNvCxnSpPr>
          <p:nvPr/>
        </p:nvCxnSpPr>
        <p:spPr>
          <a:xfrm flipV="1">
            <a:off x="4263864" y="2888470"/>
            <a:ext cx="555506" cy="377157"/>
          </a:xfrm>
          <a:prstGeom prst="bentConnector3">
            <a:avLst>
              <a:gd name="adj1" fmla="val 49143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550AF692-0E88-815E-A410-8EA21CFAC6C8}"/>
              </a:ext>
            </a:extLst>
          </p:cNvPr>
          <p:cNvCxnSpPr>
            <a:cxnSpLocks/>
            <a:stCxn id="699" idx="3"/>
            <a:endCxn id="12" idx="1"/>
          </p:cNvCxnSpPr>
          <p:nvPr/>
        </p:nvCxnSpPr>
        <p:spPr>
          <a:xfrm flipV="1">
            <a:off x="6123493" y="2885905"/>
            <a:ext cx="824094" cy="37843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9CF6A8CA-B335-DE45-BDCE-1A8D9CFA8B5A}"/>
              </a:ext>
            </a:extLst>
          </p:cNvPr>
          <p:cNvCxnSpPr>
            <a:cxnSpLocks/>
            <a:stCxn id="694" idx="3"/>
            <a:endCxn id="12" idx="1"/>
          </p:cNvCxnSpPr>
          <p:nvPr/>
        </p:nvCxnSpPr>
        <p:spPr>
          <a:xfrm flipV="1">
            <a:off x="6129690" y="2885905"/>
            <a:ext cx="817897" cy="256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5" name="Rectangle 704">
            <a:extLst>
              <a:ext uri="{FF2B5EF4-FFF2-40B4-BE49-F238E27FC236}">
                <a16:creationId xmlns:a16="http://schemas.microsoft.com/office/drawing/2014/main" id="{B3C36091-2D5C-1172-961D-A601975FD686}"/>
              </a:ext>
            </a:extLst>
          </p:cNvPr>
          <p:cNvSpPr/>
          <p:nvPr/>
        </p:nvSpPr>
        <p:spPr>
          <a:xfrm>
            <a:off x="697715" y="4783987"/>
            <a:ext cx="915866" cy="6583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Sulfide ores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BACACE33-D620-4E44-C548-4B915F14B3E5}"/>
              </a:ext>
            </a:extLst>
          </p:cNvPr>
          <p:cNvSpPr/>
          <p:nvPr/>
        </p:nvSpPr>
        <p:spPr>
          <a:xfrm>
            <a:off x="1850061" y="4646588"/>
            <a:ext cx="1078388" cy="9331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UG mining,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Crushing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Grinding,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Flotation</a:t>
            </a:r>
          </a:p>
        </p:txBody>
      </p:sp>
      <p:cxnSp>
        <p:nvCxnSpPr>
          <p:cNvPr id="711" name="Connector: Elbow 710">
            <a:extLst>
              <a:ext uri="{FF2B5EF4-FFF2-40B4-BE49-F238E27FC236}">
                <a16:creationId xmlns:a16="http://schemas.microsoft.com/office/drawing/2014/main" id="{69FF028D-247B-CF46-A682-9AA57DA0D2A8}"/>
              </a:ext>
            </a:extLst>
          </p:cNvPr>
          <p:cNvCxnSpPr>
            <a:cxnSpLocks/>
            <a:stCxn id="709" idx="0"/>
          </p:cNvCxnSpPr>
          <p:nvPr/>
        </p:nvCxnSpPr>
        <p:spPr>
          <a:xfrm rot="5400000" flipH="1" flipV="1">
            <a:off x="5109006" y="3021684"/>
            <a:ext cx="122982" cy="2728949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headEnd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2" name="Connector: Elbow 711">
            <a:extLst>
              <a:ext uri="{FF2B5EF4-FFF2-40B4-BE49-F238E27FC236}">
                <a16:creationId xmlns:a16="http://schemas.microsoft.com/office/drawing/2014/main" id="{E294B134-838C-6771-1A5F-F0A0DF686459}"/>
              </a:ext>
            </a:extLst>
          </p:cNvPr>
          <p:cNvCxnSpPr>
            <a:cxnSpLocks/>
            <a:stCxn id="784" idx="3"/>
            <a:endCxn id="709" idx="1"/>
          </p:cNvCxnSpPr>
          <p:nvPr/>
        </p:nvCxnSpPr>
        <p:spPr>
          <a:xfrm>
            <a:off x="2941037" y="4324168"/>
            <a:ext cx="407145" cy="32922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5" name="Connector: Elbow 714">
            <a:extLst>
              <a:ext uri="{FF2B5EF4-FFF2-40B4-BE49-F238E27FC236}">
                <a16:creationId xmlns:a16="http://schemas.microsoft.com/office/drawing/2014/main" id="{7F18F39D-890D-0F0B-EC77-CB362879FB57}"/>
              </a:ext>
            </a:extLst>
          </p:cNvPr>
          <p:cNvCxnSpPr>
            <a:cxnSpLocks/>
            <a:stCxn id="784" idx="3"/>
            <a:endCxn id="714" idx="1"/>
          </p:cNvCxnSpPr>
          <p:nvPr/>
        </p:nvCxnSpPr>
        <p:spPr>
          <a:xfrm>
            <a:off x="2941037" y="4324168"/>
            <a:ext cx="407145" cy="104984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8" name="Rectangle 717">
            <a:extLst>
              <a:ext uri="{FF2B5EF4-FFF2-40B4-BE49-F238E27FC236}">
                <a16:creationId xmlns:a16="http://schemas.microsoft.com/office/drawing/2014/main" id="{BB03E31D-571C-BE4E-9EBA-3BC601D534F0}"/>
              </a:ext>
            </a:extLst>
          </p:cNvPr>
          <p:cNvSpPr/>
          <p:nvPr/>
        </p:nvSpPr>
        <p:spPr>
          <a:xfrm>
            <a:off x="6942116" y="3457490"/>
            <a:ext cx="1239808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</a:rPr>
              <a:t>Rounds</a:t>
            </a:r>
          </a:p>
        </p:txBody>
      </p:sp>
      <p:cxnSp>
        <p:nvCxnSpPr>
          <p:cNvPr id="723" name="Connector: Elbow 722">
            <a:extLst>
              <a:ext uri="{FF2B5EF4-FFF2-40B4-BE49-F238E27FC236}">
                <a16:creationId xmlns:a16="http://schemas.microsoft.com/office/drawing/2014/main" id="{B560484A-F424-0EBE-50C2-B09986BBEF23}"/>
              </a:ext>
            </a:extLst>
          </p:cNvPr>
          <p:cNvCxnSpPr>
            <a:cxnSpLocks/>
            <a:stCxn id="717" idx="0"/>
            <a:endCxn id="852" idx="1"/>
          </p:cNvCxnSpPr>
          <p:nvPr/>
        </p:nvCxnSpPr>
        <p:spPr>
          <a:xfrm rot="5400000" flipH="1" flipV="1">
            <a:off x="4772866" y="4784828"/>
            <a:ext cx="463473" cy="303421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9" name="Connector: Elbow 728">
            <a:extLst>
              <a:ext uri="{FF2B5EF4-FFF2-40B4-BE49-F238E27FC236}">
                <a16:creationId xmlns:a16="http://schemas.microsoft.com/office/drawing/2014/main" id="{7B71996E-6D68-11AD-1401-B50AD6ACA167}"/>
              </a:ext>
            </a:extLst>
          </p:cNvPr>
          <p:cNvCxnSpPr>
            <a:cxnSpLocks/>
            <a:stCxn id="724" idx="3"/>
            <a:endCxn id="798" idx="1"/>
          </p:cNvCxnSpPr>
          <p:nvPr/>
        </p:nvCxnSpPr>
        <p:spPr>
          <a:xfrm flipV="1">
            <a:off x="4263864" y="3943561"/>
            <a:ext cx="892449" cy="43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0" name="Group 729">
            <a:extLst>
              <a:ext uri="{FF2B5EF4-FFF2-40B4-BE49-F238E27FC236}">
                <a16:creationId xmlns:a16="http://schemas.microsoft.com/office/drawing/2014/main" id="{C347538F-3B3E-7C2D-DE2C-92AAC0898CE5}"/>
              </a:ext>
            </a:extLst>
          </p:cNvPr>
          <p:cNvGrpSpPr/>
          <p:nvPr/>
        </p:nvGrpSpPr>
        <p:grpSpPr>
          <a:xfrm>
            <a:off x="4819370" y="1613100"/>
            <a:ext cx="1310320" cy="295526"/>
            <a:chOff x="3594817" y="1268015"/>
            <a:chExt cx="1020238" cy="231082"/>
          </a:xfrm>
        </p:grpSpPr>
        <p:sp>
          <p:nvSpPr>
            <p:cNvPr id="854" name="Rectangle 853">
              <a:extLst>
                <a:ext uri="{FF2B5EF4-FFF2-40B4-BE49-F238E27FC236}">
                  <a16:creationId xmlns:a16="http://schemas.microsoft.com/office/drawing/2014/main" id="{EFA93899-9B66-5311-B3ED-09CB91872190}"/>
                </a:ext>
              </a:extLst>
            </p:cNvPr>
            <p:cNvSpPr/>
            <p:nvPr/>
          </p:nvSpPr>
          <p:spPr>
            <a:xfrm>
              <a:off x="3594817" y="1268015"/>
              <a:ext cx="1020238" cy="23108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bg1"/>
                  </a:solidFill>
                </a:rPr>
                <a:t>Ferronickel</a:t>
              </a:r>
            </a:p>
          </p:txBody>
        </p:sp>
        <p:sp>
          <p:nvSpPr>
            <p:cNvPr id="855" name="Rectangle 854">
              <a:extLst>
                <a:ext uri="{FF2B5EF4-FFF2-40B4-BE49-F238E27FC236}">
                  <a16:creationId xmlns:a16="http://schemas.microsoft.com/office/drawing/2014/main" id="{FA2FB160-D5E9-C161-E297-18B3BA5A7799}"/>
                </a:ext>
              </a:extLst>
            </p:cNvPr>
            <p:cNvSpPr/>
            <p:nvPr/>
          </p:nvSpPr>
          <p:spPr>
            <a:xfrm>
              <a:off x="4492941" y="1384141"/>
              <a:ext cx="120656" cy="1143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732" name="Connector: Elbow 731">
            <a:extLst>
              <a:ext uri="{FF2B5EF4-FFF2-40B4-BE49-F238E27FC236}">
                <a16:creationId xmlns:a16="http://schemas.microsoft.com/office/drawing/2014/main" id="{87CCE743-FBA7-7286-A985-851A28857A2F}"/>
              </a:ext>
            </a:extLst>
          </p:cNvPr>
          <p:cNvCxnSpPr>
            <a:cxnSpLocks/>
            <a:stCxn id="855" idx="3"/>
            <a:endCxn id="852" idx="0"/>
          </p:cNvCxnSpPr>
          <p:nvPr/>
        </p:nvCxnSpPr>
        <p:spPr>
          <a:xfrm flipH="1">
            <a:off x="5639903" y="1834709"/>
            <a:ext cx="487915" cy="2722328"/>
          </a:xfrm>
          <a:prstGeom prst="bentConnector4">
            <a:avLst>
              <a:gd name="adj1" fmla="val -46852"/>
              <a:gd name="adj2" fmla="val 87381"/>
            </a:avLst>
          </a:prstGeom>
          <a:ln>
            <a:solidFill>
              <a:schemeClr val="bg1">
                <a:lumMod val="85000"/>
              </a:schemeClr>
            </a:solidFill>
            <a:prstDash val="lgDashDot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Connector: Elbow 732">
            <a:extLst>
              <a:ext uri="{FF2B5EF4-FFF2-40B4-BE49-F238E27FC236}">
                <a16:creationId xmlns:a16="http://schemas.microsoft.com/office/drawing/2014/main" id="{D728AB17-3BF0-6C10-32E7-A7EF532BF114}"/>
              </a:ext>
            </a:extLst>
          </p:cNvPr>
          <p:cNvCxnSpPr>
            <a:cxnSpLocks/>
            <a:stCxn id="852" idx="3"/>
            <a:endCxn id="12" idx="1"/>
          </p:cNvCxnSpPr>
          <p:nvPr/>
        </p:nvCxnSpPr>
        <p:spPr>
          <a:xfrm flipV="1">
            <a:off x="6123493" y="2885905"/>
            <a:ext cx="824094" cy="181889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4" name="Connector: Elbow 733">
            <a:extLst>
              <a:ext uri="{FF2B5EF4-FFF2-40B4-BE49-F238E27FC236}">
                <a16:creationId xmlns:a16="http://schemas.microsoft.com/office/drawing/2014/main" id="{153EA647-E83F-BC8D-6267-30C9C0EB7995}"/>
              </a:ext>
            </a:extLst>
          </p:cNvPr>
          <p:cNvCxnSpPr>
            <a:cxnSpLocks/>
            <a:stCxn id="798" idx="3"/>
            <a:endCxn id="12" idx="1"/>
          </p:cNvCxnSpPr>
          <p:nvPr/>
        </p:nvCxnSpPr>
        <p:spPr>
          <a:xfrm flipV="1">
            <a:off x="6123493" y="2885905"/>
            <a:ext cx="824094" cy="105765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Connector: Elbow 735">
            <a:extLst>
              <a:ext uri="{FF2B5EF4-FFF2-40B4-BE49-F238E27FC236}">
                <a16:creationId xmlns:a16="http://schemas.microsoft.com/office/drawing/2014/main" id="{F28C738E-603E-F832-5E51-20D642AC478D}"/>
              </a:ext>
            </a:extLst>
          </p:cNvPr>
          <p:cNvCxnSpPr>
            <a:cxnSpLocks/>
            <a:stCxn id="12" idx="2"/>
            <a:endCxn id="720" idx="1"/>
          </p:cNvCxnSpPr>
          <p:nvPr/>
        </p:nvCxnSpPr>
        <p:spPr>
          <a:xfrm rot="5400000">
            <a:off x="6789917" y="3282458"/>
            <a:ext cx="839562" cy="535163"/>
          </a:xfrm>
          <a:prstGeom prst="bentConnector4">
            <a:avLst>
              <a:gd name="adj1" fmla="val 20400"/>
              <a:gd name="adj2" fmla="val 142716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Connector: Elbow 736">
            <a:extLst>
              <a:ext uri="{FF2B5EF4-FFF2-40B4-BE49-F238E27FC236}">
                <a16:creationId xmlns:a16="http://schemas.microsoft.com/office/drawing/2014/main" id="{80221760-E0CF-449C-F68B-4F4B7EEDBE31}"/>
              </a:ext>
            </a:extLst>
          </p:cNvPr>
          <p:cNvCxnSpPr>
            <a:cxnSpLocks/>
            <a:stCxn id="12" idx="2"/>
            <a:endCxn id="718" idx="1"/>
          </p:cNvCxnSpPr>
          <p:nvPr/>
        </p:nvCxnSpPr>
        <p:spPr>
          <a:xfrm rot="5400000">
            <a:off x="6972201" y="3100174"/>
            <a:ext cx="474995" cy="535163"/>
          </a:xfrm>
          <a:prstGeom prst="bentConnector4">
            <a:avLst>
              <a:gd name="adj1" fmla="val 36451"/>
              <a:gd name="adj2" fmla="val 142716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9" name="Group 738">
            <a:extLst>
              <a:ext uri="{FF2B5EF4-FFF2-40B4-BE49-F238E27FC236}">
                <a16:creationId xmlns:a16="http://schemas.microsoft.com/office/drawing/2014/main" id="{554BC652-50DA-38F6-789D-BD634A904C8C}"/>
              </a:ext>
            </a:extLst>
          </p:cNvPr>
          <p:cNvGrpSpPr/>
          <p:nvPr/>
        </p:nvGrpSpPr>
        <p:grpSpPr>
          <a:xfrm>
            <a:off x="5156313" y="4557037"/>
            <a:ext cx="967180" cy="295527"/>
            <a:chOff x="3861285" y="3662368"/>
            <a:chExt cx="753063" cy="231081"/>
          </a:xfrm>
        </p:grpSpPr>
        <p:sp>
          <p:nvSpPr>
            <p:cNvPr id="852" name="Rectangle 851">
              <a:extLst>
                <a:ext uri="{FF2B5EF4-FFF2-40B4-BE49-F238E27FC236}">
                  <a16:creationId xmlns:a16="http://schemas.microsoft.com/office/drawing/2014/main" id="{2DB2CCD9-2AD0-E544-99F2-5DC709E7FBEF}"/>
                </a:ext>
              </a:extLst>
            </p:cNvPr>
            <p:cNvSpPr/>
            <p:nvPr/>
          </p:nvSpPr>
          <p:spPr>
            <a:xfrm>
              <a:off x="3861285" y="3662368"/>
              <a:ext cx="753063" cy="2310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bg1"/>
                  </a:solidFill>
                </a:rPr>
                <a:t>Matte</a:t>
              </a:r>
            </a:p>
          </p:txBody>
        </p:sp>
        <p:sp>
          <p:nvSpPr>
            <p:cNvPr id="853" name="Rectangle 852">
              <a:extLst>
                <a:ext uri="{FF2B5EF4-FFF2-40B4-BE49-F238E27FC236}">
                  <a16:creationId xmlns:a16="http://schemas.microsoft.com/office/drawing/2014/main" id="{9E23AF72-2167-519D-326D-BD917DBCE52A}"/>
                </a:ext>
              </a:extLst>
            </p:cNvPr>
            <p:cNvSpPr/>
            <p:nvPr/>
          </p:nvSpPr>
          <p:spPr>
            <a:xfrm>
              <a:off x="4491716" y="3770637"/>
              <a:ext cx="120656" cy="1143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740" name="Connector: Elbow 739">
            <a:extLst>
              <a:ext uri="{FF2B5EF4-FFF2-40B4-BE49-F238E27FC236}">
                <a16:creationId xmlns:a16="http://schemas.microsoft.com/office/drawing/2014/main" id="{97640388-2B04-B808-D13C-EAE034591C44}"/>
              </a:ext>
            </a:extLst>
          </p:cNvPr>
          <p:cNvCxnSpPr>
            <a:cxnSpLocks/>
            <a:stCxn id="852" idx="2"/>
            <a:endCxn id="5" idx="0"/>
          </p:cNvCxnSpPr>
          <p:nvPr/>
        </p:nvCxnSpPr>
        <p:spPr>
          <a:xfrm rot="16200000" flipH="1">
            <a:off x="5612023" y="4880444"/>
            <a:ext cx="315710" cy="25995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1" name="Connector: Elbow 740">
            <a:extLst>
              <a:ext uri="{FF2B5EF4-FFF2-40B4-BE49-F238E27FC236}">
                <a16:creationId xmlns:a16="http://schemas.microsoft.com/office/drawing/2014/main" id="{8F6EA69F-CFB1-BE79-2F23-AE4CEF4B4CE6}"/>
              </a:ext>
            </a:extLst>
          </p:cNvPr>
          <p:cNvCxnSpPr>
            <a:cxnSpLocks/>
            <a:stCxn id="738" idx="0"/>
            <a:endCxn id="721" idx="1"/>
          </p:cNvCxnSpPr>
          <p:nvPr/>
        </p:nvCxnSpPr>
        <p:spPr>
          <a:xfrm rot="16200000" flipV="1">
            <a:off x="7073137" y="4573779"/>
            <a:ext cx="463474" cy="725515"/>
          </a:xfrm>
          <a:prstGeom prst="bentConnector4">
            <a:avLst>
              <a:gd name="adj1" fmla="val 34059"/>
              <a:gd name="adj2" fmla="val 131509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Connector: Elbow 741">
            <a:extLst>
              <a:ext uri="{FF2B5EF4-FFF2-40B4-BE49-F238E27FC236}">
                <a16:creationId xmlns:a16="http://schemas.microsoft.com/office/drawing/2014/main" id="{3F8970E6-668B-FA27-C53B-D6BDF6CAD528}"/>
              </a:ext>
            </a:extLst>
          </p:cNvPr>
          <p:cNvCxnSpPr>
            <a:cxnSpLocks/>
            <a:stCxn id="738" idx="0"/>
            <a:endCxn id="776" idx="1"/>
          </p:cNvCxnSpPr>
          <p:nvPr/>
        </p:nvCxnSpPr>
        <p:spPr>
          <a:xfrm rot="16200000" flipV="1">
            <a:off x="6930494" y="4431136"/>
            <a:ext cx="748760" cy="725515"/>
          </a:xfrm>
          <a:prstGeom prst="bentConnector4">
            <a:avLst>
              <a:gd name="adj1" fmla="val 21009"/>
              <a:gd name="adj2" fmla="val 131509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Connector: Elbow 744">
            <a:extLst>
              <a:ext uri="{FF2B5EF4-FFF2-40B4-BE49-F238E27FC236}">
                <a16:creationId xmlns:a16="http://schemas.microsoft.com/office/drawing/2014/main" id="{EAA066D8-0C3F-D224-AA32-EDD49EEF42D1}"/>
              </a:ext>
            </a:extLst>
          </p:cNvPr>
          <p:cNvCxnSpPr>
            <a:cxnSpLocks/>
            <a:stCxn id="677" idx="2"/>
            <a:endCxn id="727" idx="1"/>
          </p:cNvCxnSpPr>
          <p:nvPr/>
        </p:nvCxnSpPr>
        <p:spPr>
          <a:xfrm rot="5400000" flipH="1">
            <a:off x="5106165" y="-474589"/>
            <a:ext cx="1635762" cy="10472925"/>
          </a:xfrm>
          <a:prstGeom prst="bentConnector4">
            <a:avLst>
              <a:gd name="adj1" fmla="val -13975"/>
              <a:gd name="adj2" fmla="val 102183"/>
            </a:avLst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6" name="Connector: Elbow 745">
            <a:extLst>
              <a:ext uri="{FF2B5EF4-FFF2-40B4-BE49-F238E27FC236}">
                <a16:creationId xmlns:a16="http://schemas.microsoft.com/office/drawing/2014/main" id="{45A78AC1-EE9E-435A-326E-AF5ED1DDB762}"/>
              </a:ext>
            </a:extLst>
          </p:cNvPr>
          <p:cNvCxnSpPr>
            <a:cxnSpLocks/>
            <a:stCxn id="22" idx="3"/>
            <a:endCxn id="14" idx="1"/>
          </p:cNvCxnSpPr>
          <p:nvPr/>
        </p:nvCxnSpPr>
        <p:spPr>
          <a:xfrm>
            <a:off x="10208040" y="3290443"/>
            <a:ext cx="314675" cy="113304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9" name="Connector: Elbow 748">
            <a:extLst>
              <a:ext uri="{FF2B5EF4-FFF2-40B4-BE49-F238E27FC236}">
                <a16:creationId xmlns:a16="http://schemas.microsoft.com/office/drawing/2014/main" id="{C0E18944-4B4A-2637-1C63-3185ECD63A47}"/>
              </a:ext>
            </a:extLst>
          </p:cNvPr>
          <p:cNvCxnSpPr>
            <a:cxnSpLocks/>
            <a:stCxn id="758" idx="3"/>
            <a:endCxn id="772" idx="1"/>
          </p:cNvCxnSpPr>
          <p:nvPr/>
        </p:nvCxnSpPr>
        <p:spPr>
          <a:xfrm flipV="1">
            <a:off x="8181924" y="3963380"/>
            <a:ext cx="661590" cy="825837"/>
          </a:xfrm>
          <a:prstGeom prst="bentConnector3">
            <a:avLst>
              <a:gd name="adj1" fmla="val 77355"/>
            </a:avLst>
          </a:prstGeom>
          <a:ln>
            <a:solidFill>
              <a:schemeClr val="bg1">
                <a:lumMod val="85000"/>
              </a:schemeClr>
            </a:solidFill>
            <a:prstDash val="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Connector: Elbow 751">
            <a:extLst>
              <a:ext uri="{FF2B5EF4-FFF2-40B4-BE49-F238E27FC236}">
                <a16:creationId xmlns:a16="http://schemas.microsoft.com/office/drawing/2014/main" id="{D23CA4BC-7476-4A73-1EEA-EFADD8D078DA}"/>
              </a:ext>
            </a:extLst>
          </p:cNvPr>
          <p:cNvCxnSpPr>
            <a:cxnSpLocks/>
            <a:stCxn id="718" idx="3"/>
            <a:endCxn id="764" idx="1"/>
          </p:cNvCxnSpPr>
          <p:nvPr/>
        </p:nvCxnSpPr>
        <p:spPr>
          <a:xfrm flipV="1">
            <a:off x="8181924" y="2018019"/>
            <a:ext cx="665130" cy="158723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4" name="Connector: Elbow 753">
            <a:extLst>
              <a:ext uri="{FF2B5EF4-FFF2-40B4-BE49-F238E27FC236}">
                <a16:creationId xmlns:a16="http://schemas.microsoft.com/office/drawing/2014/main" id="{41A31089-E9A1-EF2A-EC18-5F1C5F21274F}"/>
              </a:ext>
            </a:extLst>
          </p:cNvPr>
          <p:cNvCxnSpPr>
            <a:cxnSpLocks/>
            <a:stCxn id="720" idx="3"/>
            <a:endCxn id="764" idx="1"/>
          </p:cNvCxnSpPr>
          <p:nvPr/>
        </p:nvCxnSpPr>
        <p:spPr>
          <a:xfrm flipV="1">
            <a:off x="8181924" y="2018019"/>
            <a:ext cx="665130" cy="195180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Connector: Elbow 754">
            <a:extLst>
              <a:ext uri="{FF2B5EF4-FFF2-40B4-BE49-F238E27FC236}">
                <a16:creationId xmlns:a16="http://schemas.microsoft.com/office/drawing/2014/main" id="{2166C34C-4741-2462-10DD-7E60936708B1}"/>
              </a:ext>
            </a:extLst>
          </p:cNvPr>
          <p:cNvCxnSpPr>
            <a:cxnSpLocks/>
            <a:stCxn id="8" idx="3"/>
            <a:endCxn id="764" idx="1"/>
          </p:cNvCxnSpPr>
          <p:nvPr/>
        </p:nvCxnSpPr>
        <p:spPr>
          <a:xfrm flipV="1">
            <a:off x="8181924" y="2018019"/>
            <a:ext cx="665130" cy="230817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" name="Connector: Elbow 756">
            <a:extLst>
              <a:ext uri="{FF2B5EF4-FFF2-40B4-BE49-F238E27FC236}">
                <a16:creationId xmlns:a16="http://schemas.microsoft.com/office/drawing/2014/main" id="{8CEF458B-679F-13BA-590B-DF3FA8E41842}"/>
              </a:ext>
            </a:extLst>
          </p:cNvPr>
          <p:cNvCxnSpPr>
            <a:cxnSpLocks/>
            <a:stCxn id="721" idx="3"/>
            <a:endCxn id="22" idx="1"/>
          </p:cNvCxnSpPr>
          <p:nvPr/>
        </p:nvCxnSpPr>
        <p:spPr>
          <a:xfrm flipV="1">
            <a:off x="8181924" y="3290443"/>
            <a:ext cx="658429" cy="141435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3CB69FC-2D98-971A-68C7-E1DE23032F01}"/>
              </a:ext>
            </a:extLst>
          </p:cNvPr>
          <p:cNvGrpSpPr/>
          <p:nvPr/>
        </p:nvGrpSpPr>
        <p:grpSpPr>
          <a:xfrm>
            <a:off x="6942116" y="4557037"/>
            <a:ext cx="1239808" cy="295526"/>
            <a:chOff x="6878616" y="4798337"/>
            <a:chExt cx="1239808" cy="295526"/>
          </a:xfrm>
        </p:grpSpPr>
        <p:sp>
          <p:nvSpPr>
            <p:cNvPr id="721" name="Rectangle 720">
              <a:extLst>
                <a:ext uri="{FF2B5EF4-FFF2-40B4-BE49-F238E27FC236}">
                  <a16:creationId xmlns:a16="http://schemas.microsoft.com/office/drawing/2014/main" id="{F035C1FC-EBBA-3214-C949-6850CD5880BB}"/>
                </a:ext>
              </a:extLst>
            </p:cNvPr>
            <p:cNvSpPr/>
            <p:nvPr/>
          </p:nvSpPr>
          <p:spPr>
            <a:xfrm>
              <a:off x="6878616" y="4798337"/>
              <a:ext cx="1239808" cy="29552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bg1"/>
                  </a:solidFill>
                </a:rPr>
                <a:t>Pellets</a:t>
              </a:r>
            </a:p>
          </p:txBody>
        </p:sp>
        <p:sp>
          <p:nvSpPr>
            <p:cNvPr id="758" name="Rectangle 757">
              <a:extLst>
                <a:ext uri="{FF2B5EF4-FFF2-40B4-BE49-F238E27FC236}">
                  <a16:creationId xmlns:a16="http://schemas.microsoft.com/office/drawing/2014/main" id="{C2E7EC37-EFD8-6170-3930-71CD9638E183}"/>
                </a:ext>
              </a:extLst>
            </p:cNvPr>
            <p:cNvSpPr/>
            <p:nvPr/>
          </p:nvSpPr>
          <p:spPr>
            <a:xfrm>
              <a:off x="8026457" y="4967171"/>
              <a:ext cx="91967" cy="1266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760" name="Rectangle 759">
            <a:extLst>
              <a:ext uri="{FF2B5EF4-FFF2-40B4-BE49-F238E27FC236}">
                <a16:creationId xmlns:a16="http://schemas.microsoft.com/office/drawing/2014/main" id="{F4C13222-FF09-4E7C-444B-41450C21914F}"/>
              </a:ext>
            </a:extLst>
          </p:cNvPr>
          <p:cNvSpPr/>
          <p:nvPr/>
        </p:nvSpPr>
        <p:spPr>
          <a:xfrm>
            <a:off x="8089957" y="4341959"/>
            <a:ext cx="91967" cy="1266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chemeClr val="accent2"/>
              </a:solidFill>
            </a:endParaRPr>
          </a:p>
        </p:txBody>
      </p:sp>
      <p:sp>
        <p:nvSpPr>
          <p:cNvPr id="761" name="Rectangle 760">
            <a:extLst>
              <a:ext uri="{FF2B5EF4-FFF2-40B4-BE49-F238E27FC236}">
                <a16:creationId xmlns:a16="http://schemas.microsoft.com/office/drawing/2014/main" id="{FF58F497-0D39-4F7D-210B-DE890A7C73C0}"/>
              </a:ext>
            </a:extLst>
          </p:cNvPr>
          <p:cNvSpPr/>
          <p:nvPr/>
        </p:nvSpPr>
        <p:spPr>
          <a:xfrm>
            <a:off x="8838775" y="4361997"/>
            <a:ext cx="1369265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</a:rPr>
              <a:t>BG sulphate</a:t>
            </a:r>
          </a:p>
        </p:txBody>
      </p:sp>
      <p:cxnSp>
        <p:nvCxnSpPr>
          <p:cNvPr id="763" name="Connector: Elbow 762">
            <a:extLst>
              <a:ext uri="{FF2B5EF4-FFF2-40B4-BE49-F238E27FC236}">
                <a16:creationId xmlns:a16="http://schemas.microsoft.com/office/drawing/2014/main" id="{F7D23C87-9ABD-E861-3D21-30CEF0C68A83}"/>
              </a:ext>
            </a:extLst>
          </p:cNvPr>
          <p:cNvCxnSpPr>
            <a:cxnSpLocks/>
            <a:stCxn id="12" idx="2"/>
            <a:endCxn id="8" idx="1"/>
          </p:cNvCxnSpPr>
          <p:nvPr/>
        </p:nvCxnSpPr>
        <p:spPr>
          <a:xfrm rot="5400000">
            <a:off x="6611730" y="3460645"/>
            <a:ext cx="1195937" cy="535163"/>
          </a:xfrm>
          <a:prstGeom prst="bentConnector4">
            <a:avLst>
              <a:gd name="adj1" fmla="val 14310"/>
              <a:gd name="adj2" fmla="val 142716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F80E484-1FCF-DDE3-945B-2D5533F91556}"/>
              </a:ext>
            </a:extLst>
          </p:cNvPr>
          <p:cNvGrpSpPr/>
          <p:nvPr/>
        </p:nvGrpSpPr>
        <p:grpSpPr>
          <a:xfrm>
            <a:off x="8834735" y="1670249"/>
            <a:ext cx="1373305" cy="548640"/>
            <a:chOff x="8771235" y="1854399"/>
            <a:chExt cx="1373305" cy="548640"/>
          </a:xfrm>
        </p:grpSpPr>
        <p:sp>
          <p:nvSpPr>
            <p:cNvPr id="764" name="Rectangle 763">
              <a:extLst>
                <a:ext uri="{FF2B5EF4-FFF2-40B4-BE49-F238E27FC236}">
                  <a16:creationId xmlns:a16="http://schemas.microsoft.com/office/drawing/2014/main" id="{8D267DD2-454A-E266-6633-ABE66A86092F}"/>
                </a:ext>
              </a:extLst>
            </p:cNvPr>
            <p:cNvSpPr/>
            <p:nvPr/>
          </p:nvSpPr>
          <p:spPr>
            <a:xfrm>
              <a:off x="8783554" y="2093025"/>
              <a:ext cx="609983" cy="21828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766" name="Rectangle 765">
              <a:extLst>
                <a:ext uri="{FF2B5EF4-FFF2-40B4-BE49-F238E27FC236}">
                  <a16:creationId xmlns:a16="http://schemas.microsoft.com/office/drawing/2014/main" id="{67F177D4-A943-6928-C54A-BE9ED9568ED5}"/>
                </a:ext>
              </a:extLst>
            </p:cNvPr>
            <p:cNvSpPr/>
            <p:nvPr/>
          </p:nvSpPr>
          <p:spPr>
            <a:xfrm>
              <a:off x="8771235" y="1854399"/>
              <a:ext cx="1373305" cy="54864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solidFill>
                    <a:schemeClr val="accent2"/>
                  </a:solidFill>
                </a:rPr>
                <a:t>Stainless steel</a:t>
              </a:r>
              <a:endParaRPr lang="en-CA" sz="90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964AC9B-2E6E-5BE0-D9ED-84BFA493B7E1}"/>
              </a:ext>
            </a:extLst>
          </p:cNvPr>
          <p:cNvGrpSpPr/>
          <p:nvPr/>
        </p:nvGrpSpPr>
        <p:grpSpPr>
          <a:xfrm>
            <a:off x="6942116" y="3822057"/>
            <a:ext cx="1239808" cy="295526"/>
            <a:chOff x="6878616" y="4063357"/>
            <a:chExt cx="1239808" cy="295526"/>
          </a:xfrm>
        </p:grpSpPr>
        <p:sp>
          <p:nvSpPr>
            <p:cNvPr id="720" name="Rectangle 719">
              <a:extLst>
                <a:ext uri="{FF2B5EF4-FFF2-40B4-BE49-F238E27FC236}">
                  <a16:creationId xmlns:a16="http://schemas.microsoft.com/office/drawing/2014/main" id="{2772E301-DA81-E056-EEBD-9C942DE99551}"/>
                </a:ext>
              </a:extLst>
            </p:cNvPr>
            <p:cNvSpPr/>
            <p:nvPr/>
          </p:nvSpPr>
          <p:spPr>
            <a:xfrm>
              <a:off x="6878616" y="4063357"/>
              <a:ext cx="1239808" cy="29552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bg1"/>
                  </a:solidFill>
                </a:rPr>
                <a:t>Cathodes</a:t>
              </a:r>
            </a:p>
          </p:txBody>
        </p:sp>
        <p:sp>
          <p:nvSpPr>
            <p:cNvPr id="767" name="Rectangle 766">
              <a:extLst>
                <a:ext uri="{FF2B5EF4-FFF2-40B4-BE49-F238E27FC236}">
                  <a16:creationId xmlns:a16="http://schemas.microsoft.com/office/drawing/2014/main" id="{CEF5537C-FE4B-861E-39EC-08B8C5CBF709}"/>
                </a:ext>
              </a:extLst>
            </p:cNvPr>
            <p:cNvSpPr/>
            <p:nvPr/>
          </p:nvSpPr>
          <p:spPr>
            <a:xfrm>
              <a:off x="8026457" y="4232191"/>
              <a:ext cx="91967" cy="1266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773" name="Connector: Elbow 772">
            <a:extLst>
              <a:ext uri="{FF2B5EF4-FFF2-40B4-BE49-F238E27FC236}">
                <a16:creationId xmlns:a16="http://schemas.microsoft.com/office/drawing/2014/main" id="{80A440F5-E499-5415-8C69-AAC8059AD97F}"/>
              </a:ext>
            </a:extLst>
          </p:cNvPr>
          <p:cNvCxnSpPr>
            <a:cxnSpLocks/>
            <a:stCxn id="772" idx="2"/>
            <a:endCxn id="761" idx="0"/>
          </p:cNvCxnSpPr>
          <p:nvPr/>
        </p:nvCxnSpPr>
        <p:spPr>
          <a:xfrm rot="5400000">
            <a:off x="9439585" y="4275804"/>
            <a:ext cx="170017" cy="236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3" name="Group 1022">
            <a:extLst>
              <a:ext uri="{FF2B5EF4-FFF2-40B4-BE49-F238E27FC236}">
                <a16:creationId xmlns:a16="http://schemas.microsoft.com/office/drawing/2014/main" id="{D1969EF3-CF4F-7138-5DF8-CAF639B95466}"/>
              </a:ext>
            </a:extLst>
          </p:cNvPr>
          <p:cNvGrpSpPr/>
          <p:nvPr/>
        </p:nvGrpSpPr>
        <p:grpSpPr>
          <a:xfrm>
            <a:off x="6942116" y="4183739"/>
            <a:ext cx="1239808" cy="284912"/>
            <a:chOff x="6878616" y="4425039"/>
            <a:chExt cx="1239808" cy="28491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2BB4179-176E-9FBD-2FF0-917A408DCCE8}"/>
                </a:ext>
              </a:extLst>
            </p:cNvPr>
            <p:cNvSpPr/>
            <p:nvPr/>
          </p:nvSpPr>
          <p:spPr>
            <a:xfrm>
              <a:off x="6878616" y="4425039"/>
              <a:ext cx="1239808" cy="28491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bg1"/>
                  </a:solidFill>
                </a:rPr>
                <a:t>Powder/</a:t>
              </a:r>
              <a:r>
                <a:rPr lang="en-CA" sz="900" dirty="0" err="1">
                  <a:solidFill>
                    <a:schemeClr val="bg1"/>
                  </a:solidFill>
                </a:rPr>
                <a:t>briq</a:t>
              </a:r>
              <a:r>
                <a:rPr lang="en-CA" sz="900" dirty="0">
                  <a:solidFill>
                    <a:schemeClr val="bg1"/>
                  </a:solidFill>
                </a:rPr>
                <a:t>.</a:t>
              </a:r>
            </a:p>
          </p:txBody>
        </p:sp>
        <p:sp>
          <p:nvSpPr>
            <p:cNvPr id="776" name="Rectangle 775">
              <a:extLst>
                <a:ext uri="{FF2B5EF4-FFF2-40B4-BE49-F238E27FC236}">
                  <a16:creationId xmlns:a16="http://schemas.microsoft.com/office/drawing/2014/main" id="{7DAB0946-8F9F-EEBC-7E30-94EEDBF7FE05}"/>
                </a:ext>
              </a:extLst>
            </p:cNvPr>
            <p:cNvSpPr/>
            <p:nvPr/>
          </p:nvSpPr>
          <p:spPr>
            <a:xfrm>
              <a:off x="6878616" y="4611676"/>
              <a:ext cx="74181" cy="98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778" name="Rectangle 777">
            <a:extLst>
              <a:ext uri="{FF2B5EF4-FFF2-40B4-BE49-F238E27FC236}">
                <a16:creationId xmlns:a16="http://schemas.microsoft.com/office/drawing/2014/main" id="{7F844B77-E3F2-90F0-37BC-CC734E7CF3D4}"/>
              </a:ext>
            </a:extLst>
          </p:cNvPr>
          <p:cNvSpPr/>
          <p:nvPr/>
        </p:nvSpPr>
        <p:spPr>
          <a:xfrm>
            <a:off x="697715" y="2670062"/>
            <a:ext cx="911005" cy="6583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</a:rPr>
              <a:t>Crude Ni sulphate (PGM ref.)</a:t>
            </a:r>
          </a:p>
        </p:txBody>
      </p:sp>
      <p:grpSp>
        <p:nvGrpSpPr>
          <p:cNvPr id="976" name="Group 975">
            <a:extLst>
              <a:ext uri="{FF2B5EF4-FFF2-40B4-BE49-F238E27FC236}">
                <a16:creationId xmlns:a16="http://schemas.microsoft.com/office/drawing/2014/main" id="{587CC490-FE1D-FACB-F146-4A56CDA7FF5F}"/>
              </a:ext>
            </a:extLst>
          </p:cNvPr>
          <p:cNvGrpSpPr/>
          <p:nvPr/>
        </p:nvGrpSpPr>
        <p:grpSpPr>
          <a:xfrm>
            <a:off x="3335193" y="2434712"/>
            <a:ext cx="911534" cy="411515"/>
            <a:chOff x="3200700" y="2676012"/>
            <a:chExt cx="919176" cy="411515"/>
          </a:xfrm>
        </p:grpSpPr>
        <p:sp>
          <p:nvSpPr>
            <p:cNvPr id="781" name="Rectangle 780">
              <a:extLst>
                <a:ext uri="{FF2B5EF4-FFF2-40B4-BE49-F238E27FC236}">
                  <a16:creationId xmlns:a16="http://schemas.microsoft.com/office/drawing/2014/main" id="{0C630E74-EE1F-A415-3E42-2218BA70D803}"/>
                </a:ext>
              </a:extLst>
            </p:cNvPr>
            <p:cNvSpPr/>
            <p:nvPr/>
          </p:nvSpPr>
          <p:spPr>
            <a:xfrm>
              <a:off x="4016520" y="2725262"/>
              <a:ext cx="102136" cy="5846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782" name="Rectangle 781">
              <a:extLst>
                <a:ext uri="{FF2B5EF4-FFF2-40B4-BE49-F238E27FC236}">
                  <a16:creationId xmlns:a16="http://schemas.microsoft.com/office/drawing/2014/main" id="{EEF1C89E-8083-83C3-E85A-4100F20FB4B3}"/>
                </a:ext>
              </a:extLst>
            </p:cNvPr>
            <p:cNvSpPr/>
            <p:nvPr/>
          </p:nvSpPr>
          <p:spPr>
            <a:xfrm>
              <a:off x="3200700" y="2676012"/>
              <a:ext cx="919176" cy="41151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2">
                  <a:lumMod val="75000"/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accent2"/>
                  </a:solidFill>
                </a:rPr>
                <a:t>HPAL</a:t>
              </a:r>
            </a:p>
          </p:txBody>
        </p:sp>
      </p:grpSp>
      <p:sp>
        <p:nvSpPr>
          <p:cNvPr id="784" name="Rectangle 783">
            <a:extLst>
              <a:ext uri="{FF2B5EF4-FFF2-40B4-BE49-F238E27FC236}">
                <a16:creationId xmlns:a16="http://schemas.microsoft.com/office/drawing/2014/main" id="{DD7DEE4A-498A-8E40-3792-E4FFD417873B}"/>
              </a:ext>
            </a:extLst>
          </p:cNvPr>
          <p:cNvSpPr/>
          <p:nvPr/>
        </p:nvSpPr>
        <p:spPr>
          <a:xfrm>
            <a:off x="1850061" y="4176405"/>
            <a:ext cx="1090976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</a:rPr>
              <a:t>Concentrates</a:t>
            </a:r>
          </a:p>
        </p:txBody>
      </p:sp>
      <p:sp>
        <p:nvSpPr>
          <p:cNvPr id="724" name="Rectangle 723">
            <a:extLst>
              <a:ext uri="{FF2B5EF4-FFF2-40B4-BE49-F238E27FC236}">
                <a16:creationId xmlns:a16="http://schemas.microsoft.com/office/drawing/2014/main" id="{C1C23767-EE47-0328-FDA5-CAEB6222E318}"/>
              </a:ext>
            </a:extLst>
          </p:cNvPr>
          <p:cNvSpPr/>
          <p:nvPr/>
        </p:nvSpPr>
        <p:spPr>
          <a:xfrm>
            <a:off x="3348182" y="3738252"/>
            <a:ext cx="915682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Pyro </a:t>
            </a:r>
            <a:br>
              <a:rPr lang="en-CA" sz="900" dirty="0">
                <a:solidFill>
                  <a:schemeClr val="accent2"/>
                </a:solidFill>
              </a:rPr>
            </a:br>
            <a:r>
              <a:rPr lang="en-CA" sz="900" dirty="0">
                <a:solidFill>
                  <a:schemeClr val="accent2"/>
                </a:solidFill>
              </a:rPr>
              <a:t>process</a:t>
            </a:r>
          </a:p>
        </p:txBody>
      </p:sp>
      <p:sp>
        <p:nvSpPr>
          <p:cNvPr id="772" name="Rectangle 771">
            <a:extLst>
              <a:ext uri="{FF2B5EF4-FFF2-40B4-BE49-F238E27FC236}">
                <a16:creationId xmlns:a16="http://schemas.microsoft.com/office/drawing/2014/main" id="{A711FC40-1FAF-AF32-6023-9F753EAC4D14}"/>
              </a:ext>
            </a:extLst>
          </p:cNvPr>
          <p:cNvSpPr/>
          <p:nvPr/>
        </p:nvSpPr>
        <p:spPr>
          <a:xfrm>
            <a:off x="8843514" y="3734780"/>
            <a:ext cx="1364526" cy="457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Dissolution</a:t>
            </a:r>
          </a:p>
        </p:txBody>
      </p:sp>
      <p:sp>
        <p:nvSpPr>
          <p:cNvPr id="798" name="Rectangle 797">
            <a:extLst>
              <a:ext uri="{FF2B5EF4-FFF2-40B4-BE49-F238E27FC236}">
                <a16:creationId xmlns:a16="http://schemas.microsoft.com/office/drawing/2014/main" id="{F00C4B61-F717-A110-8318-1EF34B94F84F}"/>
              </a:ext>
            </a:extLst>
          </p:cNvPr>
          <p:cNvSpPr/>
          <p:nvPr/>
        </p:nvSpPr>
        <p:spPr>
          <a:xfrm>
            <a:off x="5156313" y="3795797"/>
            <a:ext cx="967180" cy="295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</a:rPr>
              <a:t>Alloy</a:t>
            </a:r>
          </a:p>
        </p:txBody>
      </p:sp>
      <p:sp>
        <p:nvSpPr>
          <p:cNvPr id="709" name="Rectangle 708">
            <a:extLst>
              <a:ext uri="{FF2B5EF4-FFF2-40B4-BE49-F238E27FC236}">
                <a16:creationId xmlns:a16="http://schemas.microsoft.com/office/drawing/2014/main" id="{CC9306CA-4A56-C161-AB46-9A2E129D7484}"/>
              </a:ext>
            </a:extLst>
          </p:cNvPr>
          <p:cNvSpPr/>
          <p:nvPr/>
        </p:nvSpPr>
        <p:spPr>
          <a:xfrm>
            <a:off x="3348182" y="4447649"/>
            <a:ext cx="915682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Pressure oxidation</a:t>
            </a:r>
          </a:p>
        </p:txBody>
      </p:sp>
      <p:sp>
        <p:nvSpPr>
          <p:cNvPr id="714" name="Rectangle 713">
            <a:extLst>
              <a:ext uri="{FF2B5EF4-FFF2-40B4-BE49-F238E27FC236}">
                <a16:creationId xmlns:a16="http://schemas.microsoft.com/office/drawing/2014/main" id="{E69F804D-AC77-E90E-59C1-367B70B2D604}"/>
              </a:ext>
            </a:extLst>
          </p:cNvPr>
          <p:cNvSpPr/>
          <p:nvPr/>
        </p:nvSpPr>
        <p:spPr>
          <a:xfrm>
            <a:off x="3348182" y="5168274"/>
            <a:ext cx="915682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Roaster</a:t>
            </a:r>
          </a:p>
        </p:txBody>
      </p:sp>
      <p:sp>
        <p:nvSpPr>
          <p:cNvPr id="717" name="Rectangle 716">
            <a:extLst>
              <a:ext uri="{FF2B5EF4-FFF2-40B4-BE49-F238E27FC236}">
                <a16:creationId xmlns:a16="http://schemas.microsoft.com/office/drawing/2014/main" id="{DFA9D422-D6BD-0EAB-A7FD-201582F61A3D}"/>
              </a:ext>
            </a:extLst>
          </p:cNvPr>
          <p:cNvSpPr/>
          <p:nvPr/>
        </p:nvSpPr>
        <p:spPr>
          <a:xfrm>
            <a:off x="4394959" y="5168274"/>
            <a:ext cx="915866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Smelter</a:t>
            </a:r>
          </a:p>
        </p:txBody>
      </p:sp>
      <p:cxnSp>
        <p:nvCxnSpPr>
          <p:cNvPr id="893" name="Straight Arrow Connector 892">
            <a:extLst>
              <a:ext uri="{FF2B5EF4-FFF2-40B4-BE49-F238E27FC236}">
                <a16:creationId xmlns:a16="http://schemas.microsoft.com/office/drawing/2014/main" id="{991FF7DB-4E79-92D1-B16A-F4E8656F5F2F}"/>
              </a:ext>
            </a:extLst>
          </p:cNvPr>
          <p:cNvCxnSpPr>
            <a:stCxn id="705" idx="3"/>
            <a:endCxn id="706" idx="1"/>
          </p:cNvCxnSpPr>
          <p:nvPr/>
        </p:nvCxnSpPr>
        <p:spPr>
          <a:xfrm>
            <a:off x="1613581" y="5113171"/>
            <a:ext cx="236480" cy="0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4" name="Straight Arrow Connector 993">
            <a:extLst>
              <a:ext uri="{FF2B5EF4-FFF2-40B4-BE49-F238E27FC236}">
                <a16:creationId xmlns:a16="http://schemas.microsoft.com/office/drawing/2014/main" id="{216C0C62-93BA-D21F-4E72-5E1D2180A866}"/>
              </a:ext>
            </a:extLst>
          </p:cNvPr>
          <p:cNvCxnSpPr>
            <a:stCxn id="727" idx="3"/>
            <a:endCxn id="724" idx="1"/>
          </p:cNvCxnSpPr>
          <p:nvPr/>
        </p:nvCxnSpPr>
        <p:spPr>
          <a:xfrm>
            <a:off x="1603449" y="3943992"/>
            <a:ext cx="1744733" cy="0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4" name="Straight Arrow Connector 1023">
            <a:extLst>
              <a:ext uri="{FF2B5EF4-FFF2-40B4-BE49-F238E27FC236}">
                <a16:creationId xmlns:a16="http://schemas.microsoft.com/office/drawing/2014/main" id="{A78F86B3-FA0D-6A8E-2F9D-070302BCD7DE}"/>
              </a:ext>
            </a:extLst>
          </p:cNvPr>
          <p:cNvCxnSpPr>
            <a:stCxn id="714" idx="3"/>
            <a:endCxn id="717" idx="1"/>
          </p:cNvCxnSpPr>
          <p:nvPr/>
        </p:nvCxnSpPr>
        <p:spPr>
          <a:xfrm>
            <a:off x="4263864" y="5374014"/>
            <a:ext cx="131095" cy="0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Arrow Connector 1032">
            <a:extLst>
              <a:ext uri="{FF2B5EF4-FFF2-40B4-BE49-F238E27FC236}">
                <a16:creationId xmlns:a16="http://schemas.microsoft.com/office/drawing/2014/main" id="{B2AF7B67-6A35-EE2B-D866-DC26153B9AD2}"/>
              </a:ext>
            </a:extLst>
          </p:cNvPr>
          <p:cNvCxnSpPr>
            <a:cxnSpLocks/>
            <a:stCxn id="761" idx="2"/>
            <a:endCxn id="11" idx="0"/>
          </p:cNvCxnSpPr>
          <p:nvPr/>
        </p:nvCxnSpPr>
        <p:spPr>
          <a:xfrm>
            <a:off x="9523408" y="4819197"/>
            <a:ext cx="0" cy="170017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DE1CD850-7AE8-5261-9C51-2B73A83E5917}"/>
              </a:ext>
            </a:extLst>
          </p:cNvPr>
          <p:cNvSpPr/>
          <p:nvPr/>
        </p:nvSpPr>
        <p:spPr>
          <a:xfrm>
            <a:off x="5441920" y="5168274"/>
            <a:ext cx="915866" cy="4114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Roast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908754-1B76-ED41-58C0-5EA61EFDF9FB}"/>
              </a:ext>
            </a:extLst>
          </p:cNvPr>
          <p:cNvSpPr/>
          <p:nvPr/>
        </p:nvSpPr>
        <p:spPr>
          <a:xfrm>
            <a:off x="6488881" y="5226251"/>
            <a:ext cx="589724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 err="1">
                <a:solidFill>
                  <a:schemeClr val="bg1"/>
                </a:solidFill>
              </a:rPr>
              <a:t>NiO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5CB4EF7-AEC8-5CF4-394F-407B956CAEE7}"/>
              </a:ext>
            </a:extLst>
          </p:cNvPr>
          <p:cNvSpPr/>
          <p:nvPr/>
        </p:nvSpPr>
        <p:spPr>
          <a:xfrm>
            <a:off x="8838775" y="2388906"/>
            <a:ext cx="1369265" cy="45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SCRAP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DEC32553-8183-2F22-4DE9-5D3C1996353B}"/>
              </a:ext>
            </a:extLst>
          </p:cNvPr>
          <p:cNvCxnSpPr>
            <a:stCxn id="717" idx="3"/>
            <a:endCxn id="5" idx="1"/>
          </p:cNvCxnSpPr>
          <p:nvPr/>
        </p:nvCxnSpPr>
        <p:spPr>
          <a:xfrm>
            <a:off x="5310825" y="5374014"/>
            <a:ext cx="131095" cy="0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ABFB768B-62AB-F1A5-F90F-1515E2A0AA67}"/>
              </a:ext>
            </a:extLst>
          </p:cNvPr>
          <p:cNvCxnSpPr>
            <a:stCxn id="5" idx="3"/>
            <a:endCxn id="6" idx="1"/>
          </p:cNvCxnSpPr>
          <p:nvPr/>
        </p:nvCxnSpPr>
        <p:spPr>
          <a:xfrm>
            <a:off x="6357786" y="5374014"/>
            <a:ext cx="131095" cy="0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0" name="Straight Arrow Connector 959">
            <a:extLst>
              <a:ext uri="{FF2B5EF4-FFF2-40B4-BE49-F238E27FC236}">
                <a16:creationId xmlns:a16="http://schemas.microsoft.com/office/drawing/2014/main" id="{B37FAE8F-DD02-61EF-9944-52EED6985944}"/>
              </a:ext>
            </a:extLst>
          </p:cNvPr>
          <p:cNvCxnSpPr>
            <a:stCxn id="6" idx="3"/>
            <a:endCxn id="738" idx="1"/>
          </p:cNvCxnSpPr>
          <p:nvPr/>
        </p:nvCxnSpPr>
        <p:spPr>
          <a:xfrm>
            <a:off x="7078605" y="5374014"/>
            <a:ext cx="131093" cy="0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1" name="Connector: Elbow 960">
            <a:extLst>
              <a:ext uri="{FF2B5EF4-FFF2-40B4-BE49-F238E27FC236}">
                <a16:creationId xmlns:a16="http://schemas.microsoft.com/office/drawing/2014/main" id="{B8A01805-473E-875A-A1EF-AC6BE02B8AD0}"/>
              </a:ext>
            </a:extLst>
          </p:cNvPr>
          <p:cNvCxnSpPr>
            <a:cxnSpLocks/>
            <a:stCxn id="965" idx="3"/>
            <a:endCxn id="978" idx="1"/>
          </p:cNvCxnSpPr>
          <p:nvPr/>
        </p:nvCxnSpPr>
        <p:spPr>
          <a:xfrm flipV="1">
            <a:off x="1603449" y="3084538"/>
            <a:ext cx="5344138" cy="575990"/>
          </a:xfrm>
          <a:prstGeom prst="bentConnector3">
            <a:avLst>
              <a:gd name="adj1" fmla="val 94083"/>
            </a:avLst>
          </a:prstGeom>
          <a:ln>
            <a:solidFill>
              <a:schemeClr val="bg1">
                <a:lumMod val="85000"/>
              </a:schemeClr>
            </a:solidFill>
            <a:prstDash val="lgDashDot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7" name="Rectangle 726">
            <a:extLst>
              <a:ext uri="{FF2B5EF4-FFF2-40B4-BE49-F238E27FC236}">
                <a16:creationId xmlns:a16="http://schemas.microsoft.com/office/drawing/2014/main" id="{393BD503-2452-6DD1-A81A-3F06295230CF}"/>
              </a:ext>
            </a:extLst>
          </p:cNvPr>
          <p:cNvSpPr/>
          <p:nvPr/>
        </p:nvSpPr>
        <p:spPr>
          <a:xfrm>
            <a:off x="687583" y="3614808"/>
            <a:ext cx="915866" cy="65836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Batteries &amp;</a:t>
            </a:r>
            <a:br>
              <a:rPr lang="en-US" sz="900" dirty="0">
                <a:solidFill>
                  <a:schemeClr val="accent2"/>
                </a:solidFill>
              </a:rPr>
            </a:br>
            <a:r>
              <a:rPr lang="en-US" sz="900" dirty="0">
                <a:solidFill>
                  <a:schemeClr val="accent2"/>
                </a:solidFill>
              </a:rPr>
              <a:t> Black mass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965" name="Rectangle 964">
            <a:extLst>
              <a:ext uri="{FF2B5EF4-FFF2-40B4-BE49-F238E27FC236}">
                <a16:creationId xmlns:a16="http://schemas.microsoft.com/office/drawing/2014/main" id="{6DC283E1-9D5D-AA53-1E2F-48EC5052EC9A}"/>
              </a:ext>
            </a:extLst>
          </p:cNvPr>
          <p:cNvSpPr/>
          <p:nvPr/>
        </p:nvSpPr>
        <p:spPr>
          <a:xfrm>
            <a:off x="1512009" y="3614808"/>
            <a:ext cx="91440" cy="914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 err="1">
              <a:solidFill>
                <a:schemeClr val="accent2"/>
              </a:solidFill>
            </a:endParaRPr>
          </a:p>
        </p:txBody>
      </p:sp>
      <p:sp>
        <p:nvSpPr>
          <p:cNvPr id="978" name="Rectangle 977">
            <a:extLst>
              <a:ext uri="{FF2B5EF4-FFF2-40B4-BE49-F238E27FC236}">
                <a16:creationId xmlns:a16="http://schemas.microsoft.com/office/drawing/2014/main" id="{425F5E84-960A-90A3-11B5-5981B339CA0E}"/>
              </a:ext>
            </a:extLst>
          </p:cNvPr>
          <p:cNvSpPr/>
          <p:nvPr/>
        </p:nvSpPr>
        <p:spPr>
          <a:xfrm>
            <a:off x="6947587" y="3038818"/>
            <a:ext cx="91440" cy="914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 err="1">
              <a:solidFill>
                <a:schemeClr val="accent2"/>
              </a:solidFill>
            </a:endParaRPr>
          </a:p>
        </p:txBody>
      </p:sp>
      <p:cxnSp>
        <p:nvCxnSpPr>
          <p:cNvPr id="990" name="Connector: Elbow 989">
            <a:extLst>
              <a:ext uri="{FF2B5EF4-FFF2-40B4-BE49-F238E27FC236}">
                <a16:creationId xmlns:a16="http://schemas.microsoft.com/office/drawing/2014/main" id="{9775C0F8-154B-5AF4-9665-199978250D14}"/>
              </a:ext>
            </a:extLst>
          </p:cNvPr>
          <p:cNvCxnSpPr>
            <a:cxnSpLocks/>
            <a:stCxn id="12" idx="3"/>
            <a:endCxn id="761" idx="1"/>
          </p:cNvCxnSpPr>
          <p:nvPr/>
        </p:nvCxnSpPr>
        <p:spPr>
          <a:xfrm>
            <a:off x="8006971" y="2885905"/>
            <a:ext cx="831804" cy="1704692"/>
          </a:xfrm>
          <a:prstGeom prst="bentConnector3">
            <a:avLst>
              <a:gd name="adj1" fmla="val 70612"/>
            </a:avLst>
          </a:prstGeom>
          <a:ln>
            <a:solidFill>
              <a:schemeClr val="bg1">
                <a:lumMod val="85000"/>
              </a:schemeClr>
            </a:solidFill>
            <a:prstDash val="dash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9" name="Straight Arrow Connector 1008">
            <a:extLst>
              <a:ext uri="{FF2B5EF4-FFF2-40B4-BE49-F238E27FC236}">
                <a16:creationId xmlns:a16="http://schemas.microsoft.com/office/drawing/2014/main" id="{1B1F1BF2-528C-0CCF-E4AE-A4D1C2ED25C4}"/>
              </a:ext>
            </a:extLst>
          </p:cNvPr>
          <p:cNvCxnSpPr>
            <a:cxnSpLocks/>
            <a:stCxn id="767" idx="3"/>
            <a:endCxn id="769" idx="1"/>
          </p:cNvCxnSpPr>
          <p:nvPr/>
        </p:nvCxnSpPr>
        <p:spPr>
          <a:xfrm flipV="1">
            <a:off x="8181924" y="4050586"/>
            <a:ext cx="670039" cy="3651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9" name="Rectangle 768">
            <a:extLst>
              <a:ext uri="{FF2B5EF4-FFF2-40B4-BE49-F238E27FC236}">
                <a16:creationId xmlns:a16="http://schemas.microsoft.com/office/drawing/2014/main" id="{8215B78F-C3FC-521F-C5E1-BC88EEB7FF70}"/>
              </a:ext>
            </a:extLst>
          </p:cNvPr>
          <p:cNvSpPr/>
          <p:nvPr/>
        </p:nvSpPr>
        <p:spPr>
          <a:xfrm>
            <a:off x="8851963" y="4004866"/>
            <a:ext cx="91967" cy="914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chemeClr val="accent2"/>
              </a:solidFill>
            </a:endParaRP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BE26EC5E-1ABB-A589-2A97-FC41E68E7AF3}"/>
              </a:ext>
            </a:extLst>
          </p:cNvPr>
          <p:cNvCxnSpPr>
            <a:stCxn id="40" idx="0"/>
            <a:endCxn id="766" idx="2"/>
          </p:cNvCxnSpPr>
          <p:nvPr/>
        </p:nvCxnSpPr>
        <p:spPr>
          <a:xfrm rot="16200000" flipV="1">
            <a:off x="9437390" y="2302888"/>
            <a:ext cx="170017" cy="2020"/>
          </a:xfrm>
          <a:prstGeom prst="bentConnector3">
            <a:avLst/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BD15E1B6-015D-08D6-7B81-75019BF0B785}"/>
              </a:ext>
            </a:extLst>
          </p:cNvPr>
          <p:cNvCxnSpPr>
            <a:stCxn id="761" idx="3"/>
            <a:endCxn id="766" idx="3"/>
          </p:cNvCxnSpPr>
          <p:nvPr/>
        </p:nvCxnSpPr>
        <p:spPr>
          <a:xfrm flipV="1">
            <a:off x="10208040" y="1944569"/>
            <a:ext cx="12700" cy="2646028"/>
          </a:xfrm>
          <a:prstGeom prst="bentConnector3">
            <a:avLst>
              <a:gd name="adj1" fmla="val 1212394"/>
            </a:avLst>
          </a:prstGeom>
          <a:ln w="6350">
            <a:solidFill>
              <a:schemeClr val="bg1">
                <a:lumMod val="85000"/>
              </a:schemeClr>
            </a:solidFill>
            <a:head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2" name="Group 991">
            <a:extLst>
              <a:ext uri="{FF2B5EF4-FFF2-40B4-BE49-F238E27FC236}">
                <a16:creationId xmlns:a16="http://schemas.microsoft.com/office/drawing/2014/main" id="{7529A498-94C7-5154-6690-67361A6B198D}"/>
              </a:ext>
            </a:extLst>
          </p:cNvPr>
          <p:cNvGrpSpPr/>
          <p:nvPr/>
        </p:nvGrpSpPr>
        <p:grpSpPr>
          <a:xfrm>
            <a:off x="10502327" y="1615480"/>
            <a:ext cx="1295578" cy="658410"/>
            <a:chOff x="10414763" y="1856780"/>
            <a:chExt cx="1321192" cy="65841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83E0544-EAB2-81DD-6718-54AFFB9949A8}"/>
                </a:ext>
              </a:extLst>
            </p:cNvPr>
            <p:cNvSpPr/>
            <p:nvPr/>
          </p:nvSpPr>
          <p:spPr>
            <a:xfrm>
              <a:off x="10414763" y="1856780"/>
              <a:ext cx="1321192" cy="658410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Machinery/</a:t>
              </a:r>
              <a:br>
                <a:rPr lang="en-US" sz="900" dirty="0">
                  <a:solidFill>
                    <a:schemeClr val="bg1"/>
                  </a:solidFill>
                </a:rPr>
              </a:br>
              <a:r>
                <a:rPr lang="en-US" sz="900" dirty="0">
                  <a:solidFill>
                    <a:schemeClr val="bg1"/>
                  </a:solidFill>
                </a:rPr>
                <a:t>Equipment</a:t>
              </a:r>
              <a:endParaRPr lang="en-CA" sz="900" dirty="0">
                <a:solidFill>
                  <a:schemeClr val="bg1"/>
                </a:solidFill>
              </a:endParaRPr>
            </a:p>
          </p:txBody>
        </p:sp>
        <p:sp>
          <p:nvSpPr>
            <p:cNvPr id="969" name="Rectangle 968">
              <a:extLst>
                <a:ext uri="{FF2B5EF4-FFF2-40B4-BE49-F238E27FC236}">
                  <a16:creationId xmlns:a16="http://schemas.microsoft.com/office/drawing/2014/main" id="{6EB9588A-2C06-F80D-120C-D7F757C3C86F}"/>
                </a:ext>
              </a:extLst>
            </p:cNvPr>
            <p:cNvSpPr/>
            <p:nvPr/>
          </p:nvSpPr>
          <p:spPr>
            <a:xfrm>
              <a:off x="10414763" y="2421369"/>
              <a:ext cx="91440" cy="914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995" name="Group 994">
            <a:extLst>
              <a:ext uri="{FF2B5EF4-FFF2-40B4-BE49-F238E27FC236}">
                <a16:creationId xmlns:a16="http://schemas.microsoft.com/office/drawing/2014/main" id="{99B0950A-67AD-07B9-D07A-F136596E96E6}"/>
              </a:ext>
            </a:extLst>
          </p:cNvPr>
          <p:cNvGrpSpPr/>
          <p:nvPr/>
        </p:nvGrpSpPr>
        <p:grpSpPr>
          <a:xfrm>
            <a:off x="10522715" y="2440160"/>
            <a:ext cx="1275586" cy="658410"/>
            <a:chOff x="10435150" y="2681460"/>
            <a:chExt cx="1300805" cy="65841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552FFD-B132-3112-59B1-F9FFBA9867C1}"/>
                </a:ext>
              </a:extLst>
            </p:cNvPr>
            <p:cNvSpPr/>
            <p:nvPr/>
          </p:nvSpPr>
          <p:spPr>
            <a:xfrm>
              <a:off x="10435150" y="2681460"/>
              <a:ext cx="1300805" cy="65841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Utensils</a:t>
              </a:r>
              <a:endParaRPr lang="en-CA" sz="900" dirty="0">
                <a:solidFill>
                  <a:schemeClr val="bg1"/>
                </a:solidFill>
              </a:endParaRPr>
            </a:p>
          </p:txBody>
        </p:sp>
        <p:sp>
          <p:nvSpPr>
            <p:cNvPr id="971" name="Rectangle 970">
              <a:extLst>
                <a:ext uri="{FF2B5EF4-FFF2-40B4-BE49-F238E27FC236}">
                  <a16:creationId xmlns:a16="http://schemas.microsoft.com/office/drawing/2014/main" id="{C1387357-988A-FC31-87F9-290F907C88AE}"/>
                </a:ext>
              </a:extLst>
            </p:cNvPr>
            <p:cNvSpPr/>
            <p:nvPr/>
          </p:nvSpPr>
          <p:spPr>
            <a:xfrm>
              <a:off x="10435150" y="2682704"/>
              <a:ext cx="91440" cy="914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996" name="Group 995">
            <a:extLst>
              <a:ext uri="{FF2B5EF4-FFF2-40B4-BE49-F238E27FC236}">
                <a16:creationId xmlns:a16="http://schemas.microsoft.com/office/drawing/2014/main" id="{4CB4A9DC-25F9-53E8-9026-B1069ABD400B}"/>
              </a:ext>
            </a:extLst>
          </p:cNvPr>
          <p:cNvGrpSpPr/>
          <p:nvPr/>
        </p:nvGrpSpPr>
        <p:grpSpPr>
          <a:xfrm>
            <a:off x="10522715" y="3267221"/>
            <a:ext cx="1275586" cy="658410"/>
            <a:chOff x="10435150" y="3508521"/>
            <a:chExt cx="1300805" cy="65841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D5534C6-A3D1-0CAB-FCDB-BCC4FB9622CE}"/>
                </a:ext>
              </a:extLst>
            </p:cNvPr>
            <p:cNvSpPr/>
            <p:nvPr/>
          </p:nvSpPr>
          <p:spPr>
            <a:xfrm>
              <a:off x="10435150" y="3508521"/>
              <a:ext cx="1300805" cy="658410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Construction</a:t>
              </a:r>
              <a:endParaRPr lang="en-CA" sz="900" dirty="0">
                <a:solidFill>
                  <a:schemeClr val="bg1"/>
                </a:solidFill>
              </a:endParaRPr>
            </a:p>
          </p:txBody>
        </p:sp>
        <p:sp>
          <p:nvSpPr>
            <p:cNvPr id="974" name="Rectangle 973">
              <a:extLst>
                <a:ext uri="{FF2B5EF4-FFF2-40B4-BE49-F238E27FC236}">
                  <a16:creationId xmlns:a16="http://schemas.microsoft.com/office/drawing/2014/main" id="{90468C71-91D0-EE48-3CAB-C7F4CFCB6DBE}"/>
                </a:ext>
              </a:extLst>
            </p:cNvPr>
            <p:cNvSpPr/>
            <p:nvPr/>
          </p:nvSpPr>
          <p:spPr>
            <a:xfrm>
              <a:off x="10435150" y="3508521"/>
              <a:ext cx="91440" cy="914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997" name="Group 996">
            <a:extLst>
              <a:ext uri="{FF2B5EF4-FFF2-40B4-BE49-F238E27FC236}">
                <a16:creationId xmlns:a16="http://schemas.microsoft.com/office/drawing/2014/main" id="{AA52F94A-9C6C-CD84-AE32-7F875FD2A845}"/>
              </a:ext>
            </a:extLst>
          </p:cNvPr>
          <p:cNvGrpSpPr/>
          <p:nvPr/>
        </p:nvGrpSpPr>
        <p:grpSpPr>
          <a:xfrm>
            <a:off x="10522715" y="4094282"/>
            <a:ext cx="1275586" cy="658410"/>
            <a:chOff x="10435150" y="4335582"/>
            <a:chExt cx="1300805" cy="65841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B13483B-6948-BB50-F0E4-1C1C8A59D4DE}"/>
                </a:ext>
              </a:extLst>
            </p:cNvPr>
            <p:cNvSpPr/>
            <p:nvPr/>
          </p:nvSpPr>
          <p:spPr>
            <a:xfrm>
              <a:off x="10435150" y="4335582"/>
              <a:ext cx="1300805" cy="658410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Currency &amp;</a:t>
              </a:r>
            </a:p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Weaponry</a:t>
              </a:r>
              <a:endParaRPr lang="en-CA" sz="900" dirty="0">
                <a:solidFill>
                  <a:schemeClr val="bg1"/>
                </a:solidFill>
              </a:endParaRPr>
            </a:p>
          </p:txBody>
        </p:sp>
        <p:sp>
          <p:nvSpPr>
            <p:cNvPr id="979" name="Rectangle 978">
              <a:extLst>
                <a:ext uri="{FF2B5EF4-FFF2-40B4-BE49-F238E27FC236}">
                  <a16:creationId xmlns:a16="http://schemas.microsoft.com/office/drawing/2014/main" id="{B984CF92-E11E-4FF3-85FB-9ED54B1B88B9}"/>
                </a:ext>
              </a:extLst>
            </p:cNvPr>
            <p:cNvSpPr/>
            <p:nvPr/>
          </p:nvSpPr>
          <p:spPr>
            <a:xfrm>
              <a:off x="10435150" y="4335582"/>
              <a:ext cx="91440" cy="914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cxnSp>
        <p:nvCxnSpPr>
          <p:cNvPr id="982" name="Connector: Elbow 981">
            <a:extLst>
              <a:ext uri="{FF2B5EF4-FFF2-40B4-BE49-F238E27FC236}">
                <a16:creationId xmlns:a16="http://schemas.microsoft.com/office/drawing/2014/main" id="{37D466B7-9EAB-371E-F8A3-F083E3C70D21}"/>
              </a:ext>
            </a:extLst>
          </p:cNvPr>
          <p:cNvCxnSpPr>
            <a:cxnSpLocks/>
            <a:stCxn id="971" idx="1"/>
            <a:endCxn id="40" idx="3"/>
          </p:cNvCxnSpPr>
          <p:nvPr/>
        </p:nvCxnSpPr>
        <p:spPr>
          <a:xfrm rot="10800000" flipV="1">
            <a:off x="10208041" y="2487124"/>
            <a:ext cx="314675" cy="130382"/>
          </a:xfrm>
          <a:prstGeom prst="bentConnector3">
            <a:avLst>
              <a:gd name="adj1" fmla="val 35874"/>
            </a:avLst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5" name="Connector: Elbow 984">
            <a:extLst>
              <a:ext uri="{FF2B5EF4-FFF2-40B4-BE49-F238E27FC236}">
                <a16:creationId xmlns:a16="http://schemas.microsoft.com/office/drawing/2014/main" id="{69744BE9-32C2-5B24-0500-AC2DFBB42C6A}"/>
              </a:ext>
            </a:extLst>
          </p:cNvPr>
          <p:cNvCxnSpPr>
            <a:cxnSpLocks/>
            <a:stCxn id="974" idx="1"/>
            <a:endCxn id="40" idx="3"/>
          </p:cNvCxnSpPr>
          <p:nvPr/>
        </p:nvCxnSpPr>
        <p:spPr>
          <a:xfrm rot="10800000">
            <a:off x="10208041" y="2617507"/>
            <a:ext cx="314675" cy="695435"/>
          </a:xfrm>
          <a:prstGeom prst="bentConnector3">
            <a:avLst>
              <a:gd name="adj1" fmla="val 35874"/>
            </a:avLst>
          </a:prstGeom>
          <a:ln w="63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1" name="Group 1040">
            <a:extLst>
              <a:ext uri="{FF2B5EF4-FFF2-40B4-BE49-F238E27FC236}">
                <a16:creationId xmlns:a16="http://schemas.microsoft.com/office/drawing/2014/main" id="{5A758438-EBBC-DFB1-30C4-14FD20B47925}"/>
              </a:ext>
            </a:extLst>
          </p:cNvPr>
          <p:cNvGrpSpPr/>
          <p:nvPr/>
        </p:nvGrpSpPr>
        <p:grpSpPr>
          <a:xfrm>
            <a:off x="1333278" y="5931174"/>
            <a:ext cx="9151885" cy="169277"/>
            <a:chOff x="1269778" y="6148410"/>
            <a:chExt cx="9151885" cy="169277"/>
          </a:xfrm>
        </p:grpSpPr>
        <p:sp>
          <p:nvSpPr>
            <p:cNvPr id="1042" name="Rectangle 1041">
              <a:extLst>
                <a:ext uri="{FF2B5EF4-FFF2-40B4-BE49-F238E27FC236}">
                  <a16:creationId xmlns:a16="http://schemas.microsoft.com/office/drawing/2014/main" id="{AE0537EE-D636-373E-DB08-EBF3A10F80B8}"/>
                </a:ext>
              </a:extLst>
            </p:cNvPr>
            <p:cNvSpPr/>
            <p:nvPr/>
          </p:nvSpPr>
          <p:spPr>
            <a:xfrm>
              <a:off x="9070724" y="6158636"/>
              <a:ext cx="290504" cy="14882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2">
                  <a:lumMod val="75000"/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1043" name="Rectangle 1042">
              <a:extLst>
                <a:ext uri="{FF2B5EF4-FFF2-40B4-BE49-F238E27FC236}">
                  <a16:creationId xmlns:a16="http://schemas.microsoft.com/office/drawing/2014/main" id="{5D911388-8A9B-C5A5-8E96-8AF18073D63B}"/>
                </a:ext>
              </a:extLst>
            </p:cNvPr>
            <p:cNvSpPr/>
            <p:nvPr/>
          </p:nvSpPr>
          <p:spPr>
            <a:xfrm>
              <a:off x="4661064" y="6158636"/>
              <a:ext cx="290504" cy="1488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1044" name="Rectangle 1043">
              <a:extLst>
                <a:ext uri="{FF2B5EF4-FFF2-40B4-BE49-F238E27FC236}">
                  <a16:creationId xmlns:a16="http://schemas.microsoft.com/office/drawing/2014/main" id="{6E81B9B0-71FF-063A-E3D0-EC4B8FF207D2}"/>
                </a:ext>
              </a:extLst>
            </p:cNvPr>
            <p:cNvSpPr/>
            <p:nvPr/>
          </p:nvSpPr>
          <p:spPr>
            <a:xfrm>
              <a:off x="2895690" y="6158636"/>
              <a:ext cx="290504" cy="1488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1045" name="Rectangle 1044">
              <a:extLst>
                <a:ext uri="{FF2B5EF4-FFF2-40B4-BE49-F238E27FC236}">
                  <a16:creationId xmlns:a16="http://schemas.microsoft.com/office/drawing/2014/main" id="{B2362E14-F15E-2637-2A1A-DD6C379A940E}"/>
                </a:ext>
              </a:extLst>
            </p:cNvPr>
            <p:cNvSpPr/>
            <p:nvPr/>
          </p:nvSpPr>
          <p:spPr>
            <a:xfrm>
              <a:off x="6113852" y="6158636"/>
              <a:ext cx="290504" cy="148824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1046" name="TextBox 1045">
              <a:extLst>
                <a:ext uri="{FF2B5EF4-FFF2-40B4-BE49-F238E27FC236}">
                  <a16:creationId xmlns:a16="http://schemas.microsoft.com/office/drawing/2014/main" id="{71F9BDF0-3E34-8E50-631D-C6F4150E7E9A}"/>
                </a:ext>
              </a:extLst>
            </p:cNvPr>
            <p:cNvSpPr txBox="1"/>
            <p:nvPr/>
          </p:nvSpPr>
          <p:spPr>
            <a:xfrm>
              <a:off x="3243154" y="6148410"/>
              <a:ext cx="1360950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Intermediate products</a:t>
              </a:r>
            </a:p>
          </p:txBody>
        </p:sp>
        <p:sp>
          <p:nvSpPr>
            <p:cNvPr id="1047" name="TextBox 1046">
              <a:extLst>
                <a:ext uri="{FF2B5EF4-FFF2-40B4-BE49-F238E27FC236}">
                  <a16:creationId xmlns:a16="http://schemas.microsoft.com/office/drawing/2014/main" id="{8FD45DCD-BF3D-C1C9-BD6F-B7A7A13EAAA8}"/>
                </a:ext>
              </a:extLst>
            </p:cNvPr>
            <p:cNvSpPr txBox="1"/>
            <p:nvPr/>
          </p:nvSpPr>
          <p:spPr>
            <a:xfrm>
              <a:off x="9418183" y="6148410"/>
              <a:ext cx="1003480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Processing step</a:t>
              </a:r>
            </a:p>
          </p:txBody>
        </p:sp>
        <p:sp>
          <p:nvSpPr>
            <p:cNvPr id="1048" name="TextBox 1047">
              <a:extLst>
                <a:ext uri="{FF2B5EF4-FFF2-40B4-BE49-F238E27FC236}">
                  <a16:creationId xmlns:a16="http://schemas.microsoft.com/office/drawing/2014/main" id="{A029D714-BA10-BFAD-1077-92A278B4FC05}"/>
                </a:ext>
              </a:extLst>
            </p:cNvPr>
            <p:cNvSpPr txBox="1"/>
            <p:nvPr/>
          </p:nvSpPr>
          <p:spPr>
            <a:xfrm>
              <a:off x="5008528" y="6148410"/>
              <a:ext cx="1048364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First use product</a:t>
              </a:r>
            </a:p>
          </p:txBody>
        </p:sp>
        <p:sp>
          <p:nvSpPr>
            <p:cNvPr id="1049" name="TextBox 1048">
              <a:extLst>
                <a:ext uri="{FF2B5EF4-FFF2-40B4-BE49-F238E27FC236}">
                  <a16:creationId xmlns:a16="http://schemas.microsoft.com/office/drawing/2014/main" id="{F4F3B33E-8199-0FA5-953B-1879C9589001}"/>
                </a:ext>
              </a:extLst>
            </p:cNvPr>
            <p:cNvSpPr txBox="1"/>
            <p:nvPr/>
          </p:nvSpPr>
          <p:spPr>
            <a:xfrm>
              <a:off x="6461316" y="6148410"/>
              <a:ext cx="1025922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End use product</a:t>
              </a:r>
            </a:p>
          </p:txBody>
        </p:sp>
        <p:sp>
          <p:nvSpPr>
            <p:cNvPr id="1050" name="Rectangle 1049">
              <a:extLst>
                <a:ext uri="{FF2B5EF4-FFF2-40B4-BE49-F238E27FC236}">
                  <a16:creationId xmlns:a16="http://schemas.microsoft.com/office/drawing/2014/main" id="{64CAEBD9-B947-D543-54F6-21178332753A}"/>
                </a:ext>
              </a:extLst>
            </p:cNvPr>
            <p:cNvSpPr/>
            <p:nvPr/>
          </p:nvSpPr>
          <p:spPr>
            <a:xfrm>
              <a:off x="1269778" y="6158636"/>
              <a:ext cx="290504" cy="14882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1051" name="TextBox 1050">
              <a:extLst>
                <a:ext uri="{FF2B5EF4-FFF2-40B4-BE49-F238E27FC236}">
                  <a16:creationId xmlns:a16="http://schemas.microsoft.com/office/drawing/2014/main" id="{AA640C23-457D-3EB6-3181-AA03D1797D27}"/>
                </a:ext>
              </a:extLst>
            </p:cNvPr>
            <p:cNvSpPr txBox="1"/>
            <p:nvPr/>
          </p:nvSpPr>
          <p:spPr>
            <a:xfrm>
              <a:off x="1617242" y="6148410"/>
              <a:ext cx="1221488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Natural occurrence</a:t>
              </a:r>
            </a:p>
          </p:txBody>
        </p:sp>
        <p:sp>
          <p:nvSpPr>
            <p:cNvPr id="1052" name="Rectangle 1051">
              <a:extLst>
                <a:ext uri="{FF2B5EF4-FFF2-40B4-BE49-F238E27FC236}">
                  <a16:creationId xmlns:a16="http://schemas.microsoft.com/office/drawing/2014/main" id="{8559BB69-6C73-DB0C-064C-FD042B045948}"/>
                </a:ext>
              </a:extLst>
            </p:cNvPr>
            <p:cNvSpPr/>
            <p:nvPr/>
          </p:nvSpPr>
          <p:spPr>
            <a:xfrm>
              <a:off x="7544198" y="6158636"/>
              <a:ext cx="290504" cy="14882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1053" name="TextBox 1052">
              <a:extLst>
                <a:ext uri="{FF2B5EF4-FFF2-40B4-BE49-F238E27FC236}">
                  <a16:creationId xmlns:a16="http://schemas.microsoft.com/office/drawing/2014/main" id="{42EFCE57-2B83-AA7D-FC7F-0194B977DFCA}"/>
                </a:ext>
              </a:extLst>
            </p:cNvPr>
            <p:cNvSpPr txBox="1"/>
            <p:nvPr/>
          </p:nvSpPr>
          <p:spPr>
            <a:xfrm>
              <a:off x="7891662" y="6148410"/>
              <a:ext cx="1122102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Recycling product</a:t>
              </a:r>
            </a:p>
          </p:txBody>
        </p:sp>
      </p:grp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AB928460-6DC9-4C03-DC5C-966022091BFA}"/>
              </a:ext>
            </a:extLst>
          </p:cNvPr>
          <p:cNvCxnSpPr>
            <a:stCxn id="706" idx="0"/>
            <a:endCxn id="784" idx="2"/>
          </p:cNvCxnSpPr>
          <p:nvPr/>
        </p:nvCxnSpPr>
        <p:spPr>
          <a:xfrm flipV="1">
            <a:off x="2389255" y="4471931"/>
            <a:ext cx="6294" cy="174657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>
            <a:extLst>
              <a:ext uri="{FF2B5EF4-FFF2-40B4-BE49-F238E27FC236}">
                <a16:creationId xmlns:a16="http://schemas.microsoft.com/office/drawing/2014/main" id="{53C90089-9230-DB65-DCF8-B74F61C0ACB8}"/>
              </a:ext>
            </a:extLst>
          </p:cNvPr>
          <p:cNvCxnSpPr/>
          <p:nvPr/>
        </p:nvCxnSpPr>
        <p:spPr>
          <a:xfrm flipV="1">
            <a:off x="1850061" y="3400010"/>
            <a:ext cx="1498121" cy="1312994"/>
          </a:xfrm>
          <a:prstGeom prst="bentConnector3">
            <a:avLst>
              <a:gd name="adj1" fmla="val -6374"/>
            </a:avLst>
          </a:prstGeom>
          <a:ln>
            <a:solidFill>
              <a:schemeClr val="bg1">
                <a:lumMod val="85000"/>
              </a:schemeClr>
            </a:solidFill>
            <a:prstDash val="lgDashDot"/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>
            <a:extLst>
              <a:ext uri="{FF2B5EF4-FFF2-40B4-BE49-F238E27FC236}">
                <a16:creationId xmlns:a16="http://schemas.microsoft.com/office/drawing/2014/main" id="{FA93E41F-C8AB-588E-2BC0-03FA89987042}"/>
              </a:ext>
            </a:extLst>
          </p:cNvPr>
          <p:cNvCxnSpPr>
            <a:cxnSpLocks/>
            <a:stCxn id="778" idx="2"/>
          </p:cNvCxnSpPr>
          <p:nvPr/>
        </p:nvCxnSpPr>
        <p:spPr>
          <a:xfrm rot="16200000" flipH="1">
            <a:off x="3714476" y="767172"/>
            <a:ext cx="222688" cy="5345204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headEnd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DCDEFBC7-DA3F-1901-3A64-2B6895BD0F4C}"/>
              </a:ext>
            </a:extLst>
          </p:cNvPr>
          <p:cNvSpPr/>
          <p:nvPr/>
        </p:nvSpPr>
        <p:spPr>
          <a:xfrm>
            <a:off x="10343693" y="1134110"/>
            <a:ext cx="1405284" cy="412734"/>
          </a:xfrm>
          <a:prstGeom prst="chevron">
            <a:avLst>
              <a:gd name="adj" fmla="val 2423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nd Use</a:t>
            </a:r>
            <a:endParaRPr lang="en-CA" sz="1200" dirty="0">
              <a:solidFill>
                <a:schemeClr val="bg1"/>
              </a:solidFill>
            </a:endParaRPr>
          </a:p>
        </p:txBody>
      </p:sp>
      <p:cxnSp>
        <p:nvCxnSpPr>
          <p:cNvPr id="2" name="Connector: Elbow 1">
            <a:extLst>
              <a:ext uri="{FF2B5EF4-FFF2-40B4-BE49-F238E27FC236}">
                <a16:creationId xmlns:a16="http://schemas.microsoft.com/office/drawing/2014/main" id="{DC50D4B1-D945-1C70-34AC-B30E7F1C8602}"/>
              </a:ext>
            </a:extLst>
          </p:cNvPr>
          <p:cNvCxnSpPr>
            <a:cxnSpLocks/>
            <a:stCxn id="682" idx="3"/>
          </p:cNvCxnSpPr>
          <p:nvPr/>
        </p:nvCxnSpPr>
        <p:spPr>
          <a:xfrm>
            <a:off x="6129690" y="2136732"/>
            <a:ext cx="228096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prstDash val="lgDash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51">
            <a:extLst>
              <a:ext uri="{FF2B5EF4-FFF2-40B4-BE49-F238E27FC236}">
                <a16:creationId xmlns:a16="http://schemas.microsoft.com/office/drawing/2014/main" id="{93C11855-AA8D-2D25-FAEE-C9990E2FA7A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1452" y="6282349"/>
            <a:ext cx="6674845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/>
          <a:lstStyle/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Source  Hatch</a:t>
            </a:r>
          </a:p>
        </p:txBody>
      </p:sp>
    </p:spTree>
    <p:extLst>
      <p:ext uri="{BB962C8B-B14F-4D97-AF65-F5344CB8AC3E}">
        <p14:creationId xmlns:p14="http://schemas.microsoft.com/office/powerpoint/2010/main" val="4712050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atch’s dissolver can short-cut the BG Ni sulphate production process while assuring product quality </a:t>
            </a:r>
            <a:endParaRPr lang="en-ZA" dirty="0"/>
          </a:p>
        </p:txBody>
      </p:sp>
      <p:grpSp>
        <p:nvGrpSpPr>
          <p:cNvPr id="888" name="Group 887">
            <a:extLst>
              <a:ext uri="{FF2B5EF4-FFF2-40B4-BE49-F238E27FC236}">
                <a16:creationId xmlns:a16="http://schemas.microsoft.com/office/drawing/2014/main" id="{29FCC2A8-3B61-65B0-EA75-FF70061F198D}"/>
              </a:ext>
            </a:extLst>
          </p:cNvPr>
          <p:cNvGrpSpPr/>
          <p:nvPr/>
        </p:nvGrpSpPr>
        <p:grpSpPr>
          <a:xfrm>
            <a:off x="6220758" y="5162949"/>
            <a:ext cx="915866" cy="411480"/>
            <a:chOff x="6110156" y="5321910"/>
            <a:chExt cx="923544" cy="411480"/>
          </a:xfrm>
        </p:grpSpPr>
        <p:sp>
          <p:nvSpPr>
            <p:cNvPr id="738" name="Rectangle 737">
              <a:extLst>
                <a:ext uri="{FF2B5EF4-FFF2-40B4-BE49-F238E27FC236}">
                  <a16:creationId xmlns:a16="http://schemas.microsoft.com/office/drawing/2014/main" id="{7A84095D-CA35-742B-6F82-8882404B9A39}"/>
                </a:ext>
              </a:extLst>
            </p:cNvPr>
            <p:cNvSpPr/>
            <p:nvPr/>
          </p:nvSpPr>
          <p:spPr>
            <a:xfrm>
              <a:off x="6110156" y="5321910"/>
              <a:ext cx="923544" cy="41148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por metallurgy</a:t>
              </a:r>
            </a:p>
          </p:txBody>
        </p:sp>
        <p:grpSp>
          <p:nvGrpSpPr>
            <p:cNvPr id="884" name="Group 883">
              <a:extLst>
                <a:ext uri="{FF2B5EF4-FFF2-40B4-BE49-F238E27FC236}">
                  <a16:creationId xmlns:a16="http://schemas.microsoft.com/office/drawing/2014/main" id="{13B0FF64-7B44-81CC-50F4-2234A7A33A24}"/>
                </a:ext>
              </a:extLst>
            </p:cNvPr>
            <p:cNvGrpSpPr/>
            <p:nvPr/>
          </p:nvGrpSpPr>
          <p:grpSpPr>
            <a:xfrm>
              <a:off x="6263121" y="5386391"/>
              <a:ext cx="617615" cy="282518"/>
              <a:chOff x="2316444" y="2954271"/>
              <a:chExt cx="637735" cy="295421"/>
            </a:xfrm>
          </p:grpSpPr>
          <p:cxnSp>
            <p:nvCxnSpPr>
              <p:cNvPr id="885" name="Straight Connector 884">
                <a:extLst>
                  <a:ext uri="{FF2B5EF4-FFF2-40B4-BE49-F238E27FC236}">
                    <a16:creationId xmlns:a16="http://schemas.microsoft.com/office/drawing/2014/main" id="{D0174495-60DF-62CE-E752-E55DD75D67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16444" y="2954271"/>
                <a:ext cx="637735" cy="295421"/>
              </a:xfrm>
              <a:prstGeom prst="line">
                <a:avLst/>
              </a:prstGeom>
              <a:ln w="381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6" name="Straight Connector 885">
                <a:extLst>
                  <a:ext uri="{FF2B5EF4-FFF2-40B4-BE49-F238E27FC236}">
                    <a16:creationId xmlns:a16="http://schemas.microsoft.com/office/drawing/2014/main" id="{F8D8AE4B-DA90-F84E-00B3-7F4BDD4CFA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16444" y="2970130"/>
                <a:ext cx="595532" cy="273325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2BB4179-176E-9FBD-2FF0-917A408DCCE8}"/>
              </a:ext>
            </a:extLst>
          </p:cNvPr>
          <p:cNvSpPr/>
          <p:nvPr/>
        </p:nvSpPr>
        <p:spPr>
          <a:xfrm>
            <a:off x="6942414" y="4178414"/>
            <a:ext cx="1239808" cy="28491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der/</a:t>
            </a:r>
            <a:r>
              <a:rPr lang="en-CA" sz="9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q</a:t>
            </a:r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D2C99A-073A-9B14-07CF-EF1B42B5B6A9}"/>
              </a:ext>
            </a:extLst>
          </p:cNvPr>
          <p:cNvSpPr/>
          <p:nvPr/>
        </p:nvSpPr>
        <p:spPr>
          <a:xfrm>
            <a:off x="698013" y="1607774"/>
            <a:ext cx="915866" cy="6583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Laterite </a:t>
            </a:r>
            <a:br>
              <a:rPr lang="en-US" sz="900" dirty="0">
                <a:solidFill>
                  <a:schemeClr val="accent2"/>
                </a:solidFill>
              </a:rPr>
            </a:br>
            <a:r>
              <a:rPr lang="en-US" sz="900" dirty="0">
                <a:solidFill>
                  <a:schemeClr val="accent2"/>
                </a:solidFill>
              </a:rPr>
              <a:t>ores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64E9C2-A925-A460-A6A6-7B9B9DA0C141}"/>
              </a:ext>
            </a:extLst>
          </p:cNvPr>
          <p:cNvSpPr/>
          <p:nvPr/>
        </p:nvSpPr>
        <p:spPr>
          <a:xfrm>
            <a:off x="8830181" y="4916019"/>
            <a:ext cx="1369265" cy="658410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Rechargeable Batte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89CF32F-DCAA-EE38-AD5B-5EC9AF3F739B}"/>
              </a:ext>
            </a:extLst>
          </p:cNvPr>
          <p:cNvSpPr/>
          <p:nvPr/>
        </p:nvSpPr>
        <p:spPr>
          <a:xfrm>
            <a:off x="6947885" y="2597802"/>
            <a:ext cx="1059384" cy="4887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met</a:t>
            </a:r>
          </a:p>
          <a:p>
            <a:pPr algn="ctr"/>
            <a:r>
              <a:rPr lang="en-CA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ining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3E0544-EAB2-81DD-6718-54AFFB9949A8}"/>
              </a:ext>
            </a:extLst>
          </p:cNvPr>
          <p:cNvSpPr/>
          <p:nvPr/>
        </p:nvSpPr>
        <p:spPr>
          <a:xfrm>
            <a:off x="10502625" y="1607774"/>
            <a:ext cx="1293170" cy="658410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Machinery/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Equipment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B13483B-6948-BB50-F0E4-1C1C8A59D4DE}"/>
              </a:ext>
            </a:extLst>
          </p:cNvPr>
          <p:cNvSpPr/>
          <p:nvPr/>
        </p:nvSpPr>
        <p:spPr>
          <a:xfrm>
            <a:off x="10523012" y="4088957"/>
            <a:ext cx="1272783" cy="658410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Currency &amp;</a:t>
            </a:r>
          </a:p>
          <a:p>
            <a:pPr algn="ctr"/>
            <a:r>
              <a:rPr lang="en-US" sz="900" dirty="0">
                <a:solidFill>
                  <a:schemeClr val="bg1"/>
                </a:solidFill>
              </a:rPr>
              <a:t>Weaponry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D552FFD-B132-3112-59B1-F9FFBA9867C1}"/>
              </a:ext>
            </a:extLst>
          </p:cNvPr>
          <p:cNvSpPr/>
          <p:nvPr/>
        </p:nvSpPr>
        <p:spPr>
          <a:xfrm>
            <a:off x="10523012" y="2434835"/>
            <a:ext cx="1273215" cy="658410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Utensils</a:t>
            </a:r>
            <a:endParaRPr lang="en-CA" sz="900" dirty="0">
              <a:solidFill>
                <a:schemeClr val="bg1"/>
              </a:solidFill>
            </a:endParaRPr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029A8605-09C5-8189-4BC9-EE1C3A5AC940}"/>
              </a:ext>
            </a:extLst>
          </p:cNvPr>
          <p:cNvCxnSpPr>
            <a:cxnSpLocks/>
            <a:stCxn id="854" idx="3"/>
            <a:endCxn id="766" idx="1"/>
          </p:cNvCxnSpPr>
          <p:nvPr/>
        </p:nvCxnSpPr>
        <p:spPr>
          <a:xfrm>
            <a:off x="6129988" y="1755538"/>
            <a:ext cx="2696153" cy="181420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DB12AD01-344F-D603-329D-285F4DAA7455}"/>
              </a:ext>
            </a:extLst>
          </p:cNvPr>
          <p:cNvSpPr/>
          <p:nvPr/>
        </p:nvSpPr>
        <p:spPr>
          <a:xfrm>
            <a:off x="8831759" y="2434835"/>
            <a:ext cx="1367687" cy="65836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Ni alloys</a:t>
            </a:r>
            <a:endParaRPr lang="en-CA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4FAE1E2E-B682-782A-6364-A9D92793E60A}"/>
              </a:ext>
            </a:extLst>
          </p:cNvPr>
          <p:cNvCxnSpPr>
            <a:cxnSpLocks/>
            <a:stCxn id="766" idx="3"/>
            <a:endCxn id="13" idx="1"/>
          </p:cNvCxnSpPr>
          <p:nvPr/>
        </p:nvCxnSpPr>
        <p:spPr>
          <a:xfrm>
            <a:off x="10199446" y="1936958"/>
            <a:ext cx="303179" cy="21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4EC73451-4256-D7FC-19B8-C5272C30F272}"/>
              </a:ext>
            </a:extLst>
          </p:cNvPr>
          <p:cNvCxnSpPr>
            <a:cxnSpLocks/>
            <a:stCxn id="766" idx="3"/>
            <a:endCxn id="19" idx="1"/>
          </p:cNvCxnSpPr>
          <p:nvPr/>
        </p:nvCxnSpPr>
        <p:spPr>
          <a:xfrm>
            <a:off x="10199446" y="1936958"/>
            <a:ext cx="323566" cy="827082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5D5534C6-A3D1-0CAB-FCDB-BCC4FB9622CE}"/>
              </a:ext>
            </a:extLst>
          </p:cNvPr>
          <p:cNvSpPr/>
          <p:nvPr/>
        </p:nvSpPr>
        <p:spPr>
          <a:xfrm>
            <a:off x="10523012" y="3261896"/>
            <a:ext cx="1273215" cy="658410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Construction</a:t>
            </a:r>
            <a:endParaRPr lang="en-CA" sz="900" dirty="0">
              <a:solidFill>
                <a:schemeClr val="bg1"/>
              </a:solidFill>
            </a:endParaRP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A54954B6-77C4-ADBA-C1FE-B22C1C86980D}"/>
              </a:ext>
            </a:extLst>
          </p:cNvPr>
          <p:cNvCxnSpPr>
            <a:cxnSpLocks/>
            <a:stCxn id="766" idx="3"/>
            <a:endCxn id="25" idx="1"/>
          </p:cNvCxnSpPr>
          <p:nvPr/>
        </p:nvCxnSpPr>
        <p:spPr>
          <a:xfrm>
            <a:off x="10199446" y="1936958"/>
            <a:ext cx="323566" cy="165414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1A712BD-455E-4778-D014-271C297D07C1}"/>
              </a:ext>
            </a:extLst>
          </p:cNvPr>
          <p:cNvSpPr/>
          <p:nvPr/>
        </p:nvSpPr>
        <p:spPr>
          <a:xfrm>
            <a:off x="1850359" y="1899432"/>
            <a:ext cx="1078387" cy="13470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45720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OP mining,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Grinding,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Classifying</a:t>
            </a:r>
          </a:p>
        </p:txBody>
      </p:sp>
      <p:cxnSp>
        <p:nvCxnSpPr>
          <p:cNvPr id="672" name="Connector: Elbow 671">
            <a:extLst>
              <a:ext uri="{FF2B5EF4-FFF2-40B4-BE49-F238E27FC236}">
                <a16:creationId xmlns:a16="http://schemas.microsoft.com/office/drawing/2014/main" id="{B2B4B659-EB04-CE23-333E-ED7C5896A4D5}"/>
              </a:ext>
            </a:extLst>
          </p:cNvPr>
          <p:cNvCxnSpPr>
            <a:cxnSpLocks/>
            <a:stCxn id="10" idx="2"/>
            <a:endCxn id="27" idx="1"/>
          </p:cNvCxnSpPr>
          <p:nvPr/>
        </p:nvCxnSpPr>
        <p:spPr>
          <a:xfrm rot="16200000" flipH="1">
            <a:off x="1349743" y="2072344"/>
            <a:ext cx="306819" cy="694413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3" name="Straight Arrow Connector 672">
            <a:extLst>
              <a:ext uri="{FF2B5EF4-FFF2-40B4-BE49-F238E27FC236}">
                <a16:creationId xmlns:a16="http://schemas.microsoft.com/office/drawing/2014/main" id="{A10A53BC-6471-5AC7-BFFF-DE9448DB89B2}"/>
              </a:ext>
            </a:extLst>
          </p:cNvPr>
          <p:cNvCxnSpPr>
            <a:cxnSpLocks/>
            <a:stCxn id="11" idx="3"/>
            <a:endCxn id="677" idx="1"/>
          </p:cNvCxnSpPr>
          <p:nvPr/>
        </p:nvCxnSpPr>
        <p:spPr>
          <a:xfrm>
            <a:off x="10199446" y="5245224"/>
            <a:ext cx="323566" cy="0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7" name="Rectangle 676">
            <a:extLst>
              <a:ext uri="{FF2B5EF4-FFF2-40B4-BE49-F238E27FC236}">
                <a16:creationId xmlns:a16="http://schemas.microsoft.com/office/drawing/2014/main" id="{E4714939-7E63-A90E-4084-31F685D07C74}"/>
              </a:ext>
            </a:extLst>
          </p:cNvPr>
          <p:cNvSpPr/>
          <p:nvPr/>
        </p:nvSpPr>
        <p:spPr>
          <a:xfrm>
            <a:off x="10523012" y="4916019"/>
            <a:ext cx="1272783" cy="658410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Electric vehicles 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&amp; Other uses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678" name="Rectangle 677">
            <a:extLst>
              <a:ext uri="{FF2B5EF4-FFF2-40B4-BE49-F238E27FC236}">
                <a16:creationId xmlns:a16="http://schemas.microsoft.com/office/drawing/2014/main" id="{EA9B073E-6D13-4577-2153-D6F0E7273F87}"/>
              </a:ext>
            </a:extLst>
          </p:cNvPr>
          <p:cNvSpPr/>
          <p:nvPr/>
        </p:nvSpPr>
        <p:spPr>
          <a:xfrm>
            <a:off x="1951326" y="2641443"/>
            <a:ext cx="876455" cy="2257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Saprolit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679" name="Rectangle 678">
            <a:extLst>
              <a:ext uri="{FF2B5EF4-FFF2-40B4-BE49-F238E27FC236}">
                <a16:creationId xmlns:a16="http://schemas.microsoft.com/office/drawing/2014/main" id="{5908BE32-48E3-90A9-FC03-8C0B8AE91E31}"/>
              </a:ext>
            </a:extLst>
          </p:cNvPr>
          <p:cNvSpPr/>
          <p:nvPr/>
        </p:nvSpPr>
        <p:spPr>
          <a:xfrm>
            <a:off x="1951326" y="2912656"/>
            <a:ext cx="876455" cy="2257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Limonit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681" name="Rectangle 680">
            <a:extLst>
              <a:ext uri="{FF2B5EF4-FFF2-40B4-BE49-F238E27FC236}">
                <a16:creationId xmlns:a16="http://schemas.microsoft.com/office/drawing/2014/main" id="{B0EB88CD-D0E3-CEBE-8FBD-E95E7AE68C7E}"/>
              </a:ext>
            </a:extLst>
          </p:cNvPr>
          <p:cNvSpPr/>
          <p:nvPr/>
        </p:nvSpPr>
        <p:spPr>
          <a:xfrm>
            <a:off x="3348480" y="1704145"/>
            <a:ext cx="915682" cy="41151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Smelting</a:t>
            </a:r>
          </a:p>
        </p:txBody>
      </p:sp>
      <p:sp>
        <p:nvSpPr>
          <p:cNvPr id="682" name="Rectangle 681">
            <a:extLst>
              <a:ext uri="{FF2B5EF4-FFF2-40B4-BE49-F238E27FC236}">
                <a16:creationId xmlns:a16="http://schemas.microsoft.com/office/drawing/2014/main" id="{59A627DE-9935-7BFB-E979-9C586BA09B0C}"/>
              </a:ext>
            </a:extLst>
          </p:cNvPr>
          <p:cNvSpPr/>
          <p:nvPr/>
        </p:nvSpPr>
        <p:spPr>
          <a:xfrm>
            <a:off x="4819668" y="1983644"/>
            <a:ext cx="1310320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kel pig iron</a:t>
            </a:r>
          </a:p>
        </p:txBody>
      </p:sp>
      <p:cxnSp>
        <p:nvCxnSpPr>
          <p:cNvPr id="684" name="Connector: Elbow 683">
            <a:extLst>
              <a:ext uri="{FF2B5EF4-FFF2-40B4-BE49-F238E27FC236}">
                <a16:creationId xmlns:a16="http://schemas.microsoft.com/office/drawing/2014/main" id="{6B4E4846-1F8B-64BA-462A-ECB466F17C30}"/>
              </a:ext>
            </a:extLst>
          </p:cNvPr>
          <p:cNvCxnSpPr>
            <a:cxnSpLocks/>
            <a:stCxn id="682" idx="3"/>
            <a:endCxn id="766" idx="1"/>
          </p:cNvCxnSpPr>
          <p:nvPr/>
        </p:nvCxnSpPr>
        <p:spPr>
          <a:xfrm flipV="1">
            <a:off x="6129988" y="1936958"/>
            <a:ext cx="2696153" cy="194449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5" name="Connector: Elbow 684">
            <a:extLst>
              <a:ext uri="{FF2B5EF4-FFF2-40B4-BE49-F238E27FC236}">
                <a16:creationId xmlns:a16="http://schemas.microsoft.com/office/drawing/2014/main" id="{ED8BD316-1643-2DAA-39B8-18D9091D65EB}"/>
              </a:ext>
            </a:extLst>
          </p:cNvPr>
          <p:cNvCxnSpPr>
            <a:cxnSpLocks/>
            <a:stCxn id="681" idx="3"/>
            <a:endCxn id="854" idx="1"/>
          </p:cNvCxnSpPr>
          <p:nvPr/>
        </p:nvCxnSpPr>
        <p:spPr>
          <a:xfrm flipV="1">
            <a:off x="4264162" y="1755538"/>
            <a:ext cx="555506" cy="15436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7" name="Connector: Elbow 686">
            <a:extLst>
              <a:ext uri="{FF2B5EF4-FFF2-40B4-BE49-F238E27FC236}">
                <a16:creationId xmlns:a16="http://schemas.microsoft.com/office/drawing/2014/main" id="{5D34B1A9-C8D3-23AC-5CCA-12F44480D8A9}"/>
              </a:ext>
            </a:extLst>
          </p:cNvPr>
          <p:cNvCxnSpPr>
            <a:cxnSpLocks/>
            <a:stCxn id="681" idx="3"/>
            <a:endCxn id="682" idx="1"/>
          </p:cNvCxnSpPr>
          <p:nvPr/>
        </p:nvCxnSpPr>
        <p:spPr>
          <a:xfrm>
            <a:off x="4264162" y="1909903"/>
            <a:ext cx="555506" cy="22150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8" name="Connector: Elbow 687">
            <a:extLst>
              <a:ext uri="{FF2B5EF4-FFF2-40B4-BE49-F238E27FC236}">
                <a16:creationId xmlns:a16="http://schemas.microsoft.com/office/drawing/2014/main" id="{41096FEE-10E9-C803-2C42-757749C86A42}"/>
              </a:ext>
            </a:extLst>
          </p:cNvPr>
          <p:cNvCxnSpPr>
            <a:cxnSpLocks/>
            <a:stCxn id="678" idx="3"/>
            <a:endCxn id="681" idx="1"/>
          </p:cNvCxnSpPr>
          <p:nvPr/>
        </p:nvCxnSpPr>
        <p:spPr>
          <a:xfrm flipV="1">
            <a:off x="2827781" y="1909903"/>
            <a:ext cx="520699" cy="844419"/>
          </a:xfrm>
          <a:prstGeom prst="bentConnector3">
            <a:avLst>
              <a:gd name="adj1" fmla="val 36697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Connector: Elbow 689">
            <a:extLst>
              <a:ext uri="{FF2B5EF4-FFF2-40B4-BE49-F238E27FC236}">
                <a16:creationId xmlns:a16="http://schemas.microsoft.com/office/drawing/2014/main" id="{6BB678EF-7717-A991-F57F-5E6C9E0CED12}"/>
              </a:ext>
            </a:extLst>
          </p:cNvPr>
          <p:cNvCxnSpPr>
            <a:cxnSpLocks/>
            <a:stCxn id="678" idx="3"/>
            <a:endCxn id="782" idx="0"/>
          </p:cNvCxnSpPr>
          <p:nvPr/>
        </p:nvCxnSpPr>
        <p:spPr>
          <a:xfrm flipV="1">
            <a:off x="2827781" y="2429387"/>
            <a:ext cx="963477" cy="324935"/>
          </a:xfrm>
          <a:prstGeom prst="bentConnector4">
            <a:avLst>
              <a:gd name="adj1" fmla="val 19812"/>
              <a:gd name="adj2" fmla="val 170353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1" name="Connector: Elbow 690">
            <a:extLst>
              <a:ext uri="{FF2B5EF4-FFF2-40B4-BE49-F238E27FC236}">
                <a16:creationId xmlns:a16="http://schemas.microsoft.com/office/drawing/2014/main" id="{6FDC51D3-6857-AA24-50F4-A898FD59B9EC}"/>
              </a:ext>
            </a:extLst>
          </p:cNvPr>
          <p:cNvCxnSpPr>
            <a:cxnSpLocks/>
            <a:stCxn id="679" idx="3"/>
            <a:endCxn id="782" idx="1"/>
          </p:cNvCxnSpPr>
          <p:nvPr/>
        </p:nvCxnSpPr>
        <p:spPr>
          <a:xfrm flipV="1">
            <a:off x="2827781" y="2635145"/>
            <a:ext cx="507710" cy="390390"/>
          </a:xfrm>
          <a:prstGeom prst="bentConnector3">
            <a:avLst>
              <a:gd name="adj1" fmla="val 5124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3" name="Rectangle 692">
            <a:extLst>
              <a:ext uri="{FF2B5EF4-FFF2-40B4-BE49-F238E27FC236}">
                <a16:creationId xmlns:a16="http://schemas.microsoft.com/office/drawing/2014/main" id="{5891BCBE-44AC-FF66-3D7E-6F7F59E9CE79}"/>
              </a:ext>
            </a:extLst>
          </p:cNvPr>
          <p:cNvSpPr/>
          <p:nvPr/>
        </p:nvSpPr>
        <p:spPr>
          <a:xfrm>
            <a:off x="4819668" y="2359513"/>
            <a:ext cx="1310320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kel oxide</a:t>
            </a:r>
          </a:p>
        </p:txBody>
      </p:sp>
      <p:sp>
        <p:nvSpPr>
          <p:cNvPr id="694" name="Rectangle 693">
            <a:extLst>
              <a:ext uri="{FF2B5EF4-FFF2-40B4-BE49-F238E27FC236}">
                <a16:creationId xmlns:a16="http://schemas.microsoft.com/office/drawing/2014/main" id="{A499D89A-55FF-D775-CF8B-0C4FDFD3E231}"/>
              </a:ext>
            </a:extLst>
          </p:cNvPr>
          <p:cNvSpPr/>
          <p:nvPr/>
        </p:nvSpPr>
        <p:spPr>
          <a:xfrm>
            <a:off x="4819668" y="2735382"/>
            <a:ext cx="1310320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SP</a:t>
            </a:r>
          </a:p>
        </p:txBody>
      </p:sp>
      <p:cxnSp>
        <p:nvCxnSpPr>
          <p:cNvPr id="696" name="Connector: Elbow 695">
            <a:extLst>
              <a:ext uri="{FF2B5EF4-FFF2-40B4-BE49-F238E27FC236}">
                <a16:creationId xmlns:a16="http://schemas.microsoft.com/office/drawing/2014/main" id="{45475463-F9EC-D3E7-F5E1-D74C2D780C9F}"/>
              </a:ext>
            </a:extLst>
          </p:cNvPr>
          <p:cNvCxnSpPr>
            <a:cxnSpLocks/>
            <a:stCxn id="782" idx="3"/>
            <a:endCxn id="694" idx="1"/>
          </p:cNvCxnSpPr>
          <p:nvPr/>
        </p:nvCxnSpPr>
        <p:spPr>
          <a:xfrm>
            <a:off x="4247025" y="2635145"/>
            <a:ext cx="572643" cy="24800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7" name="Connector: Elbow 696">
            <a:extLst>
              <a:ext uri="{FF2B5EF4-FFF2-40B4-BE49-F238E27FC236}">
                <a16:creationId xmlns:a16="http://schemas.microsoft.com/office/drawing/2014/main" id="{40C04158-9BF1-4734-B697-3C803B4C9112}"/>
              </a:ext>
            </a:extLst>
          </p:cNvPr>
          <p:cNvCxnSpPr>
            <a:cxnSpLocks/>
            <a:stCxn id="781" idx="3"/>
            <a:endCxn id="693" idx="1"/>
          </p:cNvCxnSpPr>
          <p:nvPr/>
        </p:nvCxnSpPr>
        <p:spPr>
          <a:xfrm flipV="1">
            <a:off x="4245815" y="2507276"/>
            <a:ext cx="573853" cy="596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9" name="Rectangle 698">
            <a:extLst>
              <a:ext uri="{FF2B5EF4-FFF2-40B4-BE49-F238E27FC236}">
                <a16:creationId xmlns:a16="http://schemas.microsoft.com/office/drawing/2014/main" id="{6CEBDA42-F542-5AF0-8FEB-40B35F8A03A4}"/>
              </a:ext>
            </a:extLst>
          </p:cNvPr>
          <p:cNvSpPr/>
          <p:nvPr/>
        </p:nvSpPr>
        <p:spPr>
          <a:xfrm>
            <a:off x="4820253" y="3111250"/>
            <a:ext cx="1303538" cy="2955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HP</a:t>
            </a:r>
          </a:p>
        </p:txBody>
      </p:sp>
      <p:cxnSp>
        <p:nvCxnSpPr>
          <p:cNvPr id="700" name="Connector: Elbow 699">
            <a:extLst>
              <a:ext uri="{FF2B5EF4-FFF2-40B4-BE49-F238E27FC236}">
                <a16:creationId xmlns:a16="http://schemas.microsoft.com/office/drawing/2014/main" id="{56282A02-5901-F0F1-F012-5AB0161E29BB}"/>
              </a:ext>
            </a:extLst>
          </p:cNvPr>
          <p:cNvCxnSpPr>
            <a:cxnSpLocks/>
            <a:stCxn id="782" idx="3"/>
            <a:endCxn id="699" idx="1"/>
          </p:cNvCxnSpPr>
          <p:nvPr/>
        </p:nvCxnSpPr>
        <p:spPr>
          <a:xfrm>
            <a:off x="4247025" y="2635145"/>
            <a:ext cx="573228" cy="62386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2" name="Rectangle 701">
            <a:extLst>
              <a:ext uri="{FF2B5EF4-FFF2-40B4-BE49-F238E27FC236}">
                <a16:creationId xmlns:a16="http://schemas.microsoft.com/office/drawing/2014/main" id="{A449D8CB-8DB0-A6C6-822F-CD9D1FCCD9C9}"/>
              </a:ext>
            </a:extLst>
          </p:cNvPr>
          <p:cNvSpPr/>
          <p:nvPr/>
        </p:nvSpPr>
        <p:spPr>
          <a:xfrm>
            <a:off x="3348480" y="3054544"/>
            <a:ext cx="915682" cy="41151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Heap </a:t>
            </a:r>
            <a:br>
              <a:rPr lang="en-CA" sz="900" dirty="0">
                <a:solidFill>
                  <a:schemeClr val="accent2"/>
                </a:solidFill>
              </a:rPr>
            </a:br>
            <a:r>
              <a:rPr lang="en-CA" sz="900" dirty="0">
                <a:solidFill>
                  <a:schemeClr val="accent2"/>
                </a:solidFill>
              </a:rPr>
              <a:t>leach</a:t>
            </a:r>
          </a:p>
        </p:txBody>
      </p:sp>
      <p:cxnSp>
        <p:nvCxnSpPr>
          <p:cNvPr id="703" name="Connector: Elbow 702">
            <a:extLst>
              <a:ext uri="{FF2B5EF4-FFF2-40B4-BE49-F238E27FC236}">
                <a16:creationId xmlns:a16="http://schemas.microsoft.com/office/drawing/2014/main" id="{9C9462CF-7EE8-90C4-6D6E-CC44308B37ED}"/>
              </a:ext>
            </a:extLst>
          </p:cNvPr>
          <p:cNvCxnSpPr>
            <a:cxnSpLocks/>
            <a:stCxn id="679" idx="3"/>
            <a:endCxn id="702" idx="1"/>
          </p:cNvCxnSpPr>
          <p:nvPr/>
        </p:nvCxnSpPr>
        <p:spPr>
          <a:xfrm>
            <a:off x="2827781" y="3025535"/>
            <a:ext cx="520699" cy="23476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83E4E33D-1215-0998-18E8-5EA6525B0558}"/>
              </a:ext>
            </a:extLst>
          </p:cNvPr>
          <p:cNvCxnSpPr>
            <a:cxnSpLocks/>
            <a:stCxn id="702" idx="3"/>
            <a:endCxn id="694" idx="1"/>
          </p:cNvCxnSpPr>
          <p:nvPr/>
        </p:nvCxnSpPr>
        <p:spPr>
          <a:xfrm flipV="1">
            <a:off x="4264162" y="2883145"/>
            <a:ext cx="555506" cy="377157"/>
          </a:xfrm>
          <a:prstGeom prst="bentConnector3">
            <a:avLst>
              <a:gd name="adj1" fmla="val 49143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550AF692-0E88-815E-A410-8EA21CFAC6C8}"/>
              </a:ext>
            </a:extLst>
          </p:cNvPr>
          <p:cNvCxnSpPr>
            <a:cxnSpLocks/>
            <a:stCxn id="699" idx="3"/>
            <a:endCxn id="12" idx="1"/>
          </p:cNvCxnSpPr>
          <p:nvPr/>
        </p:nvCxnSpPr>
        <p:spPr>
          <a:xfrm flipV="1">
            <a:off x="6123791" y="2842155"/>
            <a:ext cx="824094" cy="416858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9CF6A8CA-B335-DE45-BDCE-1A8D9CFA8B5A}"/>
              </a:ext>
            </a:extLst>
          </p:cNvPr>
          <p:cNvCxnSpPr>
            <a:cxnSpLocks/>
            <a:stCxn id="694" idx="3"/>
            <a:endCxn id="12" idx="1"/>
          </p:cNvCxnSpPr>
          <p:nvPr/>
        </p:nvCxnSpPr>
        <p:spPr>
          <a:xfrm flipV="1">
            <a:off x="6129988" y="2842155"/>
            <a:ext cx="817897" cy="40990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5" name="Rectangle 704">
            <a:extLst>
              <a:ext uri="{FF2B5EF4-FFF2-40B4-BE49-F238E27FC236}">
                <a16:creationId xmlns:a16="http://schemas.microsoft.com/office/drawing/2014/main" id="{B3C36091-2D5C-1172-961D-A601975FD686}"/>
              </a:ext>
            </a:extLst>
          </p:cNvPr>
          <p:cNvSpPr/>
          <p:nvPr/>
        </p:nvSpPr>
        <p:spPr>
          <a:xfrm>
            <a:off x="698013" y="4778662"/>
            <a:ext cx="915866" cy="6583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Sulfide ores</a:t>
            </a:r>
            <a:endParaRPr lang="en-CA" sz="900" dirty="0">
              <a:solidFill>
                <a:schemeClr val="accent2"/>
              </a:solidFill>
            </a:endParaRPr>
          </a:p>
        </p:txBody>
      </p:sp>
      <p:cxnSp>
        <p:nvCxnSpPr>
          <p:cNvPr id="711" name="Connector: Elbow 710">
            <a:extLst>
              <a:ext uri="{FF2B5EF4-FFF2-40B4-BE49-F238E27FC236}">
                <a16:creationId xmlns:a16="http://schemas.microsoft.com/office/drawing/2014/main" id="{69FF028D-247B-CF46-A682-9AA57DA0D2A8}"/>
              </a:ext>
            </a:extLst>
          </p:cNvPr>
          <p:cNvCxnSpPr>
            <a:cxnSpLocks/>
            <a:stCxn id="709" idx="0"/>
          </p:cNvCxnSpPr>
          <p:nvPr/>
        </p:nvCxnSpPr>
        <p:spPr>
          <a:xfrm rot="5400000" flipH="1" flipV="1">
            <a:off x="5109304" y="3016359"/>
            <a:ext cx="122982" cy="2728949"/>
          </a:xfrm>
          <a:prstGeom prst="bentConnector2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2" name="Connector: Elbow 711">
            <a:extLst>
              <a:ext uri="{FF2B5EF4-FFF2-40B4-BE49-F238E27FC236}">
                <a16:creationId xmlns:a16="http://schemas.microsoft.com/office/drawing/2014/main" id="{E294B134-838C-6771-1A5F-F0A0DF686459}"/>
              </a:ext>
            </a:extLst>
          </p:cNvPr>
          <p:cNvCxnSpPr>
            <a:cxnSpLocks/>
            <a:stCxn id="784" idx="3"/>
            <a:endCxn id="709" idx="1"/>
          </p:cNvCxnSpPr>
          <p:nvPr/>
        </p:nvCxnSpPr>
        <p:spPr>
          <a:xfrm>
            <a:off x="2928747" y="4318843"/>
            <a:ext cx="419732" cy="329221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5" name="Connector: Elbow 714">
            <a:extLst>
              <a:ext uri="{FF2B5EF4-FFF2-40B4-BE49-F238E27FC236}">
                <a16:creationId xmlns:a16="http://schemas.microsoft.com/office/drawing/2014/main" id="{7F18F39D-890D-0F0B-EC77-CB362879FB57}"/>
              </a:ext>
            </a:extLst>
          </p:cNvPr>
          <p:cNvCxnSpPr>
            <a:cxnSpLocks/>
            <a:stCxn id="784" idx="3"/>
            <a:endCxn id="714" idx="1"/>
          </p:cNvCxnSpPr>
          <p:nvPr/>
        </p:nvCxnSpPr>
        <p:spPr>
          <a:xfrm>
            <a:off x="2928747" y="4318843"/>
            <a:ext cx="419732" cy="1049846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8" name="Rectangle 717">
            <a:extLst>
              <a:ext uri="{FF2B5EF4-FFF2-40B4-BE49-F238E27FC236}">
                <a16:creationId xmlns:a16="http://schemas.microsoft.com/office/drawing/2014/main" id="{BB03E31D-571C-BE4E-9EBA-3BC601D534F0}"/>
              </a:ext>
            </a:extLst>
          </p:cNvPr>
          <p:cNvSpPr/>
          <p:nvPr/>
        </p:nvSpPr>
        <p:spPr>
          <a:xfrm>
            <a:off x="6942414" y="3452165"/>
            <a:ext cx="1239808" cy="29552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nds</a:t>
            </a:r>
          </a:p>
        </p:txBody>
      </p:sp>
      <p:sp>
        <p:nvSpPr>
          <p:cNvPr id="720" name="Rectangle 719">
            <a:extLst>
              <a:ext uri="{FF2B5EF4-FFF2-40B4-BE49-F238E27FC236}">
                <a16:creationId xmlns:a16="http://schemas.microsoft.com/office/drawing/2014/main" id="{2772E301-DA81-E056-EEBD-9C942DE99551}"/>
              </a:ext>
            </a:extLst>
          </p:cNvPr>
          <p:cNvSpPr/>
          <p:nvPr/>
        </p:nvSpPr>
        <p:spPr>
          <a:xfrm>
            <a:off x="6942414" y="3816732"/>
            <a:ext cx="1239808" cy="29552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hodes</a:t>
            </a:r>
          </a:p>
        </p:txBody>
      </p:sp>
      <p:sp>
        <p:nvSpPr>
          <p:cNvPr id="721" name="Rectangle 720">
            <a:extLst>
              <a:ext uri="{FF2B5EF4-FFF2-40B4-BE49-F238E27FC236}">
                <a16:creationId xmlns:a16="http://schemas.microsoft.com/office/drawing/2014/main" id="{F035C1FC-EBBA-3214-C949-6850CD5880BB}"/>
              </a:ext>
            </a:extLst>
          </p:cNvPr>
          <p:cNvSpPr/>
          <p:nvPr/>
        </p:nvSpPr>
        <p:spPr>
          <a:xfrm>
            <a:off x="6942414" y="4551712"/>
            <a:ext cx="1239808" cy="29552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llets</a:t>
            </a:r>
          </a:p>
        </p:txBody>
      </p:sp>
      <p:cxnSp>
        <p:nvCxnSpPr>
          <p:cNvPr id="723" name="Connector: Elbow 722">
            <a:extLst>
              <a:ext uri="{FF2B5EF4-FFF2-40B4-BE49-F238E27FC236}">
                <a16:creationId xmlns:a16="http://schemas.microsoft.com/office/drawing/2014/main" id="{B560484A-F424-0EBE-50C2-B09986BBEF23}"/>
              </a:ext>
            </a:extLst>
          </p:cNvPr>
          <p:cNvCxnSpPr>
            <a:cxnSpLocks/>
            <a:stCxn id="717" idx="0"/>
            <a:endCxn id="852" idx="1"/>
          </p:cNvCxnSpPr>
          <p:nvPr/>
        </p:nvCxnSpPr>
        <p:spPr>
          <a:xfrm rot="5400000" flipH="1" flipV="1">
            <a:off x="4839253" y="4845592"/>
            <a:ext cx="463473" cy="171243"/>
          </a:xfrm>
          <a:prstGeom prst="bentConnector2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7" name="Rectangle 726">
            <a:extLst>
              <a:ext uri="{FF2B5EF4-FFF2-40B4-BE49-F238E27FC236}">
                <a16:creationId xmlns:a16="http://schemas.microsoft.com/office/drawing/2014/main" id="{393BD503-2452-6DD1-A81A-3F06295230CF}"/>
              </a:ext>
            </a:extLst>
          </p:cNvPr>
          <p:cNvSpPr/>
          <p:nvPr/>
        </p:nvSpPr>
        <p:spPr>
          <a:xfrm>
            <a:off x="687881" y="3609483"/>
            <a:ext cx="915866" cy="65836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Batteries &amp; </a:t>
            </a:r>
            <a:br>
              <a:rPr lang="en-US" sz="900" dirty="0">
                <a:solidFill>
                  <a:schemeClr val="accent2"/>
                </a:solidFill>
              </a:rPr>
            </a:br>
            <a:r>
              <a:rPr lang="en-US" sz="900" dirty="0">
                <a:solidFill>
                  <a:schemeClr val="accent2"/>
                </a:solidFill>
              </a:rPr>
              <a:t>Black mass</a:t>
            </a:r>
            <a:endParaRPr lang="en-CA" sz="900" dirty="0">
              <a:solidFill>
                <a:schemeClr val="accent2"/>
              </a:solidFill>
            </a:endParaRPr>
          </a:p>
        </p:txBody>
      </p:sp>
      <p:cxnSp>
        <p:nvCxnSpPr>
          <p:cNvPr id="729" name="Connector: Elbow 728">
            <a:extLst>
              <a:ext uri="{FF2B5EF4-FFF2-40B4-BE49-F238E27FC236}">
                <a16:creationId xmlns:a16="http://schemas.microsoft.com/office/drawing/2014/main" id="{7B71996E-6D68-11AD-1401-B50AD6ACA167}"/>
              </a:ext>
            </a:extLst>
          </p:cNvPr>
          <p:cNvCxnSpPr>
            <a:cxnSpLocks/>
            <a:stCxn id="724" idx="3"/>
            <a:endCxn id="798" idx="1"/>
          </p:cNvCxnSpPr>
          <p:nvPr/>
        </p:nvCxnSpPr>
        <p:spPr>
          <a:xfrm flipV="1">
            <a:off x="4264162" y="3938236"/>
            <a:ext cx="892449" cy="431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0" name="Group 729">
            <a:extLst>
              <a:ext uri="{FF2B5EF4-FFF2-40B4-BE49-F238E27FC236}">
                <a16:creationId xmlns:a16="http://schemas.microsoft.com/office/drawing/2014/main" id="{C347538F-3B3E-7C2D-DE2C-92AAC0898CE5}"/>
              </a:ext>
            </a:extLst>
          </p:cNvPr>
          <p:cNvGrpSpPr/>
          <p:nvPr/>
        </p:nvGrpSpPr>
        <p:grpSpPr>
          <a:xfrm>
            <a:off x="4819668" y="1607775"/>
            <a:ext cx="1310320" cy="295526"/>
            <a:chOff x="3594817" y="1268015"/>
            <a:chExt cx="1020238" cy="231082"/>
          </a:xfrm>
        </p:grpSpPr>
        <p:sp>
          <p:nvSpPr>
            <p:cNvPr id="854" name="Rectangle 853">
              <a:extLst>
                <a:ext uri="{FF2B5EF4-FFF2-40B4-BE49-F238E27FC236}">
                  <a16:creationId xmlns:a16="http://schemas.microsoft.com/office/drawing/2014/main" id="{EFA93899-9B66-5311-B3ED-09CB91872190}"/>
                </a:ext>
              </a:extLst>
            </p:cNvPr>
            <p:cNvSpPr/>
            <p:nvPr/>
          </p:nvSpPr>
          <p:spPr>
            <a:xfrm>
              <a:off x="3594817" y="1268015"/>
              <a:ext cx="1020238" cy="23108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rronickel</a:t>
              </a:r>
            </a:p>
          </p:txBody>
        </p:sp>
        <p:sp>
          <p:nvSpPr>
            <p:cNvPr id="855" name="Rectangle 854">
              <a:extLst>
                <a:ext uri="{FF2B5EF4-FFF2-40B4-BE49-F238E27FC236}">
                  <a16:creationId xmlns:a16="http://schemas.microsoft.com/office/drawing/2014/main" id="{FA2FB160-D5E9-C161-E297-18B3BA5A7799}"/>
                </a:ext>
              </a:extLst>
            </p:cNvPr>
            <p:cNvSpPr/>
            <p:nvPr/>
          </p:nvSpPr>
          <p:spPr>
            <a:xfrm>
              <a:off x="4492941" y="1384141"/>
              <a:ext cx="120656" cy="1143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732" name="Connector: Elbow 731">
            <a:extLst>
              <a:ext uri="{FF2B5EF4-FFF2-40B4-BE49-F238E27FC236}">
                <a16:creationId xmlns:a16="http://schemas.microsoft.com/office/drawing/2014/main" id="{87CCE743-FBA7-7286-A985-851A28857A2F}"/>
              </a:ext>
            </a:extLst>
          </p:cNvPr>
          <p:cNvCxnSpPr>
            <a:cxnSpLocks/>
            <a:stCxn id="855" idx="3"/>
            <a:endCxn id="852" idx="0"/>
          </p:cNvCxnSpPr>
          <p:nvPr/>
        </p:nvCxnSpPr>
        <p:spPr>
          <a:xfrm flipH="1">
            <a:off x="5640201" y="1829384"/>
            <a:ext cx="487915" cy="2722328"/>
          </a:xfrm>
          <a:prstGeom prst="bentConnector4">
            <a:avLst>
              <a:gd name="adj1" fmla="val -46852"/>
              <a:gd name="adj2" fmla="val 51343"/>
            </a:avLst>
          </a:prstGeom>
          <a:ln>
            <a:solidFill>
              <a:schemeClr val="accent1"/>
            </a:solidFill>
            <a:prstDash val="lg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Connector: Elbow 732">
            <a:extLst>
              <a:ext uri="{FF2B5EF4-FFF2-40B4-BE49-F238E27FC236}">
                <a16:creationId xmlns:a16="http://schemas.microsoft.com/office/drawing/2014/main" id="{D728AB17-3BF0-6C10-32E7-A7EF532BF114}"/>
              </a:ext>
            </a:extLst>
          </p:cNvPr>
          <p:cNvCxnSpPr>
            <a:cxnSpLocks/>
            <a:stCxn id="852" idx="3"/>
            <a:endCxn id="12" idx="1"/>
          </p:cNvCxnSpPr>
          <p:nvPr/>
        </p:nvCxnSpPr>
        <p:spPr>
          <a:xfrm flipV="1">
            <a:off x="6123791" y="2842155"/>
            <a:ext cx="824094" cy="1857321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4" name="Connector: Elbow 733">
            <a:extLst>
              <a:ext uri="{FF2B5EF4-FFF2-40B4-BE49-F238E27FC236}">
                <a16:creationId xmlns:a16="http://schemas.microsoft.com/office/drawing/2014/main" id="{153EA647-E83F-BC8D-6267-30C9C0EB7995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6132716" y="2842155"/>
            <a:ext cx="815169" cy="1234920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Connector: Elbow 735">
            <a:extLst>
              <a:ext uri="{FF2B5EF4-FFF2-40B4-BE49-F238E27FC236}">
                <a16:creationId xmlns:a16="http://schemas.microsoft.com/office/drawing/2014/main" id="{F28C738E-603E-F832-5E51-20D642AC478D}"/>
              </a:ext>
            </a:extLst>
          </p:cNvPr>
          <p:cNvCxnSpPr>
            <a:cxnSpLocks/>
            <a:stCxn id="12" idx="2"/>
            <a:endCxn id="720" idx="1"/>
          </p:cNvCxnSpPr>
          <p:nvPr/>
        </p:nvCxnSpPr>
        <p:spPr>
          <a:xfrm rot="5400000">
            <a:off x="6771003" y="3257919"/>
            <a:ext cx="877987" cy="535163"/>
          </a:xfrm>
          <a:prstGeom prst="bentConnector4">
            <a:avLst>
              <a:gd name="adj1" fmla="val 41585"/>
              <a:gd name="adj2" fmla="val 142361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Connector: Elbow 736">
            <a:extLst>
              <a:ext uri="{FF2B5EF4-FFF2-40B4-BE49-F238E27FC236}">
                <a16:creationId xmlns:a16="http://schemas.microsoft.com/office/drawing/2014/main" id="{80221760-E0CF-449C-F68B-4F4B7EEDBE31}"/>
              </a:ext>
            </a:extLst>
          </p:cNvPr>
          <p:cNvCxnSpPr>
            <a:cxnSpLocks/>
            <a:stCxn id="12" idx="2"/>
            <a:endCxn id="718" idx="1"/>
          </p:cNvCxnSpPr>
          <p:nvPr/>
        </p:nvCxnSpPr>
        <p:spPr>
          <a:xfrm rot="5400000">
            <a:off x="6953286" y="3075636"/>
            <a:ext cx="513420" cy="535163"/>
          </a:xfrm>
          <a:prstGeom prst="bentConnector4">
            <a:avLst>
              <a:gd name="adj1" fmla="val 35610"/>
              <a:gd name="adj2" fmla="val 142361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Connector: Elbow 739">
            <a:extLst>
              <a:ext uri="{FF2B5EF4-FFF2-40B4-BE49-F238E27FC236}">
                <a16:creationId xmlns:a16="http://schemas.microsoft.com/office/drawing/2014/main" id="{97640388-2B04-B808-D13C-EAE034591C44}"/>
              </a:ext>
            </a:extLst>
          </p:cNvPr>
          <p:cNvCxnSpPr>
            <a:cxnSpLocks/>
            <a:stCxn id="852" idx="2"/>
            <a:endCxn id="738" idx="1"/>
          </p:cNvCxnSpPr>
          <p:nvPr/>
        </p:nvCxnSpPr>
        <p:spPr>
          <a:xfrm rot="16200000" flipH="1">
            <a:off x="5669754" y="4817685"/>
            <a:ext cx="521450" cy="580557"/>
          </a:xfrm>
          <a:prstGeom prst="bentConnector2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1" name="Connector: Elbow 740">
            <a:extLst>
              <a:ext uri="{FF2B5EF4-FFF2-40B4-BE49-F238E27FC236}">
                <a16:creationId xmlns:a16="http://schemas.microsoft.com/office/drawing/2014/main" id="{8F6EA69F-CFB1-BE79-2F23-AE4CEF4B4CE6}"/>
              </a:ext>
            </a:extLst>
          </p:cNvPr>
          <p:cNvCxnSpPr>
            <a:cxnSpLocks/>
            <a:stCxn id="738" idx="0"/>
            <a:endCxn id="721" idx="1"/>
          </p:cNvCxnSpPr>
          <p:nvPr/>
        </p:nvCxnSpPr>
        <p:spPr>
          <a:xfrm rot="5400000" flipH="1" flipV="1">
            <a:off x="6578815" y="4799350"/>
            <a:ext cx="463474" cy="263723"/>
          </a:xfrm>
          <a:prstGeom prst="bentConnector2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Connector: Elbow 741">
            <a:extLst>
              <a:ext uri="{FF2B5EF4-FFF2-40B4-BE49-F238E27FC236}">
                <a16:creationId xmlns:a16="http://schemas.microsoft.com/office/drawing/2014/main" id="{3F8970E6-668B-FA27-C53B-D6BDF6CAD528}"/>
              </a:ext>
            </a:extLst>
          </p:cNvPr>
          <p:cNvCxnSpPr>
            <a:cxnSpLocks/>
            <a:stCxn id="738" idx="0"/>
            <a:endCxn id="776" idx="1"/>
          </p:cNvCxnSpPr>
          <p:nvPr/>
        </p:nvCxnSpPr>
        <p:spPr>
          <a:xfrm rot="5400000" flipH="1" flipV="1">
            <a:off x="6434789" y="4654509"/>
            <a:ext cx="752342" cy="264539"/>
          </a:xfrm>
          <a:prstGeom prst="bentConnector2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Connector: Elbow 744">
            <a:extLst>
              <a:ext uri="{FF2B5EF4-FFF2-40B4-BE49-F238E27FC236}">
                <a16:creationId xmlns:a16="http://schemas.microsoft.com/office/drawing/2014/main" id="{EAA066D8-0C3F-D224-AA32-EDD49EEF42D1}"/>
              </a:ext>
            </a:extLst>
          </p:cNvPr>
          <p:cNvCxnSpPr>
            <a:cxnSpLocks/>
            <a:stCxn id="677" idx="2"/>
            <a:endCxn id="727" idx="1"/>
          </p:cNvCxnSpPr>
          <p:nvPr/>
        </p:nvCxnSpPr>
        <p:spPr>
          <a:xfrm rot="5400000" flipH="1">
            <a:off x="5105762" y="-479213"/>
            <a:ext cx="1635762" cy="10471523"/>
          </a:xfrm>
          <a:prstGeom prst="bentConnector4">
            <a:avLst>
              <a:gd name="adj1" fmla="val -13975"/>
              <a:gd name="adj2" fmla="val 102183"/>
            </a:avLst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6" name="Connector: Elbow 745">
            <a:extLst>
              <a:ext uri="{FF2B5EF4-FFF2-40B4-BE49-F238E27FC236}">
                <a16:creationId xmlns:a16="http://schemas.microsoft.com/office/drawing/2014/main" id="{45A78AC1-EE9E-435A-326E-AF5ED1DDB762}"/>
              </a:ext>
            </a:extLst>
          </p:cNvPr>
          <p:cNvCxnSpPr>
            <a:cxnSpLocks/>
            <a:stCxn id="22" idx="3"/>
            <a:endCxn id="14" idx="1"/>
          </p:cNvCxnSpPr>
          <p:nvPr/>
        </p:nvCxnSpPr>
        <p:spPr>
          <a:xfrm>
            <a:off x="10199446" y="2764019"/>
            <a:ext cx="323566" cy="165414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Connector: Elbow 747">
            <a:extLst>
              <a:ext uri="{FF2B5EF4-FFF2-40B4-BE49-F238E27FC236}">
                <a16:creationId xmlns:a16="http://schemas.microsoft.com/office/drawing/2014/main" id="{F05399C4-9D0C-951E-6C55-7337861B18B1}"/>
              </a:ext>
            </a:extLst>
          </p:cNvPr>
          <p:cNvCxnSpPr>
            <a:cxnSpLocks/>
            <a:stCxn id="693" idx="3"/>
            <a:endCxn id="772" idx="1"/>
          </p:cNvCxnSpPr>
          <p:nvPr/>
        </p:nvCxnSpPr>
        <p:spPr>
          <a:xfrm>
            <a:off x="6129988" y="2507276"/>
            <a:ext cx="2704932" cy="1083804"/>
          </a:xfrm>
          <a:prstGeom prst="bentConnector3">
            <a:avLst>
              <a:gd name="adj1" fmla="val 83105"/>
            </a:avLst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9" name="Connector: Elbow 748">
            <a:extLst>
              <a:ext uri="{FF2B5EF4-FFF2-40B4-BE49-F238E27FC236}">
                <a16:creationId xmlns:a16="http://schemas.microsoft.com/office/drawing/2014/main" id="{C0E18944-4B4A-2637-1C63-3185ECD63A47}"/>
              </a:ext>
            </a:extLst>
          </p:cNvPr>
          <p:cNvCxnSpPr>
            <a:cxnSpLocks/>
            <a:stCxn id="758" idx="3"/>
            <a:endCxn id="772" idx="1"/>
          </p:cNvCxnSpPr>
          <p:nvPr/>
        </p:nvCxnSpPr>
        <p:spPr>
          <a:xfrm flipV="1">
            <a:off x="8174940" y="3591080"/>
            <a:ext cx="659980" cy="1184699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1" name="Connector: Elbow 750">
            <a:extLst>
              <a:ext uri="{FF2B5EF4-FFF2-40B4-BE49-F238E27FC236}">
                <a16:creationId xmlns:a16="http://schemas.microsoft.com/office/drawing/2014/main" id="{9C772E0F-70F0-7C61-DF04-2E7E6BEFF067}"/>
              </a:ext>
            </a:extLst>
          </p:cNvPr>
          <p:cNvCxnSpPr>
            <a:cxnSpLocks/>
            <a:stCxn id="760" idx="3"/>
            <a:endCxn id="772" idx="1"/>
          </p:cNvCxnSpPr>
          <p:nvPr/>
        </p:nvCxnSpPr>
        <p:spPr>
          <a:xfrm flipV="1">
            <a:off x="8174938" y="3591080"/>
            <a:ext cx="659982" cy="812180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2" name="Connector: Elbow 751">
            <a:extLst>
              <a:ext uri="{FF2B5EF4-FFF2-40B4-BE49-F238E27FC236}">
                <a16:creationId xmlns:a16="http://schemas.microsoft.com/office/drawing/2014/main" id="{D23CA4BC-7476-4A73-1EEA-EFADD8D078DA}"/>
              </a:ext>
            </a:extLst>
          </p:cNvPr>
          <p:cNvCxnSpPr>
            <a:cxnSpLocks/>
            <a:stCxn id="718" idx="3"/>
            <a:endCxn id="764" idx="1"/>
          </p:cNvCxnSpPr>
          <p:nvPr/>
        </p:nvCxnSpPr>
        <p:spPr>
          <a:xfrm flipV="1">
            <a:off x="8182222" y="2025559"/>
            <a:ext cx="656851" cy="1574369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4" name="Connector: Elbow 753">
            <a:extLst>
              <a:ext uri="{FF2B5EF4-FFF2-40B4-BE49-F238E27FC236}">
                <a16:creationId xmlns:a16="http://schemas.microsoft.com/office/drawing/2014/main" id="{41A31089-E9A1-EF2A-EC18-5F1C5F21274F}"/>
              </a:ext>
            </a:extLst>
          </p:cNvPr>
          <p:cNvCxnSpPr>
            <a:cxnSpLocks/>
            <a:stCxn id="720" idx="3"/>
            <a:endCxn id="764" idx="1"/>
          </p:cNvCxnSpPr>
          <p:nvPr/>
        </p:nvCxnSpPr>
        <p:spPr>
          <a:xfrm flipV="1">
            <a:off x="8182222" y="2025559"/>
            <a:ext cx="656851" cy="1938936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Connector: Elbow 754">
            <a:extLst>
              <a:ext uri="{FF2B5EF4-FFF2-40B4-BE49-F238E27FC236}">
                <a16:creationId xmlns:a16="http://schemas.microsoft.com/office/drawing/2014/main" id="{2166C34C-4741-2462-10DD-7E60936708B1}"/>
              </a:ext>
            </a:extLst>
          </p:cNvPr>
          <p:cNvCxnSpPr>
            <a:cxnSpLocks/>
            <a:stCxn id="8" idx="3"/>
            <a:endCxn id="764" idx="1"/>
          </p:cNvCxnSpPr>
          <p:nvPr/>
        </p:nvCxnSpPr>
        <p:spPr>
          <a:xfrm flipV="1">
            <a:off x="8182222" y="2025559"/>
            <a:ext cx="656851" cy="2295311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" name="Connector: Elbow 756">
            <a:extLst>
              <a:ext uri="{FF2B5EF4-FFF2-40B4-BE49-F238E27FC236}">
                <a16:creationId xmlns:a16="http://schemas.microsoft.com/office/drawing/2014/main" id="{8CEF458B-679F-13BA-590B-DF3FA8E41842}"/>
              </a:ext>
            </a:extLst>
          </p:cNvPr>
          <p:cNvCxnSpPr>
            <a:cxnSpLocks/>
            <a:stCxn id="721" idx="3"/>
            <a:endCxn id="22" idx="1"/>
          </p:cNvCxnSpPr>
          <p:nvPr/>
        </p:nvCxnSpPr>
        <p:spPr>
          <a:xfrm flipV="1">
            <a:off x="8182222" y="2764019"/>
            <a:ext cx="649537" cy="1935456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8" name="Rectangle 757">
            <a:extLst>
              <a:ext uri="{FF2B5EF4-FFF2-40B4-BE49-F238E27FC236}">
                <a16:creationId xmlns:a16="http://schemas.microsoft.com/office/drawing/2014/main" id="{C2E7EC37-EFD8-6170-3930-71CD9638E183}"/>
              </a:ext>
            </a:extLst>
          </p:cNvPr>
          <p:cNvSpPr/>
          <p:nvPr/>
        </p:nvSpPr>
        <p:spPr>
          <a:xfrm>
            <a:off x="8082973" y="4712433"/>
            <a:ext cx="91967" cy="126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0" name="Rectangle 759">
            <a:extLst>
              <a:ext uri="{FF2B5EF4-FFF2-40B4-BE49-F238E27FC236}">
                <a16:creationId xmlns:a16="http://schemas.microsoft.com/office/drawing/2014/main" id="{F4C13222-FF09-4E7C-444B-41450C21914F}"/>
              </a:ext>
            </a:extLst>
          </p:cNvPr>
          <p:cNvSpPr/>
          <p:nvPr/>
        </p:nvSpPr>
        <p:spPr>
          <a:xfrm>
            <a:off x="8082971" y="4339914"/>
            <a:ext cx="91967" cy="126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63" name="Connector: Elbow 762">
            <a:extLst>
              <a:ext uri="{FF2B5EF4-FFF2-40B4-BE49-F238E27FC236}">
                <a16:creationId xmlns:a16="http://schemas.microsoft.com/office/drawing/2014/main" id="{F7D23C87-9ABD-E861-3D21-30CEF0C68A83}"/>
              </a:ext>
            </a:extLst>
          </p:cNvPr>
          <p:cNvCxnSpPr>
            <a:cxnSpLocks/>
            <a:stCxn id="12" idx="2"/>
            <a:endCxn id="8" idx="1"/>
          </p:cNvCxnSpPr>
          <p:nvPr/>
        </p:nvCxnSpPr>
        <p:spPr>
          <a:xfrm rot="5400000">
            <a:off x="6592815" y="3436107"/>
            <a:ext cx="1234362" cy="535163"/>
          </a:xfrm>
          <a:prstGeom prst="bentConnector4">
            <a:avLst>
              <a:gd name="adj1" fmla="val 41143"/>
              <a:gd name="adj2" fmla="val 142361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4" name="Rectangle 763">
            <a:extLst>
              <a:ext uri="{FF2B5EF4-FFF2-40B4-BE49-F238E27FC236}">
                <a16:creationId xmlns:a16="http://schemas.microsoft.com/office/drawing/2014/main" id="{8D267DD2-454A-E266-6633-ABE66A86092F}"/>
              </a:ext>
            </a:extLst>
          </p:cNvPr>
          <p:cNvSpPr/>
          <p:nvPr/>
        </p:nvSpPr>
        <p:spPr>
          <a:xfrm>
            <a:off x="8839073" y="1916415"/>
            <a:ext cx="609983" cy="218288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6" name="Rectangle 765">
            <a:extLst>
              <a:ext uri="{FF2B5EF4-FFF2-40B4-BE49-F238E27FC236}">
                <a16:creationId xmlns:a16="http://schemas.microsoft.com/office/drawing/2014/main" id="{67F177D4-A943-6928-C54A-BE9ED9568ED5}"/>
              </a:ext>
            </a:extLst>
          </p:cNvPr>
          <p:cNvSpPr/>
          <p:nvPr/>
        </p:nvSpPr>
        <p:spPr>
          <a:xfrm>
            <a:off x="8826141" y="1607774"/>
            <a:ext cx="1373305" cy="65836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inless steel</a:t>
            </a:r>
            <a:endParaRPr lang="en-CA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7" name="Rectangle 766">
            <a:extLst>
              <a:ext uri="{FF2B5EF4-FFF2-40B4-BE49-F238E27FC236}">
                <a16:creationId xmlns:a16="http://schemas.microsoft.com/office/drawing/2014/main" id="{CEF5537C-FE4B-861E-39EC-08B8C5CBF709}"/>
              </a:ext>
            </a:extLst>
          </p:cNvPr>
          <p:cNvSpPr/>
          <p:nvPr/>
        </p:nvSpPr>
        <p:spPr>
          <a:xfrm>
            <a:off x="8084061" y="3985605"/>
            <a:ext cx="91967" cy="12669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9" name="Rectangle 768">
            <a:extLst>
              <a:ext uri="{FF2B5EF4-FFF2-40B4-BE49-F238E27FC236}">
                <a16:creationId xmlns:a16="http://schemas.microsoft.com/office/drawing/2014/main" id="{8215B78F-C3FC-521F-C5E1-BC88EEB7FF70}"/>
              </a:ext>
            </a:extLst>
          </p:cNvPr>
          <p:cNvSpPr/>
          <p:nvPr/>
        </p:nvSpPr>
        <p:spPr>
          <a:xfrm>
            <a:off x="8831759" y="3792180"/>
            <a:ext cx="91967" cy="1266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70" name="Connector: Elbow 769">
            <a:extLst>
              <a:ext uri="{FF2B5EF4-FFF2-40B4-BE49-F238E27FC236}">
                <a16:creationId xmlns:a16="http://schemas.microsoft.com/office/drawing/2014/main" id="{5D253F65-BEF4-ADC6-38A1-B661395D7858}"/>
              </a:ext>
            </a:extLst>
          </p:cNvPr>
          <p:cNvCxnSpPr>
            <a:cxnSpLocks/>
            <a:stCxn id="767" idx="3"/>
            <a:endCxn id="769" idx="1"/>
          </p:cNvCxnSpPr>
          <p:nvPr/>
        </p:nvCxnSpPr>
        <p:spPr>
          <a:xfrm flipV="1">
            <a:off x="8176028" y="3855526"/>
            <a:ext cx="655731" cy="19342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73" name="Connector: Elbow 772">
            <a:extLst>
              <a:ext uri="{FF2B5EF4-FFF2-40B4-BE49-F238E27FC236}">
                <a16:creationId xmlns:a16="http://schemas.microsoft.com/office/drawing/2014/main" id="{80A440F5-E499-5415-8C69-AAC8059AD97F}"/>
              </a:ext>
            </a:extLst>
          </p:cNvPr>
          <p:cNvCxnSpPr>
            <a:cxnSpLocks/>
            <a:stCxn id="772" idx="2"/>
            <a:endCxn id="761" idx="0"/>
          </p:cNvCxnSpPr>
          <p:nvPr/>
        </p:nvCxnSpPr>
        <p:spPr>
          <a:xfrm rot="5400000">
            <a:off x="9259057" y="4176022"/>
            <a:ext cx="513885" cy="2369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6" name="Rectangle 775">
            <a:extLst>
              <a:ext uri="{FF2B5EF4-FFF2-40B4-BE49-F238E27FC236}">
                <a16:creationId xmlns:a16="http://schemas.microsoft.com/office/drawing/2014/main" id="{7DAB0946-8F9F-EEBC-7E30-94EEDBF7FE05}"/>
              </a:ext>
            </a:extLst>
          </p:cNvPr>
          <p:cNvSpPr/>
          <p:nvPr/>
        </p:nvSpPr>
        <p:spPr>
          <a:xfrm>
            <a:off x="6943230" y="4361469"/>
            <a:ext cx="74181" cy="9827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8" name="Rectangle 777">
            <a:extLst>
              <a:ext uri="{FF2B5EF4-FFF2-40B4-BE49-F238E27FC236}">
                <a16:creationId xmlns:a16="http://schemas.microsoft.com/office/drawing/2014/main" id="{7F844B77-E3F2-90F0-37BC-CC734E7CF3D4}"/>
              </a:ext>
            </a:extLst>
          </p:cNvPr>
          <p:cNvSpPr/>
          <p:nvPr/>
        </p:nvSpPr>
        <p:spPr>
          <a:xfrm>
            <a:off x="698013" y="2664737"/>
            <a:ext cx="911005" cy="6583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ude Ni sulphate (PGM ref.)</a:t>
            </a:r>
          </a:p>
        </p:txBody>
      </p:sp>
      <p:grpSp>
        <p:nvGrpSpPr>
          <p:cNvPr id="976" name="Group 975">
            <a:extLst>
              <a:ext uri="{FF2B5EF4-FFF2-40B4-BE49-F238E27FC236}">
                <a16:creationId xmlns:a16="http://schemas.microsoft.com/office/drawing/2014/main" id="{587CC490-FE1D-FACB-F146-4A56CDA7FF5F}"/>
              </a:ext>
            </a:extLst>
          </p:cNvPr>
          <p:cNvGrpSpPr/>
          <p:nvPr/>
        </p:nvGrpSpPr>
        <p:grpSpPr>
          <a:xfrm>
            <a:off x="3335491" y="2429387"/>
            <a:ext cx="911534" cy="411515"/>
            <a:chOff x="3200700" y="2676012"/>
            <a:chExt cx="919176" cy="411515"/>
          </a:xfrm>
        </p:grpSpPr>
        <p:sp>
          <p:nvSpPr>
            <p:cNvPr id="781" name="Rectangle 780">
              <a:extLst>
                <a:ext uri="{FF2B5EF4-FFF2-40B4-BE49-F238E27FC236}">
                  <a16:creationId xmlns:a16="http://schemas.microsoft.com/office/drawing/2014/main" id="{0C630E74-EE1F-A415-3E42-2218BA70D803}"/>
                </a:ext>
              </a:extLst>
            </p:cNvPr>
            <p:cNvSpPr/>
            <p:nvPr/>
          </p:nvSpPr>
          <p:spPr>
            <a:xfrm>
              <a:off x="4016520" y="2725262"/>
              <a:ext cx="102136" cy="5846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2">
                  <a:lumMod val="75000"/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782" name="Rectangle 781">
              <a:extLst>
                <a:ext uri="{FF2B5EF4-FFF2-40B4-BE49-F238E27FC236}">
                  <a16:creationId xmlns:a16="http://schemas.microsoft.com/office/drawing/2014/main" id="{EEF1C89E-8083-83C3-E85A-4100F20FB4B3}"/>
                </a:ext>
              </a:extLst>
            </p:cNvPr>
            <p:cNvSpPr/>
            <p:nvPr/>
          </p:nvSpPr>
          <p:spPr>
            <a:xfrm>
              <a:off x="3200700" y="2676012"/>
              <a:ext cx="919176" cy="41151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2">
                  <a:lumMod val="75000"/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accent2"/>
                  </a:solidFill>
                </a:rPr>
                <a:t>HPAL</a:t>
              </a:r>
            </a:p>
          </p:txBody>
        </p:sp>
      </p:grpSp>
      <p:grpSp>
        <p:nvGrpSpPr>
          <p:cNvPr id="878" name="Group 877">
            <a:extLst>
              <a:ext uri="{FF2B5EF4-FFF2-40B4-BE49-F238E27FC236}">
                <a16:creationId xmlns:a16="http://schemas.microsoft.com/office/drawing/2014/main" id="{B3133459-3195-DA63-4CEB-65989FF65DFA}"/>
              </a:ext>
            </a:extLst>
          </p:cNvPr>
          <p:cNvGrpSpPr/>
          <p:nvPr/>
        </p:nvGrpSpPr>
        <p:grpSpPr>
          <a:xfrm>
            <a:off x="3348480" y="3732927"/>
            <a:ext cx="915682" cy="411480"/>
            <a:chOff x="3223981" y="3968325"/>
            <a:chExt cx="923359" cy="411480"/>
          </a:xfrm>
        </p:grpSpPr>
        <p:sp>
          <p:nvSpPr>
            <p:cNvPr id="724" name="Rectangle 723">
              <a:extLst>
                <a:ext uri="{FF2B5EF4-FFF2-40B4-BE49-F238E27FC236}">
                  <a16:creationId xmlns:a16="http://schemas.microsoft.com/office/drawing/2014/main" id="{C1C23767-EE47-0328-FDA5-CAEB6222E318}"/>
                </a:ext>
              </a:extLst>
            </p:cNvPr>
            <p:cNvSpPr/>
            <p:nvPr/>
          </p:nvSpPr>
          <p:spPr>
            <a:xfrm>
              <a:off x="3223981" y="3968325"/>
              <a:ext cx="923359" cy="41148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yro process</a:t>
              </a:r>
            </a:p>
          </p:txBody>
        </p:sp>
        <p:grpSp>
          <p:nvGrpSpPr>
            <p:cNvPr id="788" name="Group 787">
              <a:extLst>
                <a:ext uri="{FF2B5EF4-FFF2-40B4-BE49-F238E27FC236}">
                  <a16:creationId xmlns:a16="http://schemas.microsoft.com/office/drawing/2014/main" id="{A6BED515-06CB-2F54-47AC-D54E6FB636D8}"/>
                </a:ext>
              </a:extLst>
            </p:cNvPr>
            <p:cNvGrpSpPr/>
            <p:nvPr/>
          </p:nvGrpSpPr>
          <p:grpSpPr>
            <a:xfrm>
              <a:off x="3376853" y="4032806"/>
              <a:ext cx="617615" cy="282518"/>
              <a:chOff x="2316444" y="2954271"/>
              <a:chExt cx="637735" cy="295421"/>
            </a:xfrm>
          </p:grpSpPr>
          <p:cxnSp>
            <p:nvCxnSpPr>
              <p:cNvPr id="824" name="Straight Connector 823">
                <a:extLst>
                  <a:ext uri="{FF2B5EF4-FFF2-40B4-BE49-F238E27FC236}">
                    <a16:creationId xmlns:a16="http://schemas.microsoft.com/office/drawing/2014/main" id="{EC3B040F-F947-3922-3376-390E6519702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16444" y="2954271"/>
                <a:ext cx="637735" cy="295421"/>
              </a:xfrm>
              <a:prstGeom prst="line">
                <a:avLst/>
              </a:prstGeom>
              <a:ln w="381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5" name="Straight Connector 824">
                <a:extLst>
                  <a:ext uri="{FF2B5EF4-FFF2-40B4-BE49-F238E27FC236}">
                    <a16:creationId xmlns:a16="http://schemas.microsoft.com/office/drawing/2014/main" id="{45A52596-1AA3-0EF7-CC68-6C153915FB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16444" y="2970130"/>
                <a:ext cx="595532" cy="273325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21" name="Group 920">
            <a:extLst>
              <a:ext uri="{FF2B5EF4-FFF2-40B4-BE49-F238E27FC236}">
                <a16:creationId xmlns:a16="http://schemas.microsoft.com/office/drawing/2014/main" id="{D7525C8D-77D0-8C22-7C47-0B4791C8E1B7}"/>
              </a:ext>
            </a:extLst>
          </p:cNvPr>
          <p:cNvGrpSpPr/>
          <p:nvPr/>
        </p:nvGrpSpPr>
        <p:grpSpPr>
          <a:xfrm>
            <a:off x="8834920" y="3261896"/>
            <a:ext cx="1364526" cy="658368"/>
            <a:chOff x="8746234" y="3508521"/>
            <a:chExt cx="1375965" cy="658368"/>
          </a:xfrm>
        </p:grpSpPr>
        <p:sp>
          <p:nvSpPr>
            <p:cNvPr id="772" name="Rectangle 771">
              <a:extLst>
                <a:ext uri="{FF2B5EF4-FFF2-40B4-BE49-F238E27FC236}">
                  <a16:creationId xmlns:a16="http://schemas.microsoft.com/office/drawing/2014/main" id="{A711FC40-1FAF-AF32-6023-9F753EAC4D14}"/>
                </a:ext>
              </a:extLst>
            </p:cNvPr>
            <p:cNvSpPr/>
            <p:nvPr/>
          </p:nvSpPr>
          <p:spPr>
            <a:xfrm>
              <a:off x="8746234" y="3508521"/>
              <a:ext cx="1375965" cy="65836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solution</a:t>
              </a:r>
            </a:p>
          </p:txBody>
        </p:sp>
        <p:grpSp>
          <p:nvGrpSpPr>
            <p:cNvPr id="793" name="Group 792">
              <a:extLst>
                <a:ext uri="{FF2B5EF4-FFF2-40B4-BE49-F238E27FC236}">
                  <a16:creationId xmlns:a16="http://schemas.microsoft.com/office/drawing/2014/main" id="{0DFB81CE-E5CE-738B-8807-69FFBB9B4627}"/>
                </a:ext>
              </a:extLst>
            </p:cNvPr>
            <p:cNvGrpSpPr/>
            <p:nvPr/>
          </p:nvGrpSpPr>
          <p:grpSpPr>
            <a:xfrm>
              <a:off x="8889572" y="3588567"/>
              <a:ext cx="1089289" cy="498277"/>
              <a:chOff x="6756436" y="2763041"/>
              <a:chExt cx="637735" cy="295421"/>
            </a:xfrm>
          </p:grpSpPr>
          <p:cxnSp>
            <p:nvCxnSpPr>
              <p:cNvPr id="816" name="Straight Connector 815">
                <a:extLst>
                  <a:ext uri="{FF2B5EF4-FFF2-40B4-BE49-F238E27FC236}">
                    <a16:creationId xmlns:a16="http://schemas.microsoft.com/office/drawing/2014/main" id="{FC2A2431-0C71-98A5-E1C6-AFACE7C28F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56436" y="2763041"/>
                <a:ext cx="637735" cy="295421"/>
              </a:xfrm>
              <a:prstGeom prst="line">
                <a:avLst/>
              </a:prstGeom>
              <a:ln w="381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7" name="Straight Connector 816">
                <a:extLst>
                  <a:ext uri="{FF2B5EF4-FFF2-40B4-BE49-F238E27FC236}">
                    <a16:creationId xmlns:a16="http://schemas.microsoft.com/office/drawing/2014/main" id="{C933C71C-DA51-45A4-5D42-BE53FACF573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56436" y="2778900"/>
                <a:ext cx="595532" cy="273325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95" name="Rectangle 794">
            <a:extLst>
              <a:ext uri="{FF2B5EF4-FFF2-40B4-BE49-F238E27FC236}">
                <a16:creationId xmlns:a16="http://schemas.microsoft.com/office/drawing/2014/main" id="{518F2EC7-1C45-A93C-11F5-3ECDAAFFF59C}"/>
              </a:ext>
            </a:extLst>
          </p:cNvPr>
          <p:cNvSpPr/>
          <p:nvPr/>
        </p:nvSpPr>
        <p:spPr>
          <a:xfrm>
            <a:off x="6130434" y="1593867"/>
            <a:ext cx="2695707" cy="406076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00" name="Connector: Elbow 799">
            <a:extLst>
              <a:ext uri="{FF2B5EF4-FFF2-40B4-BE49-F238E27FC236}">
                <a16:creationId xmlns:a16="http://schemas.microsoft.com/office/drawing/2014/main" id="{CD04F517-173A-D5BA-A26E-C43D40AC4B86}"/>
              </a:ext>
            </a:extLst>
          </p:cNvPr>
          <p:cNvCxnSpPr>
            <a:cxnSpLocks/>
            <a:stCxn id="854" idx="3"/>
            <a:endCxn id="812" idx="1"/>
          </p:cNvCxnSpPr>
          <p:nvPr/>
        </p:nvCxnSpPr>
        <p:spPr>
          <a:xfrm>
            <a:off x="6129988" y="1755538"/>
            <a:ext cx="777910" cy="177329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" name="Connector: Elbow 800">
            <a:extLst>
              <a:ext uri="{FF2B5EF4-FFF2-40B4-BE49-F238E27FC236}">
                <a16:creationId xmlns:a16="http://schemas.microsoft.com/office/drawing/2014/main" id="{84179FC6-8BBD-8EB1-C3D1-D4182409E4F5}"/>
              </a:ext>
            </a:extLst>
          </p:cNvPr>
          <p:cNvCxnSpPr>
            <a:cxnSpLocks/>
            <a:stCxn id="694" idx="3"/>
            <a:endCxn id="812" idx="1"/>
          </p:cNvCxnSpPr>
          <p:nvPr/>
        </p:nvCxnSpPr>
        <p:spPr>
          <a:xfrm>
            <a:off x="6129988" y="2883145"/>
            <a:ext cx="777910" cy="645692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Connector: Elbow 801">
            <a:extLst>
              <a:ext uri="{FF2B5EF4-FFF2-40B4-BE49-F238E27FC236}">
                <a16:creationId xmlns:a16="http://schemas.microsoft.com/office/drawing/2014/main" id="{D4EC2A75-FAAC-8184-A571-BC24432FD3D3}"/>
              </a:ext>
            </a:extLst>
          </p:cNvPr>
          <p:cNvCxnSpPr>
            <a:cxnSpLocks/>
            <a:stCxn id="699" idx="3"/>
            <a:endCxn id="812" idx="1"/>
          </p:cNvCxnSpPr>
          <p:nvPr/>
        </p:nvCxnSpPr>
        <p:spPr>
          <a:xfrm>
            <a:off x="6123791" y="3259013"/>
            <a:ext cx="784107" cy="269824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6" name="Connector: Elbow 805">
            <a:extLst>
              <a:ext uri="{FF2B5EF4-FFF2-40B4-BE49-F238E27FC236}">
                <a16:creationId xmlns:a16="http://schemas.microsoft.com/office/drawing/2014/main" id="{0E5D5534-E132-B734-7B2E-EDC19E29FBC0}"/>
              </a:ext>
            </a:extLst>
          </p:cNvPr>
          <p:cNvCxnSpPr>
            <a:cxnSpLocks/>
            <a:stCxn id="798" idx="3"/>
            <a:endCxn id="812" idx="1"/>
          </p:cNvCxnSpPr>
          <p:nvPr/>
        </p:nvCxnSpPr>
        <p:spPr>
          <a:xfrm flipV="1">
            <a:off x="6123791" y="3528837"/>
            <a:ext cx="784107" cy="409399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Connector: Elbow 808">
            <a:extLst>
              <a:ext uri="{FF2B5EF4-FFF2-40B4-BE49-F238E27FC236}">
                <a16:creationId xmlns:a16="http://schemas.microsoft.com/office/drawing/2014/main" id="{8F56D6E0-9656-9D5E-1883-ADC6067624F1}"/>
              </a:ext>
            </a:extLst>
          </p:cNvPr>
          <p:cNvCxnSpPr>
            <a:cxnSpLocks/>
            <a:stCxn id="693" idx="3"/>
            <a:endCxn id="812" idx="1"/>
          </p:cNvCxnSpPr>
          <p:nvPr/>
        </p:nvCxnSpPr>
        <p:spPr>
          <a:xfrm>
            <a:off x="6129988" y="2507276"/>
            <a:ext cx="777910" cy="102156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9" name="Group 878">
            <a:extLst>
              <a:ext uri="{FF2B5EF4-FFF2-40B4-BE49-F238E27FC236}">
                <a16:creationId xmlns:a16="http://schemas.microsoft.com/office/drawing/2014/main" id="{816C0891-004C-97DF-3BE9-21A6DED2CE98}"/>
              </a:ext>
            </a:extLst>
          </p:cNvPr>
          <p:cNvGrpSpPr/>
          <p:nvPr/>
        </p:nvGrpSpPr>
        <p:grpSpPr>
          <a:xfrm>
            <a:off x="3348480" y="4442324"/>
            <a:ext cx="915682" cy="411480"/>
            <a:chOff x="3223981" y="4688949"/>
            <a:chExt cx="923359" cy="411480"/>
          </a:xfrm>
        </p:grpSpPr>
        <p:sp>
          <p:nvSpPr>
            <p:cNvPr id="709" name="Rectangle 708">
              <a:extLst>
                <a:ext uri="{FF2B5EF4-FFF2-40B4-BE49-F238E27FC236}">
                  <a16:creationId xmlns:a16="http://schemas.microsoft.com/office/drawing/2014/main" id="{CC9306CA-4A56-C161-AB46-9A2E129D7484}"/>
                </a:ext>
              </a:extLst>
            </p:cNvPr>
            <p:cNvSpPr/>
            <p:nvPr/>
          </p:nvSpPr>
          <p:spPr>
            <a:xfrm>
              <a:off x="3223981" y="4688949"/>
              <a:ext cx="923359" cy="41148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ssure oxidation</a:t>
              </a:r>
            </a:p>
          </p:txBody>
        </p:sp>
        <p:grpSp>
          <p:nvGrpSpPr>
            <p:cNvPr id="872" name="Group 871">
              <a:extLst>
                <a:ext uri="{FF2B5EF4-FFF2-40B4-BE49-F238E27FC236}">
                  <a16:creationId xmlns:a16="http://schemas.microsoft.com/office/drawing/2014/main" id="{77553703-D1B2-C866-9FB7-C93DFD531AB8}"/>
                </a:ext>
              </a:extLst>
            </p:cNvPr>
            <p:cNvGrpSpPr/>
            <p:nvPr/>
          </p:nvGrpSpPr>
          <p:grpSpPr>
            <a:xfrm>
              <a:off x="3376853" y="4753430"/>
              <a:ext cx="617615" cy="282518"/>
              <a:chOff x="2316444" y="2954271"/>
              <a:chExt cx="637735" cy="295421"/>
            </a:xfrm>
          </p:grpSpPr>
          <p:cxnSp>
            <p:nvCxnSpPr>
              <p:cNvPr id="873" name="Straight Connector 872">
                <a:extLst>
                  <a:ext uri="{FF2B5EF4-FFF2-40B4-BE49-F238E27FC236}">
                    <a16:creationId xmlns:a16="http://schemas.microsoft.com/office/drawing/2014/main" id="{A3A640C3-38BA-5331-812C-D275127D7B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16444" y="2954271"/>
                <a:ext cx="637735" cy="295421"/>
              </a:xfrm>
              <a:prstGeom prst="line">
                <a:avLst/>
              </a:prstGeom>
              <a:ln w="381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4" name="Straight Connector 873">
                <a:extLst>
                  <a:ext uri="{FF2B5EF4-FFF2-40B4-BE49-F238E27FC236}">
                    <a16:creationId xmlns:a16="http://schemas.microsoft.com/office/drawing/2014/main" id="{F5EC7AE6-8999-CD9C-B4E6-808C6144C7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16444" y="2970130"/>
                <a:ext cx="595532" cy="273325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25" name="Group 1024">
            <a:extLst>
              <a:ext uri="{FF2B5EF4-FFF2-40B4-BE49-F238E27FC236}">
                <a16:creationId xmlns:a16="http://schemas.microsoft.com/office/drawing/2014/main" id="{8FBA9ECE-C44D-CEF2-742C-53895EDF89A0}"/>
              </a:ext>
            </a:extLst>
          </p:cNvPr>
          <p:cNvGrpSpPr/>
          <p:nvPr/>
        </p:nvGrpSpPr>
        <p:grpSpPr>
          <a:xfrm>
            <a:off x="3348480" y="5162949"/>
            <a:ext cx="915682" cy="411480"/>
            <a:chOff x="3213798" y="5409574"/>
            <a:chExt cx="923359" cy="411480"/>
          </a:xfrm>
        </p:grpSpPr>
        <p:sp>
          <p:nvSpPr>
            <p:cNvPr id="714" name="Rectangle 713">
              <a:extLst>
                <a:ext uri="{FF2B5EF4-FFF2-40B4-BE49-F238E27FC236}">
                  <a16:creationId xmlns:a16="http://schemas.microsoft.com/office/drawing/2014/main" id="{E69F804D-AC77-E90E-59C1-367B70B2D604}"/>
                </a:ext>
              </a:extLst>
            </p:cNvPr>
            <p:cNvSpPr/>
            <p:nvPr/>
          </p:nvSpPr>
          <p:spPr>
            <a:xfrm>
              <a:off x="3213798" y="5409574"/>
              <a:ext cx="923359" cy="41148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asting</a:t>
              </a:r>
            </a:p>
          </p:txBody>
        </p:sp>
        <p:grpSp>
          <p:nvGrpSpPr>
            <p:cNvPr id="875" name="Group 874">
              <a:extLst>
                <a:ext uri="{FF2B5EF4-FFF2-40B4-BE49-F238E27FC236}">
                  <a16:creationId xmlns:a16="http://schemas.microsoft.com/office/drawing/2014/main" id="{9B9F30E6-8271-E37A-126A-BD4636BEBBEC}"/>
                </a:ext>
              </a:extLst>
            </p:cNvPr>
            <p:cNvGrpSpPr/>
            <p:nvPr/>
          </p:nvGrpSpPr>
          <p:grpSpPr>
            <a:xfrm>
              <a:off x="3366670" y="5474055"/>
              <a:ext cx="617615" cy="282518"/>
              <a:chOff x="2316444" y="2954271"/>
              <a:chExt cx="637735" cy="295421"/>
            </a:xfrm>
          </p:grpSpPr>
          <p:cxnSp>
            <p:nvCxnSpPr>
              <p:cNvPr id="876" name="Straight Connector 875">
                <a:extLst>
                  <a:ext uri="{FF2B5EF4-FFF2-40B4-BE49-F238E27FC236}">
                    <a16:creationId xmlns:a16="http://schemas.microsoft.com/office/drawing/2014/main" id="{1BF4B2A6-CB33-4637-0E04-558DC360EF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16444" y="2954271"/>
                <a:ext cx="637735" cy="295421"/>
              </a:xfrm>
              <a:prstGeom prst="line">
                <a:avLst/>
              </a:prstGeom>
              <a:ln w="381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7" name="Straight Connector 876">
                <a:extLst>
                  <a:ext uri="{FF2B5EF4-FFF2-40B4-BE49-F238E27FC236}">
                    <a16:creationId xmlns:a16="http://schemas.microsoft.com/office/drawing/2014/main" id="{91CB944B-ADFE-E0D1-F35C-5107627AED0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16444" y="2970130"/>
                <a:ext cx="595532" cy="273325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26" name="Group 1025">
            <a:extLst>
              <a:ext uri="{FF2B5EF4-FFF2-40B4-BE49-F238E27FC236}">
                <a16:creationId xmlns:a16="http://schemas.microsoft.com/office/drawing/2014/main" id="{BE632ACC-C0EF-B906-7629-E035AFEBBB5E}"/>
              </a:ext>
            </a:extLst>
          </p:cNvPr>
          <p:cNvGrpSpPr/>
          <p:nvPr/>
        </p:nvGrpSpPr>
        <p:grpSpPr>
          <a:xfrm>
            <a:off x="4527435" y="5162949"/>
            <a:ext cx="915866" cy="411480"/>
            <a:chOff x="4402637" y="5409574"/>
            <a:chExt cx="923544" cy="411480"/>
          </a:xfrm>
        </p:grpSpPr>
        <p:sp>
          <p:nvSpPr>
            <p:cNvPr id="717" name="Rectangle 716">
              <a:extLst>
                <a:ext uri="{FF2B5EF4-FFF2-40B4-BE49-F238E27FC236}">
                  <a16:creationId xmlns:a16="http://schemas.microsoft.com/office/drawing/2014/main" id="{DFA9D422-D6BD-0EAB-A7FD-201582F61A3D}"/>
                </a:ext>
              </a:extLst>
            </p:cNvPr>
            <p:cNvSpPr/>
            <p:nvPr/>
          </p:nvSpPr>
          <p:spPr>
            <a:xfrm>
              <a:off x="4402637" y="5409574"/>
              <a:ext cx="923544" cy="41148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melting</a:t>
              </a:r>
            </a:p>
          </p:txBody>
        </p:sp>
        <p:grpSp>
          <p:nvGrpSpPr>
            <p:cNvPr id="881" name="Group 880">
              <a:extLst>
                <a:ext uri="{FF2B5EF4-FFF2-40B4-BE49-F238E27FC236}">
                  <a16:creationId xmlns:a16="http://schemas.microsoft.com/office/drawing/2014/main" id="{E6F2CD2C-E78F-84DD-CAD6-0C29497E8030}"/>
                </a:ext>
              </a:extLst>
            </p:cNvPr>
            <p:cNvGrpSpPr/>
            <p:nvPr/>
          </p:nvGrpSpPr>
          <p:grpSpPr>
            <a:xfrm>
              <a:off x="4555602" y="5474055"/>
              <a:ext cx="617615" cy="282518"/>
              <a:chOff x="2316444" y="2954271"/>
              <a:chExt cx="637735" cy="295421"/>
            </a:xfrm>
          </p:grpSpPr>
          <p:cxnSp>
            <p:nvCxnSpPr>
              <p:cNvPr id="882" name="Straight Connector 881">
                <a:extLst>
                  <a:ext uri="{FF2B5EF4-FFF2-40B4-BE49-F238E27FC236}">
                    <a16:creationId xmlns:a16="http://schemas.microsoft.com/office/drawing/2014/main" id="{36FD89EF-9A5F-FC0F-9CAC-51A714901F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16444" y="2954271"/>
                <a:ext cx="637735" cy="295421"/>
              </a:xfrm>
              <a:prstGeom prst="line">
                <a:avLst/>
              </a:prstGeom>
              <a:ln w="381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3" name="Straight Connector 882">
                <a:extLst>
                  <a:ext uri="{FF2B5EF4-FFF2-40B4-BE49-F238E27FC236}">
                    <a16:creationId xmlns:a16="http://schemas.microsoft.com/office/drawing/2014/main" id="{4CAA4148-B2A1-27C3-4D1E-113C89EE8B2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316444" y="2970130"/>
                <a:ext cx="595532" cy="273325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893" name="Straight Arrow Connector 892">
            <a:extLst>
              <a:ext uri="{FF2B5EF4-FFF2-40B4-BE49-F238E27FC236}">
                <a16:creationId xmlns:a16="http://schemas.microsoft.com/office/drawing/2014/main" id="{991FF7DB-4E79-92D1-B16A-F4E8656F5F2F}"/>
              </a:ext>
            </a:extLst>
          </p:cNvPr>
          <p:cNvCxnSpPr>
            <a:stCxn id="705" idx="3"/>
            <a:endCxn id="706" idx="1"/>
          </p:cNvCxnSpPr>
          <p:nvPr/>
        </p:nvCxnSpPr>
        <p:spPr>
          <a:xfrm>
            <a:off x="1613879" y="5107846"/>
            <a:ext cx="236480" cy="0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9" name="Connector: Elbow 988">
            <a:extLst>
              <a:ext uri="{FF2B5EF4-FFF2-40B4-BE49-F238E27FC236}">
                <a16:creationId xmlns:a16="http://schemas.microsoft.com/office/drawing/2014/main" id="{D87A6FD7-AF06-FE1A-AB19-8FB95DE5C287}"/>
              </a:ext>
            </a:extLst>
          </p:cNvPr>
          <p:cNvCxnSpPr>
            <a:cxnSpLocks/>
            <a:stCxn id="778" idx="2"/>
            <a:endCxn id="812" idx="1"/>
          </p:cNvCxnSpPr>
          <p:nvPr/>
        </p:nvCxnSpPr>
        <p:spPr>
          <a:xfrm rot="16200000" flipH="1">
            <a:off x="3927840" y="548779"/>
            <a:ext cx="205732" cy="5754383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4" name="Straight Arrow Connector 993">
            <a:extLst>
              <a:ext uri="{FF2B5EF4-FFF2-40B4-BE49-F238E27FC236}">
                <a16:creationId xmlns:a16="http://schemas.microsoft.com/office/drawing/2014/main" id="{216C0C62-93BA-D21F-4E72-5E1D2180A866}"/>
              </a:ext>
            </a:extLst>
          </p:cNvPr>
          <p:cNvCxnSpPr>
            <a:stCxn id="727" idx="3"/>
            <a:endCxn id="724" idx="1"/>
          </p:cNvCxnSpPr>
          <p:nvPr/>
        </p:nvCxnSpPr>
        <p:spPr>
          <a:xfrm>
            <a:off x="1603747" y="3938667"/>
            <a:ext cx="1744733" cy="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4" name="Straight Arrow Connector 1023">
            <a:extLst>
              <a:ext uri="{FF2B5EF4-FFF2-40B4-BE49-F238E27FC236}">
                <a16:creationId xmlns:a16="http://schemas.microsoft.com/office/drawing/2014/main" id="{A78F86B3-FA0D-6A8E-2F9D-070302BCD7DE}"/>
              </a:ext>
            </a:extLst>
          </p:cNvPr>
          <p:cNvCxnSpPr>
            <a:stCxn id="714" idx="3"/>
            <a:endCxn id="717" idx="1"/>
          </p:cNvCxnSpPr>
          <p:nvPr/>
        </p:nvCxnSpPr>
        <p:spPr>
          <a:xfrm>
            <a:off x="4264162" y="5368689"/>
            <a:ext cx="263273" cy="0"/>
          </a:xfrm>
          <a:prstGeom prst="straightConnector1">
            <a:avLst/>
          </a:prstGeom>
          <a:ln w="63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9" name="Group 798">
            <a:extLst>
              <a:ext uri="{FF2B5EF4-FFF2-40B4-BE49-F238E27FC236}">
                <a16:creationId xmlns:a16="http://schemas.microsoft.com/office/drawing/2014/main" id="{417987A6-63C4-93F9-0911-AF3E32873466}"/>
              </a:ext>
            </a:extLst>
          </p:cNvPr>
          <p:cNvGrpSpPr/>
          <p:nvPr/>
        </p:nvGrpSpPr>
        <p:grpSpPr>
          <a:xfrm>
            <a:off x="6907898" y="2733073"/>
            <a:ext cx="1613333" cy="1591528"/>
            <a:chOff x="5068804" y="2165556"/>
            <a:chExt cx="1263850" cy="1244470"/>
          </a:xfrm>
        </p:grpSpPr>
        <p:grpSp>
          <p:nvGrpSpPr>
            <p:cNvPr id="810" name="Group 809">
              <a:extLst>
                <a:ext uri="{FF2B5EF4-FFF2-40B4-BE49-F238E27FC236}">
                  <a16:creationId xmlns:a16="http://schemas.microsoft.com/office/drawing/2014/main" id="{B06CF284-9F08-1E0B-B1ED-0A343B82E5E3}"/>
                </a:ext>
              </a:extLst>
            </p:cNvPr>
            <p:cNvGrpSpPr/>
            <p:nvPr/>
          </p:nvGrpSpPr>
          <p:grpSpPr>
            <a:xfrm>
              <a:off x="5068804" y="2165556"/>
              <a:ext cx="1263850" cy="1244470"/>
              <a:chOff x="5068804" y="2218628"/>
              <a:chExt cx="1263850" cy="1131337"/>
            </a:xfrm>
          </p:grpSpPr>
          <p:sp>
            <p:nvSpPr>
              <p:cNvPr id="812" name="Rectangle 811">
                <a:extLst>
                  <a:ext uri="{FF2B5EF4-FFF2-40B4-BE49-F238E27FC236}">
                    <a16:creationId xmlns:a16="http://schemas.microsoft.com/office/drawing/2014/main" id="{A19464D6-C105-C666-5D01-0DBFDEB4B806}"/>
                  </a:ext>
                </a:extLst>
              </p:cNvPr>
              <p:cNvSpPr/>
              <p:nvPr/>
            </p:nvSpPr>
            <p:spPr>
              <a:xfrm>
                <a:off x="5068804" y="2218628"/>
                <a:ext cx="1263850" cy="1131337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accent2">
                    <a:lumMod val="75000"/>
                    <a:alpha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274320" rtlCol="0" anchor="ctr"/>
              <a:lstStyle/>
              <a:p>
                <a:pPr algn="ctr"/>
                <a:r>
                  <a:rPr lang="en-CA" sz="1050" b="1" dirty="0">
                    <a:solidFill>
                      <a:schemeClr val="accent2"/>
                    </a:solidFill>
                  </a:rPr>
                  <a:t>Hydromet</a:t>
                </a:r>
              </a:p>
              <a:p>
                <a:pPr algn="ctr"/>
                <a:r>
                  <a:rPr lang="en-CA" sz="1050" b="1" dirty="0">
                    <a:solidFill>
                      <a:schemeClr val="accent2"/>
                    </a:solidFill>
                  </a:rPr>
                  <a:t>Refining</a:t>
                </a:r>
              </a:p>
            </p:txBody>
          </p:sp>
          <p:pic>
            <p:nvPicPr>
              <p:cNvPr id="813" name="Picture 812" descr="A picture containing tableware, object, plate, clock&#10;&#10;Description automatically generated">
                <a:extLst>
                  <a:ext uri="{FF2B5EF4-FFF2-40B4-BE49-F238E27FC236}">
                    <a16:creationId xmlns:a16="http://schemas.microsoft.com/office/drawing/2014/main" id="{DE4871CF-859F-FB94-09FE-D7B0E15C8F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23027" y="2225364"/>
                <a:ext cx="1167785" cy="363591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811" name="Rectangle 810">
              <a:extLst>
                <a:ext uri="{FF2B5EF4-FFF2-40B4-BE49-F238E27FC236}">
                  <a16:creationId xmlns:a16="http://schemas.microsoft.com/office/drawing/2014/main" id="{97B22219-AB13-56A6-7716-FE9A46D18B07}"/>
                </a:ext>
              </a:extLst>
            </p:cNvPr>
            <p:cNvSpPr/>
            <p:nvPr/>
          </p:nvSpPr>
          <p:spPr>
            <a:xfrm>
              <a:off x="5189604" y="2823959"/>
              <a:ext cx="1031593" cy="4746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ystallization process</a:t>
              </a:r>
            </a:p>
          </p:txBody>
        </p:sp>
      </p:grp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573956BA-C5FB-DE0D-F1BF-0B1CD1AA2A0F}"/>
              </a:ext>
            </a:extLst>
          </p:cNvPr>
          <p:cNvCxnSpPr>
            <a:stCxn id="852" idx="3"/>
            <a:endCxn id="812" idx="1"/>
          </p:cNvCxnSpPr>
          <p:nvPr/>
        </p:nvCxnSpPr>
        <p:spPr>
          <a:xfrm flipV="1">
            <a:off x="6123791" y="3528837"/>
            <a:ext cx="784107" cy="1170639"/>
          </a:xfrm>
          <a:prstGeom prst="bentConnector3">
            <a:avLst>
              <a:gd name="adj1" fmla="val 50001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8" name="Connector: Elbow 807">
            <a:extLst>
              <a:ext uri="{FF2B5EF4-FFF2-40B4-BE49-F238E27FC236}">
                <a16:creationId xmlns:a16="http://schemas.microsoft.com/office/drawing/2014/main" id="{93BEFF05-7FB6-B5F9-806B-0A7FDF7D3724}"/>
              </a:ext>
            </a:extLst>
          </p:cNvPr>
          <p:cNvCxnSpPr>
            <a:cxnSpLocks/>
            <a:stCxn id="812" idx="3"/>
            <a:endCxn id="761" idx="0"/>
          </p:cNvCxnSpPr>
          <p:nvPr/>
        </p:nvCxnSpPr>
        <p:spPr>
          <a:xfrm>
            <a:off x="8521231" y="3528837"/>
            <a:ext cx="993583" cy="905312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CDD6AB79-2C67-6B4C-53F2-0D019DE345B6}"/>
              </a:ext>
            </a:extLst>
          </p:cNvPr>
          <p:cNvSpPr/>
          <p:nvPr/>
        </p:nvSpPr>
        <p:spPr>
          <a:xfrm>
            <a:off x="1844471" y="3684840"/>
            <a:ext cx="4304525" cy="2033204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39" name="Group 738">
            <a:extLst>
              <a:ext uri="{FF2B5EF4-FFF2-40B4-BE49-F238E27FC236}">
                <a16:creationId xmlns:a16="http://schemas.microsoft.com/office/drawing/2014/main" id="{554BC652-50DA-38F6-789D-BD634A904C8C}"/>
              </a:ext>
            </a:extLst>
          </p:cNvPr>
          <p:cNvGrpSpPr/>
          <p:nvPr/>
        </p:nvGrpSpPr>
        <p:grpSpPr>
          <a:xfrm>
            <a:off x="5156611" y="4551712"/>
            <a:ext cx="967180" cy="295527"/>
            <a:chOff x="3861285" y="3662368"/>
            <a:chExt cx="753063" cy="231081"/>
          </a:xfrm>
        </p:grpSpPr>
        <p:sp>
          <p:nvSpPr>
            <p:cNvPr id="852" name="Rectangle 851">
              <a:extLst>
                <a:ext uri="{FF2B5EF4-FFF2-40B4-BE49-F238E27FC236}">
                  <a16:creationId xmlns:a16="http://schemas.microsoft.com/office/drawing/2014/main" id="{2DB2CCD9-2AD0-E544-99F2-5DC709E7FBEF}"/>
                </a:ext>
              </a:extLst>
            </p:cNvPr>
            <p:cNvSpPr/>
            <p:nvPr/>
          </p:nvSpPr>
          <p:spPr>
            <a:xfrm>
              <a:off x="3861285" y="3662368"/>
              <a:ext cx="753063" cy="2310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tte</a:t>
              </a:r>
            </a:p>
          </p:txBody>
        </p:sp>
        <p:sp>
          <p:nvSpPr>
            <p:cNvPr id="853" name="Rectangle 852">
              <a:extLst>
                <a:ext uri="{FF2B5EF4-FFF2-40B4-BE49-F238E27FC236}">
                  <a16:creationId xmlns:a16="http://schemas.microsoft.com/office/drawing/2014/main" id="{9E23AF72-2167-519D-326D-BD917DBCE52A}"/>
                </a:ext>
              </a:extLst>
            </p:cNvPr>
            <p:cNvSpPr/>
            <p:nvPr/>
          </p:nvSpPr>
          <p:spPr>
            <a:xfrm>
              <a:off x="4491716" y="3770637"/>
              <a:ext cx="120656" cy="1143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98" name="Rectangle 797">
            <a:extLst>
              <a:ext uri="{FF2B5EF4-FFF2-40B4-BE49-F238E27FC236}">
                <a16:creationId xmlns:a16="http://schemas.microsoft.com/office/drawing/2014/main" id="{F00C4B61-F717-A110-8318-1EF34B94F84F}"/>
              </a:ext>
            </a:extLst>
          </p:cNvPr>
          <p:cNvSpPr/>
          <p:nvPr/>
        </p:nvSpPr>
        <p:spPr>
          <a:xfrm>
            <a:off x="5156611" y="3790472"/>
            <a:ext cx="967180" cy="2955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y</a:t>
            </a:r>
          </a:p>
        </p:txBody>
      </p:sp>
      <p:cxnSp>
        <p:nvCxnSpPr>
          <p:cNvPr id="1051" name="Connector: Elbow 1050">
            <a:extLst>
              <a:ext uri="{FF2B5EF4-FFF2-40B4-BE49-F238E27FC236}">
                <a16:creationId xmlns:a16="http://schemas.microsoft.com/office/drawing/2014/main" id="{1A141405-0DC5-9338-294E-C897955C0AE0}"/>
              </a:ext>
            </a:extLst>
          </p:cNvPr>
          <p:cNvCxnSpPr>
            <a:stCxn id="727" idx="3"/>
            <a:endCxn id="812" idx="1"/>
          </p:cNvCxnSpPr>
          <p:nvPr/>
        </p:nvCxnSpPr>
        <p:spPr>
          <a:xfrm flipV="1">
            <a:off x="1603747" y="3528837"/>
            <a:ext cx="5304152" cy="409830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5" name="Connector: Elbow 804">
            <a:extLst>
              <a:ext uri="{FF2B5EF4-FFF2-40B4-BE49-F238E27FC236}">
                <a16:creationId xmlns:a16="http://schemas.microsoft.com/office/drawing/2014/main" id="{B389A75A-5E38-104E-CAC6-507E5D7C02BF}"/>
              </a:ext>
            </a:extLst>
          </p:cNvPr>
          <p:cNvCxnSpPr>
            <a:cxnSpLocks/>
            <a:stCxn id="784" idx="3"/>
            <a:endCxn id="812" idx="1"/>
          </p:cNvCxnSpPr>
          <p:nvPr/>
        </p:nvCxnSpPr>
        <p:spPr>
          <a:xfrm flipV="1">
            <a:off x="2928747" y="3528837"/>
            <a:ext cx="3979151" cy="790006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1" name="Rectangle 760">
            <a:extLst>
              <a:ext uri="{FF2B5EF4-FFF2-40B4-BE49-F238E27FC236}">
                <a16:creationId xmlns:a16="http://schemas.microsoft.com/office/drawing/2014/main" id="{FF58F497-0D39-4F7D-210B-DE890A7C73C0}"/>
              </a:ext>
            </a:extLst>
          </p:cNvPr>
          <p:cNvSpPr/>
          <p:nvPr/>
        </p:nvSpPr>
        <p:spPr>
          <a:xfrm>
            <a:off x="8830181" y="4434149"/>
            <a:ext cx="1369265" cy="313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G sulphate</a:t>
            </a:r>
          </a:p>
        </p:txBody>
      </p:sp>
      <p:sp>
        <p:nvSpPr>
          <p:cNvPr id="706" name="Rectangle 705">
            <a:extLst>
              <a:ext uri="{FF2B5EF4-FFF2-40B4-BE49-F238E27FC236}">
                <a16:creationId xmlns:a16="http://schemas.microsoft.com/office/drawing/2014/main" id="{BACACE33-D620-4E44-C548-4B915F14B3E5}"/>
              </a:ext>
            </a:extLst>
          </p:cNvPr>
          <p:cNvSpPr/>
          <p:nvPr/>
        </p:nvSpPr>
        <p:spPr>
          <a:xfrm>
            <a:off x="1850359" y="4641263"/>
            <a:ext cx="1078388" cy="93316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UG mining,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Crushing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Grinding,</a:t>
            </a:r>
          </a:p>
          <a:p>
            <a:pPr algn="ctr"/>
            <a:r>
              <a:rPr lang="en-CA" sz="900" dirty="0">
                <a:solidFill>
                  <a:schemeClr val="accent2"/>
                </a:solidFill>
              </a:rPr>
              <a:t>Flotation</a:t>
            </a:r>
          </a:p>
        </p:txBody>
      </p:sp>
      <p:cxnSp>
        <p:nvCxnSpPr>
          <p:cNvPr id="897" name="Straight Arrow Connector 896">
            <a:extLst>
              <a:ext uri="{FF2B5EF4-FFF2-40B4-BE49-F238E27FC236}">
                <a16:creationId xmlns:a16="http://schemas.microsoft.com/office/drawing/2014/main" id="{B61E1CA7-730D-4F58-D005-15C074197998}"/>
              </a:ext>
            </a:extLst>
          </p:cNvPr>
          <p:cNvCxnSpPr/>
          <p:nvPr/>
        </p:nvCxnSpPr>
        <p:spPr>
          <a:xfrm flipV="1">
            <a:off x="2389553" y="4466606"/>
            <a:ext cx="6294" cy="174657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headEnd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4" name="Rectangle 783">
            <a:extLst>
              <a:ext uri="{FF2B5EF4-FFF2-40B4-BE49-F238E27FC236}">
                <a16:creationId xmlns:a16="http://schemas.microsoft.com/office/drawing/2014/main" id="{DD7DEE4A-498A-8E40-3792-E4FFD417873B}"/>
              </a:ext>
            </a:extLst>
          </p:cNvPr>
          <p:cNvSpPr/>
          <p:nvPr/>
        </p:nvSpPr>
        <p:spPr>
          <a:xfrm>
            <a:off x="1850359" y="4171080"/>
            <a:ext cx="1078388" cy="29552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ntrates</a:t>
            </a:r>
          </a:p>
        </p:txBody>
      </p:sp>
      <p:cxnSp>
        <p:nvCxnSpPr>
          <p:cNvPr id="1033" name="Straight Arrow Connector 1032">
            <a:extLst>
              <a:ext uri="{FF2B5EF4-FFF2-40B4-BE49-F238E27FC236}">
                <a16:creationId xmlns:a16="http://schemas.microsoft.com/office/drawing/2014/main" id="{B2AF7B67-6A35-EE2B-D866-DC26153B9AD2}"/>
              </a:ext>
            </a:extLst>
          </p:cNvPr>
          <p:cNvCxnSpPr>
            <a:cxnSpLocks/>
            <a:stCxn id="761" idx="2"/>
            <a:endCxn id="11" idx="0"/>
          </p:cNvCxnSpPr>
          <p:nvPr/>
        </p:nvCxnSpPr>
        <p:spPr>
          <a:xfrm>
            <a:off x="9514814" y="4747324"/>
            <a:ext cx="0" cy="168695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EF4FEBD2-E08C-A55B-E8B9-0E9B72CC6F1F}"/>
              </a:ext>
            </a:extLst>
          </p:cNvPr>
          <p:cNvSpPr/>
          <p:nvPr/>
        </p:nvSpPr>
        <p:spPr>
          <a:xfrm>
            <a:off x="1727373" y="1134110"/>
            <a:ext cx="1402459" cy="412734"/>
          </a:xfrm>
          <a:prstGeom prst="chevron">
            <a:avLst>
              <a:gd name="adj" fmla="val 24614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Mining &amp; Beneficiation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D119ED61-DE94-38BA-A265-F87E02A61195}"/>
              </a:ext>
            </a:extLst>
          </p:cNvPr>
          <p:cNvSpPr/>
          <p:nvPr/>
        </p:nvSpPr>
        <p:spPr>
          <a:xfrm>
            <a:off x="3126697" y="1134110"/>
            <a:ext cx="5248138" cy="412734"/>
          </a:xfrm>
          <a:prstGeom prst="chevron">
            <a:avLst>
              <a:gd name="adj" fmla="val 2846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1200" dirty="0">
                <a:solidFill>
                  <a:schemeClr val="bg1"/>
                </a:solidFill>
              </a:rPr>
              <a:t>Processing &amp; Smelting &amp; Refining</a:t>
            </a:r>
          </a:p>
        </p:txBody>
      </p:sp>
      <p:sp>
        <p:nvSpPr>
          <p:cNvPr id="33" name="Arrow: Chevron 32">
            <a:extLst>
              <a:ext uri="{FF2B5EF4-FFF2-40B4-BE49-F238E27FC236}">
                <a16:creationId xmlns:a16="http://schemas.microsoft.com/office/drawing/2014/main" id="{5B893A92-8B06-E1C5-F444-B2275F7044E6}"/>
              </a:ext>
            </a:extLst>
          </p:cNvPr>
          <p:cNvSpPr/>
          <p:nvPr/>
        </p:nvSpPr>
        <p:spPr>
          <a:xfrm>
            <a:off x="8371699" y="1134110"/>
            <a:ext cx="1975130" cy="412734"/>
          </a:xfrm>
          <a:prstGeom prst="chevron">
            <a:avLst>
              <a:gd name="adj" fmla="val 2230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First Use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34" name="Arrow: Pentagon 33">
            <a:extLst>
              <a:ext uri="{FF2B5EF4-FFF2-40B4-BE49-F238E27FC236}">
                <a16:creationId xmlns:a16="http://schemas.microsoft.com/office/drawing/2014/main" id="{7D979B9E-C4BC-08C3-1FC1-4D1D388A359E}"/>
              </a:ext>
            </a:extLst>
          </p:cNvPr>
          <p:cNvSpPr/>
          <p:nvPr/>
        </p:nvSpPr>
        <p:spPr>
          <a:xfrm>
            <a:off x="490734" y="1134110"/>
            <a:ext cx="1239774" cy="412734"/>
          </a:xfrm>
          <a:prstGeom prst="homePlate">
            <a:avLst>
              <a:gd name="adj" fmla="val 19845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Ores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35" name="Arrow: Chevron 34">
            <a:extLst>
              <a:ext uri="{FF2B5EF4-FFF2-40B4-BE49-F238E27FC236}">
                <a16:creationId xmlns:a16="http://schemas.microsoft.com/office/drawing/2014/main" id="{96785125-BB56-8E41-F177-CEB65594FBB4}"/>
              </a:ext>
            </a:extLst>
          </p:cNvPr>
          <p:cNvSpPr/>
          <p:nvPr/>
        </p:nvSpPr>
        <p:spPr>
          <a:xfrm>
            <a:off x="10343693" y="1134110"/>
            <a:ext cx="1405284" cy="412734"/>
          </a:xfrm>
          <a:prstGeom prst="chevron">
            <a:avLst>
              <a:gd name="adj" fmla="val 2423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nd Use</a:t>
            </a:r>
            <a:endParaRPr lang="en-CA" sz="1200" dirty="0">
              <a:solidFill>
                <a:schemeClr val="bg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B9600C3-6B78-2152-2741-0B3C024CD2A6}"/>
              </a:ext>
            </a:extLst>
          </p:cNvPr>
          <p:cNvGrpSpPr/>
          <p:nvPr/>
        </p:nvGrpSpPr>
        <p:grpSpPr>
          <a:xfrm>
            <a:off x="1333278" y="5931174"/>
            <a:ext cx="9151885" cy="169277"/>
            <a:chOff x="1269778" y="6148410"/>
            <a:chExt cx="9151885" cy="16927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5450647-7FC0-C91E-7202-4EE91CDFC4B6}"/>
                </a:ext>
              </a:extLst>
            </p:cNvPr>
            <p:cNvSpPr/>
            <p:nvPr/>
          </p:nvSpPr>
          <p:spPr>
            <a:xfrm>
              <a:off x="9070724" y="6158636"/>
              <a:ext cx="290504" cy="14882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2">
                  <a:lumMod val="75000"/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441178A-0E67-792B-AEC0-09A52A1F1F0F}"/>
                </a:ext>
              </a:extLst>
            </p:cNvPr>
            <p:cNvSpPr/>
            <p:nvPr/>
          </p:nvSpPr>
          <p:spPr>
            <a:xfrm>
              <a:off x="4661064" y="6158636"/>
              <a:ext cx="290504" cy="1488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8F34E4C-3561-33EC-C34F-2FC6D335757F}"/>
                </a:ext>
              </a:extLst>
            </p:cNvPr>
            <p:cNvSpPr/>
            <p:nvPr/>
          </p:nvSpPr>
          <p:spPr>
            <a:xfrm>
              <a:off x="2895690" y="6158636"/>
              <a:ext cx="290504" cy="1488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5DAF5C3-42F7-EAFF-8141-36330BAF7ADE}"/>
                </a:ext>
              </a:extLst>
            </p:cNvPr>
            <p:cNvSpPr/>
            <p:nvPr/>
          </p:nvSpPr>
          <p:spPr>
            <a:xfrm>
              <a:off x="6113852" y="6158636"/>
              <a:ext cx="290504" cy="148824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A0A1BAC-1A6B-94D7-8FDD-805A70607421}"/>
                </a:ext>
              </a:extLst>
            </p:cNvPr>
            <p:cNvSpPr txBox="1"/>
            <p:nvPr/>
          </p:nvSpPr>
          <p:spPr>
            <a:xfrm>
              <a:off x="3243154" y="6148410"/>
              <a:ext cx="1360950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Intermediate product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8B5BE8D-E4CA-6CB5-E701-A4B06AFAFA62}"/>
                </a:ext>
              </a:extLst>
            </p:cNvPr>
            <p:cNvSpPr txBox="1"/>
            <p:nvPr/>
          </p:nvSpPr>
          <p:spPr>
            <a:xfrm>
              <a:off x="9418183" y="6148410"/>
              <a:ext cx="1003480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Processing step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BB28CE7-6AD1-9CB7-C256-190BE9BCAA51}"/>
                </a:ext>
              </a:extLst>
            </p:cNvPr>
            <p:cNvSpPr txBox="1"/>
            <p:nvPr/>
          </p:nvSpPr>
          <p:spPr>
            <a:xfrm>
              <a:off x="5008528" y="6148410"/>
              <a:ext cx="1048364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First use product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4F7AF80-3E8A-806C-5435-04D6B396CE99}"/>
                </a:ext>
              </a:extLst>
            </p:cNvPr>
            <p:cNvSpPr txBox="1"/>
            <p:nvPr/>
          </p:nvSpPr>
          <p:spPr>
            <a:xfrm>
              <a:off x="6461316" y="6148410"/>
              <a:ext cx="1025922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End use product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F53D81C-9EB3-C099-CF24-B369A9FD9711}"/>
                </a:ext>
              </a:extLst>
            </p:cNvPr>
            <p:cNvSpPr/>
            <p:nvPr/>
          </p:nvSpPr>
          <p:spPr>
            <a:xfrm>
              <a:off x="1269778" y="6158636"/>
              <a:ext cx="290504" cy="14882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16EC541-0B6B-527D-C432-DA232F6E291F}"/>
                </a:ext>
              </a:extLst>
            </p:cNvPr>
            <p:cNvSpPr txBox="1"/>
            <p:nvPr/>
          </p:nvSpPr>
          <p:spPr>
            <a:xfrm>
              <a:off x="1617242" y="6148410"/>
              <a:ext cx="1221488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Natural occurrence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A78065D-AB8D-C9FA-3F78-27F8CC00DFD7}"/>
                </a:ext>
              </a:extLst>
            </p:cNvPr>
            <p:cNvSpPr/>
            <p:nvPr/>
          </p:nvSpPr>
          <p:spPr>
            <a:xfrm>
              <a:off x="7544198" y="6158636"/>
              <a:ext cx="290504" cy="14882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960" name="TextBox 959">
              <a:extLst>
                <a:ext uri="{FF2B5EF4-FFF2-40B4-BE49-F238E27FC236}">
                  <a16:creationId xmlns:a16="http://schemas.microsoft.com/office/drawing/2014/main" id="{2B850B38-D771-B102-0744-FCDCB8770996}"/>
                </a:ext>
              </a:extLst>
            </p:cNvPr>
            <p:cNvSpPr txBox="1"/>
            <p:nvPr/>
          </p:nvSpPr>
          <p:spPr>
            <a:xfrm>
              <a:off x="7891662" y="6148410"/>
              <a:ext cx="1122102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Recycling product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0F44194-7B38-87B0-B2E6-2CC2C89B5BA7}"/>
              </a:ext>
            </a:extLst>
          </p:cNvPr>
          <p:cNvSpPr/>
          <p:nvPr/>
        </p:nvSpPr>
        <p:spPr>
          <a:xfrm>
            <a:off x="8546874" y="1584123"/>
            <a:ext cx="3299663" cy="3207642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51">
            <a:extLst>
              <a:ext uri="{FF2B5EF4-FFF2-40B4-BE49-F238E27FC236}">
                <a16:creationId xmlns:a16="http://schemas.microsoft.com/office/drawing/2014/main" id="{A007F663-5998-1E26-ED79-FB9A5B7478D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87257" y="6281221"/>
            <a:ext cx="6674845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/>
          <a:lstStyle/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Source  Hatch</a:t>
            </a:r>
          </a:p>
        </p:txBody>
      </p:sp>
    </p:spTree>
    <p:extLst>
      <p:ext uri="{BB962C8B-B14F-4D97-AF65-F5344CB8AC3E}">
        <p14:creationId xmlns:p14="http://schemas.microsoft.com/office/powerpoint/2010/main" val="37315028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9208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re is an opportunity to simplify the Lithium flowsheet and encourage local beneficiation</a:t>
            </a:r>
            <a:endParaRPr lang="en-ZA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D612CA-9BDF-F7C5-EE61-518EBBD77AB7}"/>
              </a:ext>
            </a:extLst>
          </p:cNvPr>
          <p:cNvSpPr/>
          <p:nvPr/>
        </p:nvSpPr>
        <p:spPr>
          <a:xfrm>
            <a:off x="480398" y="1696710"/>
            <a:ext cx="1371600" cy="6109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Pegmatite/Granit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80F211-1982-DABC-B3C7-4E2B3A5317CD}"/>
              </a:ext>
            </a:extLst>
          </p:cNvPr>
          <p:cNvSpPr/>
          <p:nvPr/>
        </p:nvSpPr>
        <p:spPr>
          <a:xfrm>
            <a:off x="480398" y="2546448"/>
            <a:ext cx="1371600" cy="6109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Prospecting in hard </a:t>
            </a:r>
            <a:br>
              <a:rPr lang="en-US" sz="900" dirty="0">
                <a:solidFill>
                  <a:schemeClr val="accent2"/>
                </a:solidFill>
              </a:rPr>
            </a:br>
            <a:r>
              <a:rPr lang="en-US" sz="900" dirty="0">
                <a:solidFill>
                  <a:schemeClr val="accent2"/>
                </a:solidFill>
              </a:rPr>
              <a:t>rock areas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0D92312-EC0C-77B5-3A05-B7FE8F6E9608}"/>
              </a:ext>
            </a:extLst>
          </p:cNvPr>
          <p:cNvSpPr/>
          <p:nvPr/>
        </p:nvSpPr>
        <p:spPr>
          <a:xfrm>
            <a:off x="2149606" y="2291855"/>
            <a:ext cx="1371600" cy="11201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0" rtlCol="0" anchor="t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Minerals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97D4D9A-E058-BE70-4928-66EAA75E61AF}"/>
              </a:ext>
            </a:extLst>
          </p:cNvPr>
          <p:cNvSpPr/>
          <p:nvPr/>
        </p:nvSpPr>
        <p:spPr>
          <a:xfrm>
            <a:off x="2199465" y="2538399"/>
            <a:ext cx="1279525" cy="2094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Spodumen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E7F317-BA61-8F5A-7B57-E6727372023E}"/>
              </a:ext>
            </a:extLst>
          </p:cNvPr>
          <p:cNvSpPr/>
          <p:nvPr/>
        </p:nvSpPr>
        <p:spPr>
          <a:xfrm>
            <a:off x="2199465" y="2809286"/>
            <a:ext cx="1279525" cy="2094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Petalit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19BFD89-B12D-D570-FB0D-14F28F97AA37}"/>
              </a:ext>
            </a:extLst>
          </p:cNvPr>
          <p:cNvSpPr/>
          <p:nvPr/>
        </p:nvSpPr>
        <p:spPr>
          <a:xfrm>
            <a:off x="2199464" y="3080173"/>
            <a:ext cx="1279525" cy="2094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Lepidolit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B104827-3604-C195-53FA-B82E6661FE3A}"/>
              </a:ext>
            </a:extLst>
          </p:cNvPr>
          <p:cNvSpPr/>
          <p:nvPr/>
        </p:nvSpPr>
        <p:spPr>
          <a:xfrm>
            <a:off x="4277725" y="1748099"/>
            <a:ext cx="1582474" cy="1999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2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3152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Crushing milling concentration</a:t>
            </a:r>
          </a:p>
          <a:p>
            <a:pPr algn="ctr"/>
            <a:r>
              <a:rPr lang="en-US" sz="900" dirty="0">
                <a:solidFill>
                  <a:schemeClr val="accent2"/>
                </a:solidFill>
              </a:rPr>
              <a:t>Calcination roasting</a:t>
            </a:r>
          </a:p>
          <a:p>
            <a:pPr algn="ctr"/>
            <a:r>
              <a:rPr lang="en-US" sz="900" dirty="0">
                <a:solidFill>
                  <a:schemeClr val="accent2"/>
                </a:solidFill>
              </a:rPr>
              <a:t>Leaching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1147EF-0C68-6316-66DF-2FA7E371E7E1}"/>
              </a:ext>
            </a:extLst>
          </p:cNvPr>
          <p:cNvSpPr/>
          <p:nvPr/>
        </p:nvSpPr>
        <p:spPr>
          <a:xfrm>
            <a:off x="4308605" y="2996968"/>
            <a:ext cx="1513037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Technical grade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3458AB-9B30-C498-2E36-64B26C947D5B}"/>
              </a:ext>
            </a:extLst>
          </p:cNvPr>
          <p:cNvSpPr/>
          <p:nvPr/>
        </p:nvSpPr>
        <p:spPr>
          <a:xfrm>
            <a:off x="4308605" y="3372309"/>
            <a:ext cx="1513037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Chemical grade</a:t>
            </a:r>
            <a:endParaRPr lang="en-CA" sz="900" dirty="0">
              <a:solidFill>
                <a:schemeClr val="bg1"/>
              </a:solidFill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0CF7600-5630-D651-089A-7E85742186F1}"/>
              </a:ext>
            </a:extLst>
          </p:cNvPr>
          <p:cNvCxnSpPr>
            <a:stCxn id="16" idx="2"/>
            <a:endCxn id="17" idx="0"/>
          </p:cNvCxnSpPr>
          <p:nvPr/>
        </p:nvCxnSpPr>
        <p:spPr>
          <a:xfrm>
            <a:off x="1166198" y="2307634"/>
            <a:ext cx="0" cy="238814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E0A5AE3-2D9F-A2F2-F2B5-FCB1A1B947E4}"/>
              </a:ext>
            </a:extLst>
          </p:cNvPr>
          <p:cNvCxnSpPr>
            <a:stCxn id="17" idx="3"/>
            <a:endCxn id="18" idx="1"/>
          </p:cNvCxnSpPr>
          <p:nvPr/>
        </p:nvCxnSpPr>
        <p:spPr>
          <a:xfrm>
            <a:off x="1851998" y="2851910"/>
            <a:ext cx="297608" cy="0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1" name="Rectangle 730">
            <a:extLst>
              <a:ext uri="{FF2B5EF4-FFF2-40B4-BE49-F238E27FC236}">
                <a16:creationId xmlns:a16="http://schemas.microsoft.com/office/drawing/2014/main" id="{8210A392-14CB-6911-E99F-DD0954F3F564}"/>
              </a:ext>
            </a:extLst>
          </p:cNvPr>
          <p:cNvSpPr/>
          <p:nvPr/>
        </p:nvSpPr>
        <p:spPr>
          <a:xfrm>
            <a:off x="6777034" y="1747927"/>
            <a:ext cx="1623412" cy="124192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0" rtlCol="0" anchor="t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Lithium hydroxide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735" name="Rectangle 734">
            <a:extLst>
              <a:ext uri="{FF2B5EF4-FFF2-40B4-BE49-F238E27FC236}">
                <a16:creationId xmlns:a16="http://schemas.microsoft.com/office/drawing/2014/main" id="{F8292D56-05A0-3C1C-87F0-666A547757F2}"/>
              </a:ext>
            </a:extLst>
          </p:cNvPr>
          <p:cNvSpPr/>
          <p:nvPr/>
        </p:nvSpPr>
        <p:spPr>
          <a:xfrm>
            <a:off x="6777034" y="3072940"/>
            <a:ext cx="1623412" cy="156704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0" rtlCol="0" anchor="t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Lithium carbonatite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736" name="Rectangle 735">
            <a:extLst>
              <a:ext uri="{FF2B5EF4-FFF2-40B4-BE49-F238E27FC236}">
                <a16:creationId xmlns:a16="http://schemas.microsoft.com/office/drawing/2014/main" id="{4F986E77-9835-3334-FF3F-C2D8A6063314}"/>
              </a:ext>
            </a:extLst>
          </p:cNvPr>
          <p:cNvSpPr/>
          <p:nvPr/>
        </p:nvSpPr>
        <p:spPr>
          <a:xfrm>
            <a:off x="6777034" y="4723067"/>
            <a:ext cx="1623412" cy="84282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0" rtlCol="0" anchor="t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Lithium chloride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738" name="Rectangle 737">
            <a:extLst>
              <a:ext uri="{FF2B5EF4-FFF2-40B4-BE49-F238E27FC236}">
                <a16:creationId xmlns:a16="http://schemas.microsoft.com/office/drawing/2014/main" id="{A80F5E85-BE0C-28CC-D0FA-3D43A82D48E6}"/>
              </a:ext>
            </a:extLst>
          </p:cNvPr>
          <p:cNvSpPr/>
          <p:nvPr/>
        </p:nvSpPr>
        <p:spPr>
          <a:xfrm>
            <a:off x="6884480" y="3332176"/>
            <a:ext cx="1408519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Technical grade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739" name="Rectangle 738">
            <a:extLst>
              <a:ext uri="{FF2B5EF4-FFF2-40B4-BE49-F238E27FC236}">
                <a16:creationId xmlns:a16="http://schemas.microsoft.com/office/drawing/2014/main" id="{909E00D0-4337-C6D9-D4C1-92C310C2E650}"/>
              </a:ext>
            </a:extLst>
          </p:cNvPr>
          <p:cNvSpPr/>
          <p:nvPr/>
        </p:nvSpPr>
        <p:spPr>
          <a:xfrm>
            <a:off x="6884480" y="3645829"/>
            <a:ext cx="1408519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Industrial grade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740" name="Rectangle 739">
            <a:extLst>
              <a:ext uri="{FF2B5EF4-FFF2-40B4-BE49-F238E27FC236}">
                <a16:creationId xmlns:a16="http://schemas.microsoft.com/office/drawing/2014/main" id="{7D73FB8D-F4BF-D714-DFD7-55EBD9B97B61}"/>
              </a:ext>
            </a:extLst>
          </p:cNvPr>
          <p:cNvSpPr/>
          <p:nvPr/>
        </p:nvSpPr>
        <p:spPr>
          <a:xfrm>
            <a:off x="6884480" y="3959483"/>
            <a:ext cx="1408519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High purity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741" name="Rectangle 740">
            <a:extLst>
              <a:ext uri="{FF2B5EF4-FFF2-40B4-BE49-F238E27FC236}">
                <a16:creationId xmlns:a16="http://schemas.microsoft.com/office/drawing/2014/main" id="{3B380FCF-CB5D-1523-3EA8-2C6021FA8216}"/>
              </a:ext>
            </a:extLst>
          </p:cNvPr>
          <p:cNvSpPr/>
          <p:nvPr/>
        </p:nvSpPr>
        <p:spPr>
          <a:xfrm>
            <a:off x="6884480" y="4273137"/>
            <a:ext cx="1408519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Battery grade</a:t>
            </a:r>
          </a:p>
        </p:txBody>
      </p:sp>
      <p:sp>
        <p:nvSpPr>
          <p:cNvPr id="742" name="Rectangle 741">
            <a:extLst>
              <a:ext uri="{FF2B5EF4-FFF2-40B4-BE49-F238E27FC236}">
                <a16:creationId xmlns:a16="http://schemas.microsoft.com/office/drawing/2014/main" id="{842F9814-F53C-C72D-AD15-82D09425A9EC}"/>
              </a:ext>
            </a:extLst>
          </p:cNvPr>
          <p:cNvSpPr/>
          <p:nvPr/>
        </p:nvSpPr>
        <p:spPr>
          <a:xfrm>
            <a:off x="6884480" y="4944493"/>
            <a:ext cx="1408519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Na ↓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743" name="Rectangle 742">
            <a:extLst>
              <a:ext uri="{FF2B5EF4-FFF2-40B4-BE49-F238E27FC236}">
                <a16:creationId xmlns:a16="http://schemas.microsoft.com/office/drawing/2014/main" id="{F803ED37-3907-5961-29E0-9FB4AFC0BD87}"/>
              </a:ext>
            </a:extLst>
          </p:cNvPr>
          <p:cNvSpPr/>
          <p:nvPr/>
        </p:nvSpPr>
        <p:spPr>
          <a:xfrm>
            <a:off x="6884480" y="5249433"/>
            <a:ext cx="1408519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Na ↑</a:t>
            </a:r>
            <a:endParaRPr lang="en-CA" sz="900" dirty="0">
              <a:solidFill>
                <a:schemeClr val="bg1"/>
              </a:solidFill>
            </a:endParaRPr>
          </a:p>
        </p:txBody>
      </p:sp>
      <p:cxnSp>
        <p:nvCxnSpPr>
          <p:cNvPr id="747" name="Connector: Elbow 746">
            <a:extLst>
              <a:ext uri="{FF2B5EF4-FFF2-40B4-BE49-F238E27FC236}">
                <a16:creationId xmlns:a16="http://schemas.microsoft.com/office/drawing/2014/main" id="{2CB9C189-6BCE-768E-C7B4-ECBBCD6CE1A8}"/>
              </a:ext>
            </a:extLst>
          </p:cNvPr>
          <p:cNvCxnSpPr>
            <a:stCxn id="15" idx="3"/>
            <a:endCxn id="731" idx="1"/>
          </p:cNvCxnSpPr>
          <p:nvPr/>
        </p:nvCxnSpPr>
        <p:spPr>
          <a:xfrm flipV="1">
            <a:off x="5821642" y="2368890"/>
            <a:ext cx="955392" cy="774995"/>
          </a:xfrm>
          <a:prstGeom prst="bentConnector3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9" name="Connector: Elbow 748">
            <a:extLst>
              <a:ext uri="{FF2B5EF4-FFF2-40B4-BE49-F238E27FC236}">
                <a16:creationId xmlns:a16="http://schemas.microsoft.com/office/drawing/2014/main" id="{868E6B8F-B83D-815D-7BF0-38ACA10B367F}"/>
              </a:ext>
            </a:extLst>
          </p:cNvPr>
          <p:cNvCxnSpPr>
            <a:stCxn id="22" idx="3"/>
            <a:endCxn id="736" idx="1"/>
          </p:cNvCxnSpPr>
          <p:nvPr/>
        </p:nvCxnSpPr>
        <p:spPr>
          <a:xfrm>
            <a:off x="5821642" y="3519227"/>
            <a:ext cx="955392" cy="1625252"/>
          </a:xfrm>
          <a:prstGeom prst="bentConnector3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8" name="Rectangle 777">
            <a:extLst>
              <a:ext uri="{FF2B5EF4-FFF2-40B4-BE49-F238E27FC236}">
                <a16:creationId xmlns:a16="http://schemas.microsoft.com/office/drawing/2014/main" id="{FDB1CCB8-477A-21BF-E1A8-BB39656A5F4F}"/>
              </a:ext>
            </a:extLst>
          </p:cNvPr>
          <p:cNvSpPr/>
          <p:nvPr/>
        </p:nvSpPr>
        <p:spPr>
          <a:xfrm>
            <a:off x="8693227" y="1720671"/>
            <a:ext cx="1623412" cy="999948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0" rtlCol="0" anchor="t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Lithium hydroxid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779" name="Rectangle 778">
            <a:extLst>
              <a:ext uri="{FF2B5EF4-FFF2-40B4-BE49-F238E27FC236}">
                <a16:creationId xmlns:a16="http://schemas.microsoft.com/office/drawing/2014/main" id="{ABC82B8D-618E-3A3A-EC44-51604202584C}"/>
              </a:ext>
            </a:extLst>
          </p:cNvPr>
          <p:cNvSpPr/>
          <p:nvPr/>
        </p:nvSpPr>
        <p:spPr>
          <a:xfrm>
            <a:off x="8788247" y="1918920"/>
            <a:ext cx="1449356" cy="220488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Coated</a:t>
            </a:r>
          </a:p>
        </p:txBody>
      </p:sp>
      <p:sp>
        <p:nvSpPr>
          <p:cNvPr id="780" name="Rectangle 779">
            <a:extLst>
              <a:ext uri="{FF2B5EF4-FFF2-40B4-BE49-F238E27FC236}">
                <a16:creationId xmlns:a16="http://schemas.microsoft.com/office/drawing/2014/main" id="{42F58746-2927-6DBF-D736-D7451CBCD6A0}"/>
              </a:ext>
            </a:extLst>
          </p:cNvPr>
          <p:cNvSpPr/>
          <p:nvPr/>
        </p:nvSpPr>
        <p:spPr>
          <a:xfrm>
            <a:off x="8788247" y="2180293"/>
            <a:ext cx="1449356" cy="220488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Wet</a:t>
            </a:r>
          </a:p>
        </p:txBody>
      </p:sp>
      <p:sp>
        <p:nvSpPr>
          <p:cNvPr id="781" name="Rectangle 780">
            <a:extLst>
              <a:ext uri="{FF2B5EF4-FFF2-40B4-BE49-F238E27FC236}">
                <a16:creationId xmlns:a16="http://schemas.microsoft.com/office/drawing/2014/main" id="{C4782BCB-FFFD-1518-CD7B-6C62FF741948}"/>
              </a:ext>
            </a:extLst>
          </p:cNvPr>
          <p:cNvSpPr/>
          <p:nvPr/>
        </p:nvSpPr>
        <p:spPr>
          <a:xfrm>
            <a:off x="8788247" y="2441667"/>
            <a:ext cx="1449356" cy="220488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Anhydrous</a:t>
            </a:r>
          </a:p>
        </p:txBody>
      </p:sp>
      <p:sp>
        <p:nvSpPr>
          <p:cNvPr id="788" name="Rectangle 787">
            <a:extLst>
              <a:ext uri="{FF2B5EF4-FFF2-40B4-BE49-F238E27FC236}">
                <a16:creationId xmlns:a16="http://schemas.microsoft.com/office/drawing/2014/main" id="{CD118B6A-A657-33B4-1614-11442529A610}"/>
              </a:ext>
            </a:extLst>
          </p:cNvPr>
          <p:cNvSpPr/>
          <p:nvPr/>
        </p:nvSpPr>
        <p:spPr>
          <a:xfrm>
            <a:off x="8698151" y="4247940"/>
            <a:ext cx="1623412" cy="3415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Lithium dihydrogen phosphate</a:t>
            </a:r>
            <a:endParaRPr lang="en-CA" sz="900" dirty="0">
              <a:solidFill>
                <a:schemeClr val="accent2"/>
              </a:solidFill>
            </a:endParaRPr>
          </a:p>
        </p:txBody>
      </p:sp>
      <p:sp>
        <p:nvSpPr>
          <p:cNvPr id="878" name="Rectangle 877">
            <a:extLst>
              <a:ext uri="{FF2B5EF4-FFF2-40B4-BE49-F238E27FC236}">
                <a16:creationId xmlns:a16="http://schemas.microsoft.com/office/drawing/2014/main" id="{07511049-7D1E-DC02-6144-9D288D5979CC}"/>
              </a:ext>
            </a:extLst>
          </p:cNvPr>
          <p:cNvSpPr/>
          <p:nvPr/>
        </p:nvSpPr>
        <p:spPr>
          <a:xfrm>
            <a:off x="8693227" y="4721628"/>
            <a:ext cx="1623412" cy="844262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0" rtlCol="0" anchor="t"/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Lithium metal</a:t>
            </a:r>
            <a:endParaRPr lang="en-CA" sz="900" dirty="0">
              <a:solidFill>
                <a:schemeClr val="accent2"/>
              </a:solidFill>
            </a:endParaRPr>
          </a:p>
        </p:txBody>
      </p:sp>
      <p:cxnSp>
        <p:nvCxnSpPr>
          <p:cNvPr id="887" name="Straight Arrow Connector 886">
            <a:extLst>
              <a:ext uri="{FF2B5EF4-FFF2-40B4-BE49-F238E27FC236}">
                <a16:creationId xmlns:a16="http://schemas.microsoft.com/office/drawing/2014/main" id="{EDA2B07F-8E44-537D-B2C8-2BC5ABBA51EE}"/>
              </a:ext>
            </a:extLst>
          </p:cNvPr>
          <p:cNvCxnSpPr>
            <a:cxnSpLocks/>
            <a:stCxn id="742" idx="3"/>
          </p:cNvCxnSpPr>
          <p:nvPr/>
        </p:nvCxnSpPr>
        <p:spPr>
          <a:xfrm flipV="1">
            <a:off x="8292999" y="5091410"/>
            <a:ext cx="489454" cy="1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9" name="Straight Arrow Connector 888">
            <a:extLst>
              <a:ext uri="{FF2B5EF4-FFF2-40B4-BE49-F238E27FC236}">
                <a16:creationId xmlns:a16="http://schemas.microsoft.com/office/drawing/2014/main" id="{A72A3AF9-5F85-B146-50AB-49271CEEDDF3}"/>
              </a:ext>
            </a:extLst>
          </p:cNvPr>
          <p:cNvCxnSpPr>
            <a:cxnSpLocks/>
            <a:stCxn id="743" idx="3"/>
          </p:cNvCxnSpPr>
          <p:nvPr/>
        </p:nvCxnSpPr>
        <p:spPr>
          <a:xfrm flipV="1">
            <a:off x="8292999" y="5396349"/>
            <a:ext cx="489853" cy="1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2" name="Rectangle 891">
            <a:extLst>
              <a:ext uri="{FF2B5EF4-FFF2-40B4-BE49-F238E27FC236}">
                <a16:creationId xmlns:a16="http://schemas.microsoft.com/office/drawing/2014/main" id="{B0A3042C-9D7A-874B-EE6B-CDC9EB352BAF}"/>
              </a:ext>
            </a:extLst>
          </p:cNvPr>
          <p:cNvSpPr/>
          <p:nvPr/>
        </p:nvSpPr>
        <p:spPr>
          <a:xfrm>
            <a:off x="10538534" y="1612596"/>
            <a:ext cx="1249977" cy="414615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Other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894" name="Rectangle 893">
            <a:extLst>
              <a:ext uri="{FF2B5EF4-FFF2-40B4-BE49-F238E27FC236}">
                <a16:creationId xmlns:a16="http://schemas.microsoft.com/office/drawing/2014/main" id="{EEA5FEE5-1F5B-B733-E42A-293E5836889F}"/>
              </a:ext>
            </a:extLst>
          </p:cNvPr>
          <p:cNvSpPr/>
          <p:nvPr/>
        </p:nvSpPr>
        <p:spPr>
          <a:xfrm>
            <a:off x="10538534" y="2066203"/>
            <a:ext cx="1249977" cy="414615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Medicine</a:t>
            </a:r>
          </a:p>
          <a:p>
            <a:pPr algn="ctr"/>
            <a:r>
              <a:rPr lang="en-US" sz="900" dirty="0">
                <a:solidFill>
                  <a:schemeClr val="bg1"/>
                </a:solidFill>
              </a:rPr>
              <a:t>(Depression)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903" name="Rectangle 902">
            <a:extLst>
              <a:ext uri="{FF2B5EF4-FFF2-40B4-BE49-F238E27FC236}">
                <a16:creationId xmlns:a16="http://schemas.microsoft.com/office/drawing/2014/main" id="{95753394-2A1E-CBE0-5765-D397B7A74ECB}"/>
              </a:ext>
            </a:extLst>
          </p:cNvPr>
          <p:cNvSpPr/>
          <p:nvPr/>
        </p:nvSpPr>
        <p:spPr>
          <a:xfrm>
            <a:off x="10538534" y="3632909"/>
            <a:ext cx="1249977" cy="414615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Batteries</a:t>
            </a:r>
            <a:endParaRPr lang="en-CA" sz="900" dirty="0">
              <a:solidFill>
                <a:schemeClr val="bg1"/>
              </a:solidFill>
            </a:endParaRPr>
          </a:p>
        </p:txBody>
      </p:sp>
      <p:cxnSp>
        <p:nvCxnSpPr>
          <p:cNvPr id="905" name="Connector: Elbow 904">
            <a:extLst>
              <a:ext uri="{FF2B5EF4-FFF2-40B4-BE49-F238E27FC236}">
                <a16:creationId xmlns:a16="http://schemas.microsoft.com/office/drawing/2014/main" id="{DB571476-2C6B-987B-6997-EAA81A872A3F}"/>
              </a:ext>
            </a:extLst>
          </p:cNvPr>
          <p:cNvCxnSpPr>
            <a:cxnSpLocks/>
            <a:endCxn id="903" idx="0"/>
          </p:cNvCxnSpPr>
          <p:nvPr/>
        </p:nvCxnSpPr>
        <p:spPr>
          <a:xfrm>
            <a:off x="8293000" y="2770594"/>
            <a:ext cx="2870523" cy="862315"/>
          </a:xfrm>
          <a:prstGeom prst="bentConnector2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5" name="Connector: Elbow 914">
            <a:extLst>
              <a:ext uri="{FF2B5EF4-FFF2-40B4-BE49-F238E27FC236}">
                <a16:creationId xmlns:a16="http://schemas.microsoft.com/office/drawing/2014/main" id="{2A3B3EB1-E3A6-44DC-3FBA-6AB1718D2B23}"/>
              </a:ext>
            </a:extLst>
          </p:cNvPr>
          <p:cNvCxnSpPr>
            <a:cxnSpLocks/>
            <a:stCxn id="782" idx="3"/>
            <a:endCxn id="892" idx="1"/>
          </p:cNvCxnSpPr>
          <p:nvPr/>
        </p:nvCxnSpPr>
        <p:spPr>
          <a:xfrm flipV="1">
            <a:off x="10324187" y="1819904"/>
            <a:ext cx="214347" cy="1799205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7" name="Connector: Elbow 916">
            <a:extLst>
              <a:ext uri="{FF2B5EF4-FFF2-40B4-BE49-F238E27FC236}">
                <a16:creationId xmlns:a16="http://schemas.microsoft.com/office/drawing/2014/main" id="{B65D9126-3F49-7DA7-B2D3-1FAA70FEBC75}"/>
              </a:ext>
            </a:extLst>
          </p:cNvPr>
          <p:cNvCxnSpPr>
            <a:cxnSpLocks/>
            <a:endCxn id="779" idx="1"/>
          </p:cNvCxnSpPr>
          <p:nvPr/>
        </p:nvCxnSpPr>
        <p:spPr>
          <a:xfrm flipV="1">
            <a:off x="8293000" y="2029164"/>
            <a:ext cx="495247" cy="128365"/>
          </a:xfrm>
          <a:prstGeom prst="bentConnector3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9" name="Connector: Elbow 918">
            <a:extLst>
              <a:ext uri="{FF2B5EF4-FFF2-40B4-BE49-F238E27FC236}">
                <a16:creationId xmlns:a16="http://schemas.microsoft.com/office/drawing/2014/main" id="{2CA5B896-AF53-0684-C77A-2D08C4C04584}"/>
              </a:ext>
            </a:extLst>
          </p:cNvPr>
          <p:cNvCxnSpPr>
            <a:cxnSpLocks/>
            <a:endCxn id="780" idx="1"/>
          </p:cNvCxnSpPr>
          <p:nvPr/>
        </p:nvCxnSpPr>
        <p:spPr>
          <a:xfrm>
            <a:off x="8293000" y="2157529"/>
            <a:ext cx="495247" cy="133008"/>
          </a:xfrm>
          <a:prstGeom prst="bentConnector3">
            <a:avLst>
              <a:gd name="adj1" fmla="val 50001"/>
            </a:avLst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3" name="Connector: Elbow 922">
            <a:extLst>
              <a:ext uri="{FF2B5EF4-FFF2-40B4-BE49-F238E27FC236}">
                <a16:creationId xmlns:a16="http://schemas.microsoft.com/office/drawing/2014/main" id="{5570126E-2096-521F-A5C8-D1BD1600E257}"/>
              </a:ext>
            </a:extLst>
          </p:cNvPr>
          <p:cNvCxnSpPr>
            <a:cxnSpLocks/>
            <a:endCxn id="781" idx="1"/>
          </p:cNvCxnSpPr>
          <p:nvPr/>
        </p:nvCxnSpPr>
        <p:spPr>
          <a:xfrm>
            <a:off x="8293000" y="2464062"/>
            <a:ext cx="495247" cy="87849"/>
          </a:xfrm>
          <a:prstGeom prst="bentConnector3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5" name="Connector: Elbow 924">
            <a:extLst>
              <a:ext uri="{FF2B5EF4-FFF2-40B4-BE49-F238E27FC236}">
                <a16:creationId xmlns:a16="http://schemas.microsoft.com/office/drawing/2014/main" id="{47561406-7B2E-42AD-B2F5-927D7C8357B1}"/>
              </a:ext>
            </a:extLst>
          </p:cNvPr>
          <p:cNvCxnSpPr>
            <a:cxnSpLocks/>
            <a:stCxn id="741" idx="3"/>
            <a:endCxn id="788" idx="1"/>
          </p:cNvCxnSpPr>
          <p:nvPr/>
        </p:nvCxnSpPr>
        <p:spPr>
          <a:xfrm flipV="1">
            <a:off x="8292999" y="4418704"/>
            <a:ext cx="405152" cy="1350"/>
          </a:xfrm>
          <a:prstGeom prst="bentConnector3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6" name="Rectangle 935">
            <a:extLst>
              <a:ext uri="{FF2B5EF4-FFF2-40B4-BE49-F238E27FC236}">
                <a16:creationId xmlns:a16="http://schemas.microsoft.com/office/drawing/2014/main" id="{DC51B908-1DDE-AC90-CE65-87F49173E48C}"/>
              </a:ext>
            </a:extLst>
          </p:cNvPr>
          <p:cNvSpPr/>
          <p:nvPr/>
        </p:nvSpPr>
        <p:spPr>
          <a:xfrm>
            <a:off x="10532479" y="5151737"/>
            <a:ext cx="1249977" cy="414615"/>
          </a:xfrm>
          <a:prstGeom prst="rect">
            <a:avLst/>
          </a:prstGeom>
          <a:solidFill>
            <a:schemeClr val="tx2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Polymerization (</a:t>
            </a:r>
            <a:r>
              <a:rPr lang="en-US" sz="900" dirty="0" err="1">
                <a:solidFill>
                  <a:schemeClr val="bg1"/>
                </a:solidFill>
              </a:rPr>
              <a:t>tyres</a:t>
            </a:r>
            <a:r>
              <a:rPr lang="en-US" sz="900" dirty="0">
                <a:solidFill>
                  <a:schemeClr val="bg1"/>
                </a:solidFill>
              </a:rPr>
              <a:t>)</a:t>
            </a:r>
            <a:endParaRPr lang="en-CA" sz="900" dirty="0">
              <a:solidFill>
                <a:schemeClr val="bg1"/>
              </a:solidFill>
            </a:endParaRPr>
          </a:p>
        </p:txBody>
      </p:sp>
      <p:cxnSp>
        <p:nvCxnSpPr>
          <p:cNvPr id="977" name="Straight Connector 976">
            <a:extLst>
              <a:ext uri="{FF2B5EF4-FFF2-40B4-BE49-F238E27FC236}">
                <a16:creationId xmlns:a16="http://schemas.microsoft.com/office/drawing/2014/main" id="{2B8150FD-BE23-E9CF-E9DE-78D80A5D1744}"/>
              </a:ext>
            </a:extLst>
          </p:cNvPr>
          <p:cNvCxnSpPr>
            <a:cxnSpLocks/>
            <a:stCxn id="788" idx="3"/>
          </p:cNvCxnSpPr>
          <p:nvPr/>
        </p:nvCxnSpPr>
        <p:spPr>
          <a:xfrm>
            <a:off x="10321563" y="4418704"/>
            <a:ext cx="83590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7" name="Connector: Elbow 1006">
            <a:extLst>
              <a:ext uri="{FF2B5EF4-FFF2-40B4-BE49-F238E27FC236}">
                <a16:creationId xmlns:a16="http://schemas.microsoft.com/office/drawing/2014/main" id="{8F968511-0226-2685-4331-2ED849D7BE6B}"/>
              </a:ext>
            </a:extLst>
          </p:cNvPr>
          <p:cNvCxnSpPr>
            <a:cxnSpLocks/>
            <a:stCxn id="19" idx="3"/>
            <a:endCxn id="15" idx="1"/>
          </p:cNvCxnSpPr>
          <p:nvPr/>
        </p:nvCxnSpPr>
        <p:spPr>
          <a:xfrm>
            <a:off x="3478990" y="2643137"/>
            <a:ext cx="829615" cy="500748"/>
          </a:xfrm>
          <a:prstGeom prst="bentConnector3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0" name="Connector: Elbow 1009">
            <a:extLst>
              <a:ext uri="{FF2B5EF4-FFF2-40B4-BE49-F238E27FC236}">
                <a16:creationId xmlns:a16="http://schemas.microsoft.com/office/drawing/2014/main" id="{E0CE5ACD-9C85-B197-FF8B-AB66689F3419}"/>
              </a:ext>
            </a:extLst>
          </p:cNvPr>
          <p:cNvCxnSpPr>
            <a:stCxn id="2" idx="3"/>
            <a:endCxn id="15" idx="1"/>
          </p:cNvCxnSpPr>
          <p:nvPr/>
        </p:nvCxnSpPr>
        <p:spPr>
          <a:xfrm>
            <a:off x="3478990" y="2914025"/>
            <a:ext cx="829615" cy="229861"/>
          </a:xfrm>
          <a:prstGeom prst="bentConnector3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4" name="Connector: Elbow 1013">
            <a:extLst>
              <a:ext uri="{FF2B5EF4-FFF2-40B4-BE49-F238E27FC236}">
                <a16:creationId xmlns:a16="http://schemas.microsoft.com/office/drawing/2014/main" id="{B7818536-0836-ED26-0BE2-DC9707157E77}"/>
              </a:ext>
            </a:extLst>
          </p:cNvPr>
          <p:cNvCxnSpPr>
            <a:cxnSpLocks/>
            <a:stCxn id="19" idx="3"/>
            <a:endCxn id="22" idx="1"/>
          </p:cNvCxnSpPr>
          <p:nvPr/>
        </p:nvCxnSpPr>
        <p:spPr>
          <a:xfrm>
            <a:off x="3478990" y="2643137"/>
            <a:ext cx="829615" cy="876089"/>
          </a:xfrm>
          <a:prstGeom prst="bentConnector3">
            <a:avLst>
              <a:gd name="adj1" fmla="val 36127"/>
            </a:avLst>
          </a:prstGeom>
          <a:ln w="63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6" name="Connector: Elbow 1015">
            <a:extLst>
              <a:ext uri="{FF2B5EF4-FFF2-40B4-BE49-F238E27FC236}">
                <a16:creationId xmlns:a16="http://schemas.microsoft.com/office/drawing/2014/main" id="{01275154-9C46-629F-AEFE-2685FF3FCC1E}"/>
              </a:ext>
            </a:extLst>
          </p:cNvPr>
          <p:cNvCxnSpPr>
            <a:cxnSpLocks/>
            <a:stCxn id="3" idx="3"/>
            <a:endCxn id="22" idx="1"/>
          </p:cNvCxnSpPr>
          <p:nvPr/>
        </p:nvCxnSpPr>
        <p:spPr>
          <a:xfrm>
            <a:off x="3478989" y="3184911"/>
            <a:ext cx="829616" cy="334315"/>
          </a:xfrm>
          <a:prstGeom prst="bentConnector3">
            <a:avLst>
              <a:gd name="adj1" fmla="val 36223"/>
            </a:avLst>
          </a:prstGeom>
          <a:ln w="63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6" name="Connector: Elbow 1035">
            <a:extLst>
              <a:ext uri="{FF2B5EF4-FFF2-40B4-BE49-F238E27FC236}">
                <a16:creationId xmlns:a16="http://schemas.microsoft.com/office/drawing/2014/main" id="{E5DD6F3A-62F0-F562-DFB1-2F1F2A29573D}"/>
              </a:ext>
            </a:extLst>
          </p:cNvPr>
          <p:cNvCxnSpPr>
            <a:stCxn id="740" idx="3"/>
            <a:endCxn id="782" idx="1"/>
          </p:cNvCxnSpPr>
          <p:nvPr/>
        </p:nvCxnSpPr>
        <p:spPr>
          <a:xfrm flipV="1">
            <a:off x="8292999" y="3619109"/>
            <a:ext cx="412700" cy="487291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Connector: Elbow 1037">
            <a:extLst>
              <a:ext uri="{FF2B5EF4-FFF2-40B4-BE49-F238E27FC236}">
                <a16:creationId xmlns:a16="http://schemas.microsoft.com/office/drawing/2014/main" id="{0C683283-5CF5-D977-C2B9-1947C2712BAE}"/>
              </a:ext>
            </a:extLst>
          </p:cNvPr>
          <p:cNvCxnSpPr>
            <a:stCxn id="739" idx="3"/>
            <a:endCxn id="782" idx="1"/>
          </p:cNvCxnSpPr>
          <p:nvPr/>
        </p:nvCxnSpPr>
        <p:spPr>
          <a:xfrm flipV="1">
            <a:off x="8292999" y="3619109"/>
            <a:ext cx="412700" cy="173637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0" name="Connector: Elbow 1039">
            <a:extLst>
              <a:ext uri="{FF2B5EF4-FFF2-40B4-BE49-F238E27FC236}">
                <a16:creationId xmlns:a16="http://schemas.microsoft.com/office/drawing/2014/main" id="{B38FDC47-102D-3512-FE80-84A60A7B17C6}"/>
              </a:ext>
            </a:extLst>
          </p:cNvPr>
          <p:cNvCxnSpPr>
            <a:stCxn id="738" idx="3"/>
            <a:endCxn id="782" idx="1"/>
          </p:cNvCxnSpPr>
          <p:nvPr/>
        </p:nvCxnSpPr>
        <p:spPr>
          <a:xfrm>
            <a:off x="8292999" y="3479093"/>
            <a:ext cx="412700" cy="140016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3" name="Connector: Elbow 1072">
            <a:extLst>
              <a:ext uri="{FF2B5EF4-FFF2-40B4-BE49-F238E27FC236}">
                <a16:creationId xmlns:a16="http://schemas.microsoft.com/office/drawing/2014/main" id="{0C651AE1-BC5E-985E-A65E-57996B9FE2CF}"/>
              </a:ext>
            </a:extLst>
          </p:cNvPr>
          <p:cNvCxnSpPr>
            <a:cxnSpLocks/>
          </p:cNvCxnSpPr>
          <p:nvPr/>
        </p:nvCxnSpPr>
        <p:spPr>
          <a:xfrm rot="10800000" flipH="1">
            <a:off x="6771523" y="2770594"/>
            <a:ext cx="1" cy="708498"/>
          </a:xfrm>
          <a:prstGeom prst="bentConnector3">
            <a:avLst>
              <a:gd name="adj1" fmla="val -22860000000"/>
            </a:avLst>
          </a:prstGeom>
          <a:ln w="6350">
            <a:solidFill>
              <a:schemeClr val="bg1">
                <a:lumMod val="8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4" name="Rectangle 1073">
            <a:extLst>
              <a:ext uri="{FF2B5EF4-FFF2-40B4-BE49-F238E27FC236}">
                <a16:creationId xmlns:a16="http://schemas.microsoft.com/office/drawing/2014/main" id="{94D144B7-748C-EF6B-5E0A-64C39DF9FB25}"/>
              </a:ext>
            </a:extLst>
          </p:cNvPr>
          <p:cNvSpPr/>
          <p:nvPr/>
        </p:nvSpPr>
        <p:spPr>
          <a:xfrm>
            <a:off x="8782453" y="4954864"/>
            <a:ext cx="1444960" cy="273090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Technical (Na↓)</a:t>
            </a:r>
          </a:p>
        </p:txBody>
      </p:sp>
      <p:sp>
        <p:nvSpPr>
          <p:cNvPr id="1075" name="Rectangle 1074">
            <a:extLst>
              <a:ext uri="{FF2B5EF4-FFF2-40B4-BE49-F238E27FC236}">
                <a16:creationId xmlns:a16="http://schemas.microsoft.com/office/drawing/2014/main" id="{7F66356E-FFA9-A67D-C644-5AE5EB8F6B31}"/>
              </a:ext>
            </a:extLst>
          </p:cNvPr>
          <p:cNvSpPr/>
          <p:nvPr/>
        </p:nvSpPr>
        <p:spPr>
          <a:xfrm>
            <a:off x="8782852" y="5259804"/>
            <a:ext cx="1444959" cy="273090"/>
          </a:xfrm>
          <a:prstGeom prst="rect">
            <a:avLst/>
          </a:prstGeom>
          <a:solidFill>
            <a:schemeClr val="accent4"/>
          </a:solidFill>
          <a:ln>
            <a:solidFill>
              <a:schemeClr val="accent1">
                <a:alpha val="50021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900" dirty="0">
                <a:solidFill>
                  <a:schemeClr val="accent2"/>
                </a:solidFill>
              </a:rPr>
              <a:t>Catalyst (Na↑)</a:t>
            </a:r>
          </a:p>
        </p:txBody>
      </p:sp>
      <p:sp>
        <p:nvSpPr>
          <p:cNvPr id="1076" name="Rectangle 1075">
            <a:extLst>
              <a:ext uri="{FF2B5EF4-FFF2-40B4-BE49-F238E27FC236}">
                <a16:creationId xmlns:a16="http://schemas.microsoft.com/office/drawing/2014/main" id="{73045396-3CBD-7279-0B1F-3E36F3FA6FCD}"/>
              </a:ext>
            </a:extLst>
          </p:cNvPr>
          <p:cNvSpPr/>
          <p:nvPr/>
        </p:nvSpPr>
        <p:spPr>
          <a:xfrm>
            <a:off x="6884481" y="2010611"/>
            <a:ext cx="1408519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Technical grade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1077" name="Rectangle 1076">
            <a:extLst>
              <a:ext uri="{FF2B5EF4-FFF2-40B4-BE49-F238E27FC236}">
                <a16:creationId xmlns:a16="http://schemas.microsoft.com/office/drawing/2014/main" id="{8258B0AF-AF83-2B06-6028-C43E875C6D3F}"/>
              </a:ext>
            </a:extLst>
          </p:cNvPr>
          <p:cNvSpPr/>
          <p:nvPr/>
        </p:nvSpPr>
        <p:spPr>
          <a:xfrm>
            <a:off x="6884481" y="2317144"/>
            <a:ext cx="1408519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Industrial grade</a:t>
            </a:r>
            <a:endParaRPr lang="en-CA" sz="900" dirty="0">
              <a:solidFill>
                <a:schemeClr val="bg1"/>
              </a:solidFill>
            </a:endParaRPr>
          </a:p>
        </p:txBody>
      </p:sp>
      <p:sp>
        <p:nvSpPr>
          <p:cNvPr id="1078" name="Rectangle 1077">
            <a:extLst>
              <a:ext uri="{FF2B5EF4-FFF2-40B4-BE49-F238E27FC236}">
                <a16:creationId xmlns:a16="http://schemas.microsoft.com/office/drawing/2014/main" id="{3B3F91BE-61FC-F20E-F6F7-4EB5F69A5295}"/>
              </a:ext>
            </a:extLst>
          </p:cNvPr>
          <p:cNvSpPr/>
          <p:nvPr/>
        </p:nvSpPr>
        <p:spPr>
          <a:xfrm>
            <a:off x="6884481" y="2623677"/>
            <a:ext cx="1408519" cy="2938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Battery grade</a:t>
            </a:r>
            <a:endParaRPr lang="en-CA" sz="900" dirty="0">
              <a:solidFill>
                <a:schemeClr val="bg1"/>
              </a:solidFill>
            </a:endParaRPr>
          </a:p>
        </p:txBody>
      </p:sp>
      <p:cxnSp>
        <p:nvCxnSpPr>
          <p:cNvPr id="1083" name="Connector: Elbow 1082">
            <a:extLst>
              <a:ext uri="{FF2B5EF4-FFF2-40B4-BE49-F238E27FC236}">
                <a16:creationId xmlns:a16="http://schemas.microsoft.com/office/drawing/2014/main" id="{07634D65-489C-DC1F-43CB-18D3D48B48E2}"/>
              </a:ext>
            </a:extLst>
          </p:cNvPr>
          <p:cNvCxnSpPr>
            <a:stCxn id="778" idx="3"/>
            <a:endCxn id="892" idx="1"/>
          </p:cNvCxnSpPr>
          <p:nvPr/>
        </p:nvCxnSpPr>
        <p:spPr>
          <a:xfrm flipV="1">
            <a:off x="10316639" y="1819904"/>
            <a:ext cx="221895" cy="400741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7" name="Connector: Elbow 1096">
            <a:extLst>
              <a:ext uri="{FF2B5EF4-FFF2-40B4-BE49-F238E27FC236}">
                <a16:creationId xmlns:a16="http://schemas.microsoft.com/office/drawing/2014/main" id="{8E6EFFF9-E89B-4A2F-BDF2-D51A4F421C3B}"/>
              </a:ext>
            </a:extLst>
          </p:cNvPr>
          <p:cNvCxnSpPr>
            <a:cxnSpLocks/>
            <a:stCxn id="1101" idx="3"/>
            <a:endCxn id="894" idx="2"/>
          </p:cNvCxnSpPr>
          <p:nvPr/>
        </p:nvCxnSpPr>
        <p:spPr>
          <a:xfrm flipV="1">
            <a:off x="10324187" y="2480818"/>
            <a:ext cx="839336" cy="812819"/>
          </a:xfrm>
          <a:prstGeom prst="bentConnector2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05" name="Group 1104">
            <a:extLst>
              <a:ext uri="{FF2B5EF4-FFF2-40B4-BE49-F238E27FC236}">
                <a16:creationId xmlns:a16="http://schemas.microsoft.com/office/drawing/2014/main" id="{B4BC8A9C-F129-B6D3-609F-006CFBF14FE9}"/>
              </a:ext>
            </a:extLst>
          </p:cNvPr>
          <p:cNvGrpSpPr/>
          <p:nvPr/>
        </p:nvGrpSpPr>
        <p:grpSpPr>
          <a:xfrm>
            <a:off x="8705699" y="3015589"/>
            <a:ext cx="1618488" cy="1207039"/>
            <a:chOff x="8652534" y="3496018"/>
            <a:chExt cx="1618488" cy="1356251"/>
          </a:xfrm>
        </p:grpSpPr>
        <p:sp>
          <p:nvSpPr>
            <p:cNvPr id="782" name="Rectangle 781">
              <a:extLst>
                <a:ext uri="{FF2B5EF4-FFF2-40B4-BE49-F238E27FC236}">
                  <a16:creationId xmlns:a16="http://schemas.microsoft.com/office/drawing/2014/main" id="{F5E84238-0D83-7E1D-8EF3-6A63356D45B2}"/>
                </a:ext>
              </a:extLst>
            </p:cNvPr>
            <p:cNvSpPr/>
            <p:nvPr/>
          </p:nvSpPr>
          <p:spPr>
            <a:xfrm>
              <a:off x="8652534" y="3496018"/>
              <a:ext cx="1618488" cy="1356251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5720" rIns="0" bIns="0" rtlCol="0" anchor="t"/>
            <a:lstStyle/>
            <a:p>
              <a:pPr algn="ctr"/>
              <a:r>
                <a:rPr lang="en-CA" sz="900" dirty="0">
                  <a:solidFill>
                    <a:schemeClr val="accent2"/>
                  </a:solidFill>
                </a:rPr>
                <a:t>Lithium salts</a:t>
              </a:r>
            </a:p>
          </p:txBody>
        </p:sp>
        <p:sp>
          <p:nvSpPr>
            <p:cNvPr id="784" name="Rectangle 783">
              <a:extLst>
                <a:ext uri="{FF2B5EF4-FFF2-40B4-BE49-F238E27FC236}">
                  <a16:creationId xmlns:a16="http://schemas.microsoft.com/office/drawing/2014/main" id="{1E01B309-33E8-7BD6-EAD3-513B50B64FF1}"/>
                </a:ext>
              </a:extLst>
            </p:cNvPr>
            <p:cNvSpPr/>
            <p:nvPr/>
          </p:nvSpPr>
          <p:spPr>
            <a:xfrm>
              <a:off x="8739298" y="3738311"/>
              <a:ext cx="1444960" cy="306849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accent2"/>
                  </a:solidFill>
                </a:rPr>
                <a:t>Bromide</a:t>
              </a:r>
            </a:p>
          </p:txBody>
        </p:sp>
        <p:sp>
          <p:nvSpPr>
            <p:cNvPr id="786" name="Rectangle 785">
              <a:extLst>
                <a:ext uri="{FF2B5EF4-FFF2-40B4-BE49-F238E27FC236}">
                  <a16:creationId xmlns:a16="http://schemas.microsoft.com/office/drawing/2014/main" id="{F176FEC6-C26D-D166-B2DF-AD7A3891DE29}"/>
                </a:ext>
              </a:extLst>
            </p:cNvPr>
            <p:cNvSpPr/>
            <p:nvPr/>
          </p:nvSpPr>
          <p:spPr>
            <a:xfrm>
              <a:off x="8739299" y="4114081"/>
              <a:ext cx="1444959" cy="306849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accent2"/>
                  </a:solidFill>
                </a:rPr>
                <a:t>Hypochlorite</a:t>
              </a:r>
            </a:p>
          </p:txBody>
        </p:sp>
        <p:sp>
          <p:nvSpPr>
            <p:cNvPr id="787" name="Rectangle 786">
              <a:extLst>
                <a:ext uri="{FF2B5EF4-FFF2-40B4-BE49-F238E27FC236}">
                  <a16:creationId xmlns:a16="http://schemas.microsoft.com/office/drawing/2014/main" id="{4294770D-B336-67C7-6CA4-830A1818B482}"/>
                </a:ext>
              </a:extLst>
            </p:cNvPr>
            <p:cNvSpPr/>
            <p:nvPr/>
          </p:nvSpPr>
          <p:spPr>
            <a:xfrm>
              <a:off x="8739299" y="4489851"/>
              <a:ext cx="1444959" cy="306849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CA" sz="900" dirty="0">
                  <a:solidFill>
                    <a:schemeClr val="accent2"/>
                  </a:solidFill>
                </a:rPr>
                <a:t>Sulphate</a:t>
              </a:r>
            </a:p>
          </p:txBody>
        </p:sp>
        <p:sp>
          <p:nvSpPr>
            <p:cNvPr id="1101" name="Rectangle 1100">
              <a:extLst>
                <a:ext uri="{FF2B5EF4-FFF2-40B4-BE49-F238E27FC236}">
                  <a16:creationId xmlns:a16="http://schemas.microsoft.com/office/drawing/2014/main" id="{901837A7-6321-7820-28E4-7CA367D24454}"/>
                </a:ext>
              </a:extLst>
            </p:cNvPr>
            <p:cNvSpPr/>
            <p:nvPr/>
          </p:nvSpPr>
          <p:spPr>
            <a:xfrm>
              <a:off x="10179582" y="3762718"/>
              <a:ext cx="91440" cy="914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 err="1">
                <a:solidFill>
                  <a:schemeClr val="accent2"/>
                </a:solidFill>
              </a:endParaRPr>
            </a:p>
          </p:txBody>
        </p:sp>
      </p:grpSp>
      <p:cxnSp>
        <p:nvCxnSpPr>
          <p:cNvPr id="1118" name="Connector: Elbow 1117">
            <a:extLst>
              <a:ext uri="{FF2B5EF4-FFF2-40B4-BE49-F238E27FC236}">
                <a16:creationId xmlns:a16="http://schemas.microsoft.com/office/drawing/2014/main" id="{EBD85967-8829-8327-3BC9-685BE03E8240}"/>
              </a:ext>
            </a:extLst>
          </p:cNvPr>
          <p:cNvCxnSpPr>
            <a:stCxn id="1074" idx="3"/>
            <a:endCxn id="903" idx="2"/>
          </p:cNvCxnSpPr>
          <p:nvPr/>
        </p:nvCxnSpPr>
        <p:spPr>
          <a:xfrm flipV="1">
            <a:off x="10227413" y="4047524"/>
            <a:ext cx="936110" cy="1043885"/>
          </a:xfrm>
          <a:prstGeom prst="bentConnector2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7" name="Rectangle 936">
            <a:extLst>
              <a:ext uri="{FF2B5EF4-FFF2-40B4-BE49-F238E27FC236}">
                <a16:creationId xmlns:a16="http://schemas.microsoft.com/office/drawing/2014/main" id="{0D21651A-9724-71C7-7E61-F31EEF51B948}"/>
              </a:ext>
            </a:extLst>
          </p:cNvPr>
          <p:cNvSpPr/>
          <p:nvPr/>
        </p:nvSpPr>
        <p:spPr>
          <a:xfrm>
            <a:off x="10612236" y="5946089"/>
            <a:ext cx="290504" cy="148824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938" name="TextBox 937">
            <a:extLst>
              <a:ext uri="{FF2B5EF4-FFF2-40B4-BE49-F238E27FC236}">
                <a16:creationId xmlns:a16="http://schemas.microsoft.com/office/drawing/2014/main" id="{A33DAEA9-8FD2-4FCB-D04E-DD4866BB6AD8}"/>
              </a:ext>
            </a:extLst>
          </p:cNvPr>
          <p:cNvSpPr txBox="1"/>
          <p:nvPr/>
        </p:nvSpPr>
        <p:spPr>
          <a:xfrm>
            <a:off x="10879247" y="5935863"/>
            <a:ext cx="854401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900" dirty="0">
                <a:solidFill>
                  <a:schemeClr val="accent2"/>
                </a:solidFill>
              </a:rPr>
              <a:t>Optional step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328A054-314F-A7D0-38BF-92F4CB5618F0}"/>
              </a:ext>
            </a:extLst>
          </p:cNvPr>
          <p:cNvCxnSpPr/>
          <p:nvPr/>
        </p:nvCxnSpPr>
        <p:spPr>
          <a:xfrm>
            <a:off x="10324187" y="5396349"/>
            <a:ext cx="208292" cy="0"/>
          </a:xfrm>
          <a:prstGeom prst="straightConnector1">
            <a:avLst/>
          </a:prstGeom>
          <a:ln w="63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Arrow: Chevron 10">
            <a:extLst>
              <a:ext uri="{FF2B5EF4-FFF2-40B4-BE49-F238E27FC236}">
                <a16:creationId xmlns:a16="http://schemas.microsoft.com/office/drawing/2014/main" id="{4C0CC885-5D23-00D5-9D48-64802C38707B}"/>
              </a:ext>
            </a:extLst>
          </p:cNvPr>
          <p:cNvSpPr/>
          <p:nvPr/>
        </p:nvSpPr>
        <p:spPr>
          <a:xfrm>
            <a:off x="1728156" y="1134110"/>
            <a:ext cx="4811086" cy="412734"/>
          </a:xfrm>
          <a:prstGeom prst="chevron">
            <a:avLst>
              <a:gd name="adj" fmla="val 24614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Mining &amp; Beneficiation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F7B31F7C-313B-81CB-2F7A-93DE1B109FA8}"/>
              </a:ext>
            </a:extLst>
          </p:cNvPr>
          <p:cNvSpPr/>
          <p:nvPr/>
        </p:nvSpPr>
        <p:spPr>
          <a:xfrm>
            <a:off x="6536890" y="1134110"/>
            <a:ext cx="1836376" cy="412734"/>
          </a:xfrm>
          <a:prstGeom prst="chevron">
            <a:avLst>
              <a:gd name="adj" fmla="val 2846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1200" dirty="0">
                <a:solidFill>
                  <a:schemeClr val="bg1"/>
                </a:solidFill>
              </a:rPr>
              <a:t>Refining &amp; Conversion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56B83907-3BD0-3636-F8DA-290562BE1821}"/>
              </a:ext>
            </a:extLst>
          </p:cNvPr>
          <p:cNvSpPr/>
          <p:nvPr/>
        </p:nvSpPr>
        <p:spPr>
          <a:xfrm>
            <a:off x="8370914" y="1134110"/>
            <a:ext cx="1975130" cy="412734"/>
          </a:xfrm>
          <a:prstGeom prst="chevron">
            <a:avLst>
              <a:gd name="adj" fmla="val 2230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First Use</a:t>
            </a:r>
            <a:endParaRPr lang="en-CA" sz="1200" dirty="0">
              <a:solidFill>
                <a:schemeClr val="bg1"/>
              </a:solidFill>
            </a:endParaRPr>
          </a:p>
        </p:txBody>
      </p:sp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680A68B6-4735-E453-F29E-F8F938588386}"/>
              </a:ext>
            </a:extLst>
          </p:cNvPr>
          <p:cNvSpPr/>
          <p:nvPr/>
        </p:nvSpPr>
        <p:spPr>
          <a:xfrm>
            <a:off x="490734" y="1134110"/>
            <a:ext cx="1239774" cy="412734"/>
          </a:xfrm>
          <a:prstGeom prst="homePlate">
            <a:avLst>
              <a:gd name="adj" fmla="val 19845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xploration</a:t>
            </a: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FE259BFB-7951-CA2D-C889-1DBA0A2CFC02}"/>
              </a:ext>
            </a:extLst>
          </p:cNvPr>
          <p:cNvSpPr/>
          <p:nvPr/>
        </p:nvSpPr>
        <p:spPr>
          <a:xfrm>
            <a:off x="10343693" y="1134110"/>
            <a:ext cx="1405284" cy="412734"/>
          </a:xfrm>
          <a:prstGeom prst="chevron">
            <a:avLst>
              <a:gd name="adj" fmla="val 2423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nd Use</a:t>
            </a:r>
            <a:endParaRPr lang="en-CA" sz="1200" dirty="0">
              <a:solidFill>
                <a:schemeClr val="bg1"/>
              </a:solidFill>
            </a:endParaRPr>
          </a:p>
        </p:txBody>
      </p:sp>
      <p:grpSp>
        <p:nvGrpSpPr>
          <p:cNvPr id="939" name="Group 938">
            <a:extLst>
              <a:ext uri="{FF2B5EF4-FFF2-40B4-BE49-F238E27FC236}">
                <a16:creationId xmlns:a16="http://schemas.microsoft.com/office/drawing/2014/main" id="{2E5FD322-DC18-A489-F2CA-5E876FCF8349}"/>
              </a:ext>
            </a:extLst>
          </p:cNvPr>
          <p:cNvGrpSpPr/>
          <p:nvPr/>
        </p:nvGrpSpPr>
        <p:grpSpPr>
          <a:xfrm>
            <a:off x="1333278" y="5931174"/>
            <a:ext cx="7575000" cy="169277"/>
            <a:chOff x="1269778" y="6148410"/>
            <a:chExt cx="7575000" cy="169277"/>
          </a:xfrm>
        </p:grpSpPr>
        <p:sp>
          <p:nvSpPr>
            <p:cNvPr id="940" name="Rectangle 939">
              <a:extLst>
                <a:ext uri="{FF2B5EF4-FFF2-40B4-BE49-F238E27FC236}">
                  <a16:creationId xmlns:a16="http://schemas.microsoft.com/office/drawing/2014/main" id="{63479697-2833-D151-44EE-A8D80922F8B4}"/>
                </a:ext>
              </a:extLst>
            </p:cNvPr>
            <p:cNvSpPr/>
            <p:nvPr/>
          </p:nvSpPr>
          <p:spPr>
            <a:xfrm>
              <a:off x="7493839" y="6158636"/>
              <a:ext cx="290504" cy="14882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2">
                  <a:lumMod val="75000"/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941" name="Rectangle 940">
              <a:extLst>
                <a:ext uri="{FF2B5EF4-FFF2-40B4-BE49-F238E27FC236}">
                  <a16:creationId xmlns:a16="http://schemas.microsoft.com/office/drawing/2014/main" id="{53222F73-10F6-3B08-D510-63CE7700EDE5}"/>
                </a:ext>
              </a:extLst>
            </p:cNvPr>
            <p:cNvSpPr/>
            <p:nvPr/>
          </p:nvSpPr>
          <p:spPr>
            <a:xfrm>
              <a:off x="4661064" y="6158636"/>
              <a:ext cx="290504" cy="1488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942" name="Rectangle 941">
              <a:extLst>
                <a:ext uri="{FF2B5EF4-FFF2-40B4-BE49-F238E27FC236}">
                  <a16:creationId xmlns:a16="http://schemas.microsoft.com/office/drawing/2014/main" id="{7059692C-2FB1-E98E-1DF7-215D83C06621}"/>
                </a:ext>
              </a:extLst>
            </p:cNvPr>
            <p:cNvSpPr/>
            <p:nvPr/>
          </p:nvSpPr>
          <p:spPr>
            <a:xfrm>
              <a:off x="2895690" y="6158636"/>
              <a:ext cx="290504" cy="1488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943" name="Rectangle 942">
              <a:extLst>
                <a:ext uri="{FF2B5EF4-FFF2-40B4-BE49-F238E27FC236}">
                  <a16:creationId xmlns:a16="http://schemas.microsoft.com/office/drawing/2014/main" id="{F54E18F9-0C68-B354-58F9-47D775AF3DDA}"/>
                </a:ext>
              </a:extLst>
            </p:cNvPr>
            <p:cNvSpPr/>
            <p:nvPr/>
          </p:nvSpPr>
          <p:spPr>
            <a:xfrm>
              <a:off x="6113852" y="6158636"/>
              <a:ext cx="290504" cy="148824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944" name="TextBox 943">
              <a:extLst>
                <a:ext uri="{FF2B5EF4-FFF2-40B4-BE49-F238E27FC236}">
                  <a16:creationId xmlns:a16="http://schemas.microsoft.com/office/drawing/2014/main" id="{2D49CBA1-FEB2-A98D-9246-F141A581E8F4}"/>
                </a:ext>
              </a:extLst>
            </p:cNvPr>
            <p:cNvSpPr txBox="1"/>
            <p:nvPr/>
          </p:nvSpPr>
          <p:spPr>
            <a:xfrm>
              <a:off x="3243154" y="6148410"/>
              <a:ext cx="1360950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Intermediate products</a:t>
              </a:r>
            </a:p>
          </p:txBody>
        </p:sp>
        <p:sp>
          <p:nvSpPr>
            <p:cNvPr id="945" name="TextBox 944">
              <a:extLst>
                <a:ext uri="{FF2B5EF4-FFF2-40B4-BE49-F238E27FC236}">
                  <a16:creationId xmlns:a16="http://schemas.microsoft.com/office/drawing/2014/main" id="{BF90CE08-1298-60C9-AF9C-CD45237FC612}"/>
                </a:ext>
              </a:extLst>
            </p:cNvPr>
            <p:cNvSpPr txBox="1"/>
            <p:nvPr/>
          </p:nvSpPr>
          <p:spPr>
            <a:xfrm>
              <a:off x="7841298" y="6148410"/>
              <a:ext cx="1003480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Processing step</a:t>
              </a:r>
            </a:p>
          </p:txBody>
        </p:sp>
        <p:sp>
          <p:nvSpPr>
            <p:cNvPr id="946" name="TextBox 945">
              <a:extLst>
                <a:ext uri="{FF2B5EF4-FFF2-40B4-BE49-F238E27FC236}">
                  <a16:creationId xmlns:a16="http://schemas.microsoft.com/office/drawing/2014/main" id="{FAD62DB1-A365-B9CB-90AA-1991480E04C0}"/>
                </a:ext>
              </a:extLst>
            </p:cNvPr>
            <p:cNvSpPr txBox="1"/>
            <p:nvPr/>
          </p:nvSpPr>
          <p:spPr>
            <a:xfrm>
              <a:off x="5008528" y="6148410"/>
              <a:ext cx="1048364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First use product</a:t>
              </a:r>
            </a:p>
          </p:txBody>
        </p:sp>
        <p:sp>
          <p:nvSpPr>
            <p:cNvPr id="947" name="TextBox 946">
              <a:extLst>
                <a:ext uri="{FF2B5EF4-FFF2-40B4-BE49-F238E27FC236}">
                  <a16:creationId xmlns:a16="http://schemas.microsoft.com/office/drawing/2014/main" id="{1406D13D-63AA-9E7A-F4A8-51D1D4F24984}"/>
                </a:ext>
              </a:extLst>
            </p:cNvPr>
            <p:cNvSpPr txBox="1"/>
            <p:nvPr/>
          </p:nvSpPr>
          <p:spPr>
            <a:xfrm>
              <a:off x="6461316" y="6148410"/>
              <a:ext cx="1025922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End use product</a:t>
              </a:r>
            </a:p>
          </p:txBody>
        </p:sp>
        <p:sp>
          <p:nvSpPr>
            <p:cNvPr id="948" name="Rectangle 947">
              <a:extLst>
                <a:ext uri="{FF2B5EF4-FFF2-40B4-BE49-F238E27FC236}">
                  <a16:creationId xmlns:a16="http://schemas.microsoft.com/office/drawing/2014/main" id="{161A75EC-8BD5-8AC0-63B3-A4BA31E9285E}"/>
                </a:ext>
              </a:extLst>
            </p:cNvPr>
            <p:cNvSpPr/>
            <p:nvPr/>
          </p:nvSpPr>
          <p:spPr>
            <a:xfrm>
              <a:off x="1269778" y="6158636"/>
              <a:ext cx="290504" cy="14882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alpha val="50021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900" dirty="0">
                <a:solidFill>
                  <a:schemeClr val="accent2"/>
                </a:solidFill>
              </a:endParaRPr>
            </a:p>
          </p:txBody>
        </p:sp>
        <p:sp>
          <p:nvSpPr>
            <p:cNvPr id="949" name="TextBox 948">
              <a:extLst>
                <a:ext uri="{FF2B5EF4-FFF2-40B4-BE49-F238E27FC236}">
                  <a16:creationId xmlns:a16="http://schemas.microsoft.com/office/drawing/2014/main" id="{439594E0-914C-3CA0-C0FF-EC17FB15FE1D}"/>
                </a:ext>
              </a:extLst>
            </p:cNvPr>
            <p:cNvSpPr txBox="1"/>
            <p:nvPr/>
          </p:nvSpPr>
          <p:spPr>
            <a:xfrm>
              <a:off x="1617242" y="6148410"/>
              <a:ext cx="1221488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900" dirty="0">
                  <a:solidFill>
                    <a:schemeClr val="accent2"/>
                  </a:solidFill>
                </a:rPr>
                <a:t>Natural occurrence</a:t>
              </a:r>
            </a:p>
          </p:txBody>
        </p:sp>
      </p:grpSp>
      <p:sp>
        <p:nvSpPr>
          <p:cNvPr id="5" name="Rectangle 51">
            <a:extLst>
              <a:ext uri="{FF2B5EF4-FFF2-40B4-BE49-F238E27FC236}">
                <a16:creationId xmlns:a16="http://schemas.microsoft.com/office/drawing/2014/main" id="{F634C60B-F5F4-7001-35EF-3889EE670DB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9424" y="6275130"/>
            <a:ext cx="6674845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/>
          <a:lstStyle/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Source  Hatch</a:t>
            </a:r>
          </a:p>
        </p:txBody>
      </p:sp>
    </p:spTree>
    <p:extLst>
      <p:ext uri="{BB962C8B-B14F-4D97-AF65-F5344CB8AC3E}">
        <p14:creationId xmlns:p14="http://schemas.microsoft.com/office/powerpoint/2010/main" val="19627124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ndoor, engineering&#10;&#10;Description automatically generated">
            <a:extLst>
              <a:ext uri="{FF2B5EF4-FFF2-40B4-BE49-F238E27FC236}">
                <a16:creationId xmlns:a16="http://schemas.microsoft.com/office/drawing/2014/main" id="{B2DD3250-60E9-72D2-8F49-CC2C003A3D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157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57687C7-6E23-FE90-E753-B2C152D9E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1"/>
            <a:ext cx="11232000" cy="908050"/>
          </a:xfrm>
        </p:spPr>
        <p:txBody>
          <a:bodyPr/>
          <a:lstStyle/>
          <a:p>
            <a:r>
              <a:rPr lang="en-ZA" dirty="0"/>
              <a:t>Agenda</a:t>
            </a:r>
          </a:p>
        </p:txBody>
      </p:sp>
      <p:grpSp>
        <p:nvGrpSpPr>
          <p:cNvPr id="5" name="Google Shape;979;p12">
            <a:extLst>
              <a:ext uri="{FF2B5EF4-FFF2-40B4-BE49-F238E27FC236}">
                <a16:creationId xmlns:a16="http://schemas.microsoft.com/office/drawing/2014/main" id="{4D2F9135-320F-F9FA-09C9-9C1BB25DAC74}"/>
              </a:ext>
            </a:extLst>
          </p:cNvPr>
          <p:cNvGrpSpPr/>
          <p:nvPr/>
        </p:nvGrpSpPr>
        <p:grpSpPr>
          <a:xfrm>
            <a:off x="536574" y="1421614"/>
            <a:ext cx="4023307" cy="1060507"/>
            <a:chOff x="4564420" y="1108738"/>
            <a:chExt cx="3017480" cy="795381"/>
          </a:xfrm>
        </p:grpSpPr>
        <p:sp>
          <p:nvSpPr>
            <p:cNvPr id="6" name="Google Shape;980;p12">
              <a:extLst>
                <a:ext uri="{FF2B5EF4-FFF2-40B4-BE49-F238E27FC236}">
                  <a16:creationId xmlns:a16="http://schemas.microsoft.com/office/drawing/2014/main" id="{37D17443-871A-C93D-2FD1-9DFA011B3E5D}"/>
                </a:ext>
              </a:extLst>
            </p:cNvPr>
            <p:cNvSpPr txBox="1"/>
            <p:nvPr/>
          </p:nvSpPr>
          <p:spPr>
            <a:xfrm>
              <a:off x="4564420" y="1696370"/>
              <a:ext cx="3017480" cy="207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R="0" lvl="0" indent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Growth and Constraints</a:t>
              </a:r>
            </a:p>
          </p:txBody>
        </p:sp>
        <p:sp>
          <p:nvSpPr>
            <p:cNvPr id="7" name="Google Shape;981;p12">
              <a:extLst>
                <a:ext uri="{FF2B5EF4-FFF2-40B4-BE49-F238E27FC236}">
                  <a16:creationId xmlns:a16="http://schemas.microsoft.com/office/drawing/2014/main" id="{86E49E70-1238-95FB-EB4C-C088DD48AAA1}"/>
                </a:ext>
              </a:extLst>
            </p:cNvPr>
            <p:cNvSpPr txBox="1"/>
            <p:nvPr/>
          </p:nvSpPr>
          <p:spPr>
            <a:xfrm>
              <a:off x="4564420" y="1108738"/>
              <a:ext cx="1828800" cy="6155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333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01</a:t>
              </a:r>
              <a:endParaRPr sz="5333" dirty="0">
                <a:solidFill>
                  <a:schemeClr val="accent5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8" name="Google Shape;982;p12">
              <a:extLst>
                <a:ext uri="{FF2B5EF4-FFF2-40B4-BE49-F238E27FC236}">
                  <a16:creationId xmlns:a16="http://schemas.microsoft.com/office/drawing/2014/main" id="{FC085609-0292-B6CB-D069-323986F79325}"/>
                </a:ext>
              </a:extLst>
            </p:cNvPr>
            <p:cNvCxnSpPr/>
            <p:nvPr/>
          </p:nvCxnSpPr>
          <p:spPr>
            <a:xfrm>
              <a:off x="4572000" y="1654146"/>
              <a:ext cx="497840" cy="0"/>
            </a:xfrm>
            <a:prstGeom prst="straightConnector1">
              <a:avLst/>
            </a:prstGeom>
            <a:noFill/>
            <a:ln w="127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1" name="Google Shape;979;p12">
            <a:extLst>
              <a:ext uri="{FF2B5EF4-FFF2-40B4-BE49-F238E27FC236}">
                <a16:creationId xmlns:a16="http://schemas.microsoft.com/office/drawing/2014/main" id="{EC48630B-BD23-70AF-1C50-1295F654B63F}"/>
              </a:ext>
            </a:extLst>
          </p:cNvPr>
          <p:cNvGrpSpPr/>
          <p:nvPr/>
        </p:nvGrpSpPr>
        <p:grpSpPr>
          <a:xfrm>
            <a:off x="536574" y="2855194"/>
            <a:ext cx="4023307" cy="1060507"/>
            <a:chOff x="4564420" y="1108738"/>
            <a:chExt cx="3017480" cy="795381"/>
          </a:xfrm>
        </p:grpSpPr>
        <p:sp>
          <p:nvSpPr>
            <p:cNvPr id="12" name="Google Shape;980;p12">
              <a:extLst>
                <a:ext uri="{FF2B5EF4-FFF2-40B4-BE49-F238E27FC236}">
                  <a16:creationId xmlns:a16="http://schemas.microsoft.com/office/drawing/2014/main" id="{29AEAA47-D94E-C091-1912-C9FAE0FBDDFC}"/>
                </a:ext>
              </a:extLst>
            </p:cNvPr>
            <p:cNvSpPr txBox="1"/>
            <p:nvPr/>
          </p:nvSpPr>
          <p:spPr>
            <a:xfrm>
              <a:off x="4564420" y="1696370"/>
              <a:ext cx="3017480" cy="207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Reimagining the Supply Chain</a:t>
              </a:r>
            </a:p>
          </p:txBody>
        </p:sp>
        <p:sp>
          <p:nvSpPr>
            <p:cNvPr id="13" name="Google Shape;981;p12">
              <a:extLst>
                <a:ext uri="{FF2B5EF4-FFF2-40B4-BE49-F238E27FC236}">
                  <a16:creationId xmlns:a16="http://schemas.microsoft.com/office/drawing/2014/main" id="{6D6567B3-FE8B-95DE-F8AD-B4B4D2E8B254}"/>
                </a:ext>
              </a:extLst>
            </p:cNvPr>
            <p:cNvSpPr txBox="1"/>
            <p:nvPr/>
          </p:nvSpPr>
          <p:spPr>
            <a:xfrm>
              <a:off x="4564420" y="1108738"/>
              <a:ext cx="1828800" cy="6155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sz="5333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02</a:t>
              </a:r>
              <a:endParaRPr sz="5333" dirty="0">
                <a:solidFill>
                  <a:schemeClr val="accent5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14" name="Google Shape;982;p12">
              <a:extLst>
                <a:ext uri="{FF2B5EF4-FFF2-40B4-BE49-F238E27FC236}">
                  <a16:creationId xmlns:a16="http://schemas.microsoft.com/office/drawing/2014/main" id="{2BEC18DE-BEF3-A500-3660-840B40B4E203}"/>
                </a:ext>
              </a:extLst>
            </p:cNvPr>
            <p:cNvCxnSpPr/>
            <p:nvPr/>
          </p:nvCxnSpPr>
          <p:spPr>
            <a:xfrm>
              <a:off x="4572000" y="1654146"/>
              <a:ext cx="497840" cy="0"/>
            </a:xfrm>
            <a:prstGeom prst="straightConnector1">
              <a:avLst/>
            </a:prstGeom>
            <a:noFill/>
            <a:ln w="127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5" name="Google Shape;979;p12">
            <a:extLst>
              <a:ext uri="{FF2B5EF4-FFF2-40B4-BE49-F238E27FC236}">
                <a16:creationId xmlns:a16="http://schemas.microsoft.com/office/drawing/2014/main" id="{03E3304C-0485-50F4-9447-22552EDBDB42}"/>
              </a:ext>
            </a:extLst>
          </p:cNvPr>
          <p:cNvGrpSpPr/>
          <p:nvPr/>
        </p:nvGrpSpPr>
        <p:grpSpPr>
          <a:xfrm>
            <a:off x="536573" y="4288774"/>
            <a:ext cx="4023307" cy="1060507"/>
            <a:chOff x="4564419" y="1108738"/>
            <a:chExt cx="3017480" cy="795381"/>
          </a:xfrm>
        </p:grpSpPr>
        <p:sp>
          <p:nvSpPr>
            <p:cNvPr id="16" name="Google Shape;980;p12">
              <a:extLst>
                <a:ext uri="{FF2B5EF4-FFF2-40B4-BE49-F238E27FC236}">
                  <a16:creationId xmlns:a16="http://schemas.microsoft.com/office/drawing/2014/main" id="{039748ED-CBA2-2961-FE47-414E902CA5CA}"/>
                </a:ext>
              </a:extLst>
            </p:cNvPr>
            <p:cNvSpPr txBox="1"/>
            <p:nvPr/>
          </p:nvSpPr>
          <p:spPr>
            <a:xfrm>
              <a:off x="4564419" y="1696370"/>
              <a:ext cx="3017480" cy="207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Arial"/>
                  <a:cs typeface="Arial"/>
                  <a:sym typeface="Arial"/>
                </a:rPr>
                <a:t>Key Success Factors</a:t>
              </a:r>
            </a:p>
          </p:txBody>
        </p:sp>
        <p:sp>
          <p:nvSpPr>
            <p:cNvPr id="17" name="Google Shape;981;p12">
              <a:extLst>
                <a:ext uri="{FF2B5EF4-FFF2-40B4-BE49-F238E27FC236}">
                  <a16:creationId xmlns:a16="http://schemas.microsoft.com/office/drawing/2014/main" id="{A1E46A45-C808-C9DC-0EAD-66BF4A28BF06}"/>
                </a:ext>
              </a:extLst>
            </p:cNvPr>
            <p:cNvSpPr txBox="1"/>
            <p:nvPr/>
          </p:nvSpPr>
          <p:spPr>
            <a:xfrm>
              <a:off x="4564420" y="1108738"/>
              <a:ext cx="1828800" cy="6155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sz="5333" b="1" dirty="0">
                  <a:solidFill>
                    <a:schemeClr val="accent1"/>
                  </a:solidFill>
                  <a:latin typeface="Arial"/>
                  <a:cs typeface="Arial"/>
                  <a:sym typeface="Arial"/>
                </a:rPr>
                <a:t>03</a:t>
              </a:r>
              <a:endParaRPr sz="5333" b="1" dirty="0">
                <a:solidFill>
                  <a:schemeClr val="accent1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18" name="Google Shape;982;p12">
              <a:extLst>
                <a:ext uri="{FF2B5EF4-FFF2-40B4-BE49-F238E27FC236}">
                  <a16:creationId xmlns:a16="http://schemas.microsoft.com/office/drawing/2014/main" id="{14A790FE-AC25-699F-152C-1505A6E86722}"/>
                </a:ext>
              </a:extLst>
            </p:cNvPr>
            <p:cNvCxnSpPr/>
            <p:nvPr/>
          </p:nvCxnSpPr>
          <p:spPr>
            <a:xfrm>
              <a:off x="4572000" y="1654146"/>
              <a:ext cx="49784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E3E3501F-EF1F-7426-BE72-EE794019705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3604" y="6456691"/>
            <a:ext cx="1686713" cy="3241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E351A0-65C4-C551-B0A1-1E4982CF459B}"/>
              </a:ext>
            </a:extLst>
          </p:cNvPr>
          <p:cNvSpPr txBox="1"/>
          <p:nvPr/>
        </p:nvSpPr>
        <p:spPr>
          <a:xfrm>
            <a:off x="479424" y="6575039"/>
            <a:ext cx="2093522" cy="1958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lvl="0" indent="0" algn="r">
              <a:lnSpc>
                <a:spcPct val="100000"/>
              </a:lnSpc>
              <a:spcBef>
                <a:spcPts val="600"/>
              </a:spcBef>
              <a:buFont typeface="Arial"/>
              <a:buNone/>
              <a:defRPr sz="800"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l"/>
            <a:r>
              <a:rPr lang="en-US" dirty="0"/>
              <a:t>Copyright © Hatch 2023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7926C2-B400-BCBC-24BD-81DBDE6248CA}"/>
              </a:ext>
            </a:extLst>
          </p:cNvPr>
          <p:cNvSpPr txBox="1"/>
          <p:nvPr/>
        </p:nvSpPr>
        <p:spPr>
          <a:xfrm>
            <a:off x="11318507" y="6575039"/>
            <a:ext cx="322631" cy="177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Font typeface="Arial"/>
              <a:buNone/>
              <a:defRPr sz="900"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r"/>
            <a:fld id="{2C47FC89-94BB-4EAC-8CC1-5DD1CE33A36E}" type="slidenum">
              <a:rPr lang="en-AU" sz="1000" smtClean="0">
                <a:solidFill>
                  <a:schemeClr val="bg1"/>
                </a:solidFill>
                <a:latin typeface="+mn-lt"/>
              </a:rPr>
              <a:pPr lvl="0" algn="r"/>
              <a:t>14</a:t>
            </a:fld>
            <a:endParaRPr lang="en-AU" sz="10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77453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E98E7408-3882-8943-739C-B7D1FB1875BB}"/>
              </a:ext>
            </a:extLst>
          </p:cNvPr>
          <p:cNvSpPr/>
          <p:nvPr/>
        </p:nvSpPr>
        <p:spPr>
          <a:xfrm>
            <a:off x="419100" y="1371600"/>
            <a:ext cx="3644385" cy="4953000"/>
          </a:xfrm>
          <a:prstGeom prst="roundRect">
            <a:avLst>
              <a:gd name="adj" fmla="val 335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9" name="Picture 8" descr="Solar panels and wind turbines in a field&#10;&#10;Description automatically generated with low confidence">
            <a:extLst>
              <a:ext uri="{FF2B5EF4-FFF2-40B4-BE49-F238E27FC236}">
                <a16:creationId xmlns:a16="http://schemas.microsoft.com/office/drawing/2014/main" id="{97742B32-64B9-44E3-ACDB-9D6055FA4C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417" y="1496833"/>
            <a:ext cx="3395751" cy="3894151"/>
          </a:xfrm>
          <a:prstGeom prst="roundRect">
            <a:avLst>
              <a:gd name="adj" fmla="val 5662"/>
            </a:avLst>
          </a:prstGeom>
          <a:solidFill>
            <a:schemeClr val="bg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C679E3-FFD3-85CB-4B05-29F682C50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ical success factors	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FF1AD95-10C8-158E-E622-D9DCBCD5A41C}"/>
              </a:ext>
            </a:extLst>
          </p:cNvPr>
          <p:cNvSpPr/>
          <p:nvPr/>
        </p:nvSpPr>
        <p:spPr>
          <a:xfrm>
            <a:off x="520755" y="5427284"/>
            <a:ext cx="3441074" cy="779026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n-lt"/>
              </a:rPr>
              <a:t>Abundant, sustainable and affordable energy is essential for redefining </a:t>
            </a:r>
            <a:r>
              <a:rPr lang="en-US" sz="1200" b="1" dirty="0" err="1">
                <a:solidFill>
                  <a:schemeClr val="bg1"/>
                </a:solidFill>
                <a:latin typeface="+mn-lt"/>
              </a:rPr>
              <a:t>sadc’s</a:t>
            </a:r>
            <a:r>
              <a:rPr lang="en-US" sz="1200" b="1" dirty="0">
                <a:solidFill>
                  <a:schemeClr val="bg1"/>
                </a:solidFill>
                <a:latin typeface="+mn-lt"/>
              </a:rPr>
              <a:t> role in the battery metal supply chai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7F6C9C7A-B73E-C5E4-CFFD-030030ED2B26}"/>
              </a:ext>
            </a:extLst>
          </p:cNvPr>
          <p:cNvSpPr/>
          <p:nvPr/>
        </p:nvSpPr>
        <p:spPr>
          <a:xfrm>
            <a:off x="4254757" y="1371600"/>
            <a:ext cx="3644385" cy="4953000"/>
          </a:xfrm>
          <a:prstGeom prst="roundRect">
            <a:avLst>
              <a:gd name="adj" fmla="val 335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B5FDCB62-02FE-0DF3-C211-9E4950370FF1}"/>
              </a:ext>
            </a:extLst>
          </p:cNvPr>
          <p:cNvSpPr/>
          <p:nvPr/>
        </p:nvSpPr>
        <p:spPr>
          <a:xfrm>
            <a:off x="4356412" y="5491292"/>
            <a:ext cx="3441074" cy="519351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n-lt"/>
              </a:rPr>
              <a:t>Improving investor attractiveness at country and regional level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C226F0F2-1DAF-A40C-4366-254D1E4A2CB0}"/>
              </a:ext>
            </a:extLst>
          </p:cNvPr>
          <p:cNvSpPr/>
          <p:nvPr/>
        </p:nvSpPr>
        <p:spPr>
          <a:xfrm>
            <a:off x="8090415" y="1371600"/>
            <a:ext cx="3644385" cy="4953000"/>
          </a:xfrm>
          <a:prstGeom prst="roundRect">
            <a:avLst>
              <a:gd name="adj" fmla="val 335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7B5D5EF-B10D-7CE5-9A32-FBA90594BAD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14732" y="1496833"/>
            <a:ext cx="3395751" cy="3894151"/>
          </a:xfrm>
          <a:prstGeom prst="roundRect">
            <a:avLst>
              <a:gd name="adj" fmla="val 5662"/>
            </a:avLst>
          </a:prstGeom>
          <a:solidFill>
            <a:schemeClr val="bg1"/>
          </a:solidFill>
        </p:spPr>
      </p:pic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F59A8F82-645A-A6D5-0BB0-E14AA69BC43B}"/>
              </a:ext>
            </a:extLst>
          </p:cNvPr>
          <p:cNvSpPr/>
          <p:nvPr/>
        </p:nvSpPr>
        <p:spPr>
          <a:xfrm>
            <a:off x="8192070" y="5491292"/>
            <a:ext cx="3441074" cy="46166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n-lt"/>
              </a:rPr>
              <a:t>Tailor-made technologies and partnerships with the right global players</a:t>
            </a:r>
            <a:endParaRPr lang="en-US" sz="1200" b="1" dirty="0">
              <a:solidFill>
                <a:schemeClr val="bg1"/>
              </a:solidFill>
            </a:endParaRPr>
          </a:p>
        </p:txBody>
      </p:sp>
      <p:pic>
        <p:nvPicPr>
          <p:cNvPr id="8" name="Picture 7" descr="A group of people standing in front of a large window&#10;&#10;Description automatically generated with medium confidence">
            <a:extLst>
              <a:ext uri="{FF2B5EF4-FFF2-40B4-BE49-F238E27FC236}">
                <a16:creationId xmlns:a16="http://schemas.microsoft.com/office/drawing/2014/main" id="{13DDB2B9-2AF4-2861-2640-EA4FFDC797C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17" r="50553"/>
          <a:stretch/>
        </p:blipFill>
        <p:spPr>
          <a:xfrm>
            <a:off x="4356412" y="1496833"/>
            <a:ext cx="3441074" cy="3894151"/>
          </a:xfrm>
          <a:prstGeom prst="roundRect">
            <a:avLst>
              <a:gd name="adj" fmla="val 5662"/>
            </a:avLst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678608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83" descr="A picture containing wheel, vehicle, land vehicle, tire&#10;&#10;Description automatically generated">
            <a:extLst>
              <a:ext uri="{FF2B5EF4-FFF2-40B4-BE49-F238E27FC236}">
                <a16:creationId xmlns:a16="http://schemas.microsoft.com/office/drawing/2014/main" id="{40C57A58-EAE2-EDC3-79C4-B2EB347ADF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B72F58B-61D3-1C10-F55D-3AF1B0E7E16F}"/>
              </a:ext>
            </a:extLst>
          </p:cNvPr>
          <p:cNvSpPr/>
          <p:nvPr/>
        </p:nvSpPr>
        <p:spPr>
          <a:xfrm>
            <a:off x="0" y="1"/>
            <a:ext cx="12192000" cy="5367527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D7C4CB-A802-278F-4619-ECE4417D60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ailoring technologies and engaging the right global partners should not be an afterthought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D64ED04-4DF2-C534-0C6A-A4E4ED7FA08B}"/>
              </a:ext>
            </a:extLst>
          </p:cNvPr>
          <p:cNvSpPr txBox="1"/>
          <p:nvPr/>
        </p:nvSpPr>
        <p:spPr>
          <a:xfrm flipH="1">
            <a:off x="2790517" y="2647855"/>
            <a:ext cx="17132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Business case development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1B16A9A9-BEF2-AFBE-1B57-25A1823C399B}"/>
              </a:ext>
            </a:extLst>
          </p:cNvPr>
          <p:cNvSpPr txBox="1"/>
          <p:nvPr/>
        </p:nvSpPr>
        <p:spPr>
          <a:xfrm flipH="1">
            <a:off x="2790517" y="3509358"/>
            <a:ext cx="1713201" cy="1396142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Market analysis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Demand clustering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Partner selection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Finance structuring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13ED46CF-91A5-5A2A-5397-494915DE1213}"/>
              </a:ext>
            </a:extLst>
          </p:cNvPr>
          <p:cNvCxnSpPr>
            <a:cxnSpLocks/>
          </p:cNvCxnSpPr>
          <p:nvPr/>
        </p:nvCxnSpPr>
        <p:spPr>
          <a:xfrm>
            <a:off x="2790517" y="3250026"/>
            <a:ext cx="171320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Oval 171">
            <a:extLst>
              <a:ext uri="{FF2B5EF4-FFF2-40B4-BE49-F238E27FC236}">
                <a16:creationId xmlns:a16="http://schemas.microsoft.com/office/drawing/2014/main" id="{BAF28D2F-A76A-FBA7-1F5D-762B24A71712}"/>
              </a:ext>
            </a:extLst>
          </p:cNvPr>
          <p:cNvSpPr/>
          <p:nvPr/>
        </p:nvSpPr>
        <p:spPr>
          <a:xfrm>
            <a:off x="2790517" y="1709609"/>
            <a:ext cx="760271" cy="76027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Arial" panose="020B0604020202020204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8D304E1E-E707-4EB6-2F28-F79898E334BE}"/>
              </a:ext>
            </a:extLst>
          </p:cNvPr>
          <p:cNvSpPr txBox="1"/>
          <p:nvPr/>
        </p:nvSpPr>
        <p:spPr>
          <a:xfrm flipH="1">
            <a:off x="5039399" y="2647855"/>
            <a:ext cx="217426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 err="1">
                <a:solidFill>
                  <a:schemeClr val="accent1"/>
                </a:solidFill>
              </a:rPr>
              <a:t>Testwork</a:t>
            </a:r>
            <a:r>
              <a:rPr lang="en-US" sz="1600" b="1" dirty="0">
                <a:solidFill>
                  <a:schemeClr val="accent1"/>
                </a:solidFill>
              </a:rPr>
              <a:t> and process development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7C6C49E-DA61-2DBE-DBEF-3B7D4186ADA4}"/>
              </a:ext>
            </a:extLst>
          </p:cNvPr>
          <p:cNvSpPr txBox="1"/>
          <p:nvPr/>
        </p:nvSpPr>
        <p:spPr>
          <a:xfrm flipH="1">
            <a:off x="5039399" y="3509358"/>
            <a:ext cx="2174258" cy="1026810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Flowsheet customization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caling up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Timing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40D603A6-AC5E-C9B8-F630-F25F7B538F1D}"/>
              </a:ext>
            </a:extLst>
          </p:cNvPr>
          <p:cNvCxnSpPr>
            <a:cxnSpLocks/>
          </p:cNvCxnSpPr>
          <p:nvPr/>
        </p:nvCxnSpPr>
        <p:spPr>
          <a:xfrm>
            <a:off x="5039399" y="3250026"/>
            <a:ext cx="171320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Oval 181">
            <a:extLst>
              <a:ext uri="{FF2B5EF4-FFF2-40B4-BE49-F238E27FC236}">
                <a16:creationId xmlns:a16="http://schemas.microsoft.com/office/drawing/2014/main" id="{468E9686-8959-2EC9-BD40-025C3DFFF7B5}"/>
              </a:ext>
            </a:extLst>
          </p:cNvPr>
          <p:cNvSpPr/>
          <p:nvPr/>
        </p:nvSpPr>
        <p:spPr>
          <a:xfrm>
            <a:off x="5039399" y="1709609"/>
            <a:ext cx="760271" cy="76027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Arial" panose="020B0604020202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FE31EC28-7D10-AE51-77FD-4DA8B865EFB8}"/>
              </a:ext>
            </a:extLst>
          </p:cNvPr>
          <p:cNvSpPr txBox="1"/>
          <p:nvPr/>
        </p:nvSpPr>
        <p:spPr>
          <a:xfrm flipH="1">
            <a:off x="7749340" y="2647855"/>
            <a:ext cx="17132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Design and project execution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3B90824-5FB8-B98F-25C9-E1E70E6DDD79}"/>
              </a:ext>
            </a:extLst>
          </p:cNvPr>
          <p:cNvSpPr txBox="1"/>
          <p:nvPr/>
        </p:nvSpPr>
        <p:spPr>
          <a:xfrm flipH="1">
            <a:off x="7749340" y="3509358"/>
            <a:ext cx="1713201" cy="1457698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CAPEX optimization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upply chain management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ustainability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5ABA00EE-90D2-AD59-1C5F-BB28E6F35475}"/>
              </a:ext>
            </a:extLst>
          </p:cNvPr>
          <p:cNvCxnSpPr>
            <a:cxnSpLocks/>
          </p:cNvCxnSpPr>
          <p:nvPr/>
        </p:nvCxnSpPr>
        <p:spPr>
          <a:xfrm>
            <a:off x="7749340" y="3250026"/>
            <a:ext cx="171320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Oval 191">
            <a:extLst>
              <a:ext uri="{FF2B5EF4-FFF2-40B4-BE49-F238E27FC236}">
                <a16:creationId xmlns:a16="http://schemas.microsoft.com/office/drawing/2014/main" id="{15C18B04-79FE-895F-8449-0148540B4714}"/>
              </a:ext>
            </a:extLst>
          </p:cNvPr>
          <p:cNvSpPr/>
          <p:nvPr/>
        </p:nvSpPr>
        <p:spPr>
          <a:xfrm>
            <a:off x="7749340" y="1709609"/>
            <a:ext cx="760271" cy="76027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Arial" panose="020B060402020202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784C2600-C8F7-7AD1-20C1-329DF0B0785E}"/>
              </a:ext>
            </a:extLst>
          </p:cNvPr>
          <p:cNvSpPr txBox="1"/>
          <p:nvPr/>
        </p:nvSpPr>
        <p:spPr>
          <a:xfrm flipH="1">
            <a:off x="9998223" y="2647855"/>
            <a:ext cx="17132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Operation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21BE287F-6054-9EB1-9AC7-E021799B192A}"/>
              </a:ext>
            </a:extLst>
          </p:cNvPr>
          <p:cNvSpPr txBox="1"/>
          <p:nvPr/>
        </p:nvSpPr>
        <p:spPr>
          <a:xfrm flipH="1">
            <a:off x="9998223" y="3509358"/>
            <a:ext cx="1713201" cy="1026810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Quick ramp-up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Product quality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Adaptability</a:t>
            </a:r>
          </a:p>
        </p:txBody>
      </p: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BEF5EB27-DF6B-733B-E3ED-B641D0E8B6C2}"/>
              </a:ext>
            </a:extLst>
          </p:cNvPr>
          <p:cNvCxnSpPr>
            <a:cxnSpLocks/>
          </p:cNvCxnSpPr>
          <p:nvPr/>
        </p:nvCxnSpPr>
        <p:spPr>
          <a:xfrm>
            <a:off x="9998223" y="3250026"/>
            <a:ext cx="171320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Oval 201">
            <a:extLst>
              <a:ext uri="{FF2B5EF4-FFF2-40B4-BE49-F238E27FC236}">
                <a16:creationId xmlns:a16="http://schemas.microsoft.com/office/drawing/2014/main" id="{218E6275-F12E-04F0-F18C-34DE1098C121}"/>
              </a:ext>
            </a:extLst>
          </p:cNvPr>
          <p:cNvSpPr/>
          <p:nvPr/>
        </p:nvSpPr>
        <p:spPr>
          <a:xfrm>
            <a:off x="9998223" y="1709609"/>
            <a:ext cx="760271" cy="76027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97C205-7E28-03CC-0871-92DE0F708DD2}"/>
              </a:ext>
            </a:extLst>
          </p:cNvPr>
          <p:cNvSpPr txBox="1"/>
          <p:nvPr/>
        </p:nvSpPr>
        <p:spPr>
          <a:xfrm flipH="1">
            <a:off x="541635" y="2647855"/>
            <a:ext cx="171320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Exploration</a:t>
            </a:r>
          </a:p>
          <a:p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5BF3E3-94AE-8630-AF03-F9AA5FBFAD10}"/>
              </a:ext>
            </a:extLst>
          </p:cNvPr>
          <p:cNvSpPr txBox="1"/>
          <p:nvPr/>
        </p:nvSpPr>
        <p:spPr>
          <a:xfrm flipH="1">
            <a:off x="541635" y="3509358"/>
            <a:ext cx="1713201" cy="1026810"/>
          </a:xfrm>
          <a:prstGeom prst="rect">
            <a:avLst/>
          </a:prstGeom>
          <a:noFill/>
        </p:spPr>
        <p:txBody>
          <a:bodyPr wrap="square" lIns="0" tIns="36000" rIns="0" bIns="36000" rtlCol="0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ite selection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Technology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Flexibility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CC1DEC6-8C70-A40D-8A43-B9F654B3F946}"/>
              </a:ext>
            </a:extLst>
          </p:cNvPr>
          <p:cNvSpPr/>
          <p:nvPr/>
        </p:nvSpPr>
        <p:spPr>
          <a:xfrm>
            <a:off x="541635" y="1709609"/>
            <a:ext cx="760271" cy="76027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Arial" panose="020B0604020202020204" pitchFamily="34" charset="0"/>
            </a:endParaRPr>
          </a:p>
        </p:txBody>
      </p: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44756401-84A7-9900-68F5-9E6214EA5518}"/>
              </a:ext>
            </a:extLst>
          </p:cNvPr>
          <p:cNvCxnSpPr>
            <a:cxnSpLocks/>
          </p:cNvCxnSpPr>
          <p:nvPr/>
        </p:nvCxnSpPr>
        <p:spPr>
          <a:xfrm>
            <a:off x="541635" y="3250026"/>
            <a:ext cx="171320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081BDE91-A2FE-F1E5-0F58-2902101BEEC5}"/>
              </a:ext>
            </a:extLst>
          </p:cNvPr>
          <p:cNvGrpSpPr/>
          <p:nvPr/>
        </p:nvGrpSpPr>
        <p:grpSpPr>
          <a:xfrm rot="5400000">
            <a:off x="735147" y="1970306"/>
            <a:ext cx="373246" cy="238877"/>
            <a:chOff x="10385425" y="4310062"/>
            <a:chExt cx="515938" cy="330200"/>
          </a:xfrm>
        </p:grpSpPr>
        <p:sp>
          <p:nvSpPr>
            <p:cNvPr id="218" name="Freeform 356">
              <a:extLst>
                <a:ext uri="{FF2B5EF4-FFF2-40B4-BE49-F238E27FC236}">
                  <a16:creationId xmlns:a16="http://schemas.microsoft.com/office/drawing/2014/main" id="{BB1A7625-51E8-2D6D-4E66-051D90CFD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1788" y="4310062"/>
              <a:ext cx="409575" cy="330200"/>
            </a:xfrm>
            <a:custGeom>
              <a:avLst/>
              <a:gdLst>
                <a:gd name="T0" fmla="*/ 0 w 258"/>
                <a:gd name="T1" fmla="*/ 45 h 208"/>
                <a:gd name="T2" fmla="*/ 158 w 258"/>
                <a:gd name="T3" fmla="*/ 45 h 208"/>
                <a:gd name="T4" fmla="*/ 158 w 258"/>
                <a:gd name="T5" fmla="*/ 0 h 208"/>
                <a:gd name="T6" fmla="*/ 258 w 258"/>
                <a:gd name="T7" fmla="*/ 104 h 208"/>
                <a:gd name="T8" fmla="*/ 163 w 258"/>
                <a:gd name="T9" fmla="*/ 208 h 208"/>
                <a:gd name="T10" fmla="*/ 163 w 258"/>
                <a:gd name="T11" fmla="*/ 161 h 208"/>
                <a:gd name="T12" fmla="*/ 0 w 258"/>
                <a:gd name="T13" fmla="*/ 161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208">
                  <a:moveTo>
                    <a:pt x="0" y="45"/>
                  </a:moveTo>
                  <a:lnTo>
                    <a:pt x="158" y="45"/>
                  </a:lnTo>
                  <a:lnTo>
                    <a:pt x="158" y="0"/>
                  </a:lnTo>
                  <a:lnTo>
                    <a:pt x="258" y="104"/>
                  </a:lnTo>
                  <a:lnTo>
                    <a:pt x="163" y="208"/>
                  </a:lnTo>
                  <a:lnTo>
                    <a:pt x="163" y="161"/>
                  </a:lnTo>
                  <a:lnTo>
                    <a:pt x="0" y="161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" name="Line 357">
              <a:extLst>
                <a:ext uri="{FF2B5EF4-FFF2-40B4-BE49-F238E27FC236}">
                  <a16:creationId xmlns:a16="http://schemas.microsoft.com/office/drawing/2014/main" id="{B406CE88-3D57-80E9-ADAD-0964725B5A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385425" y="4502150"/>
              <a:ext cx="312738" cy="0"/>
            </a:xfrm>
            <a:prstGeom prst="line">
              <a:avLst/>
            </a:pr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" name="Line 358">
              <a:extLst>
                <a:ext uri="{FF2B5EF4-FFF2-40B4-BE49-F238E27FC236}">
                  <a16:creationId xmlns:a16="http://schemas.microsoft.com/office/drawing/2014/main" id="{A089ECB6-5143-A3F0-D8C5-4BAA0C7008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56863" y="4441825"/>
              <a:ext cx="241300" cy="0"/>
            </a:xfrm>
            <a:prstGeom prst="line">
              <a:avLst/>
            </a:pr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21" name="Group 28">
            <a:extLst>
              <a:ext uri="{FF2B5EF4-FFF2-40B4-BE49-F238E27FC236}">
                <a16:creationId xmlns:a16="http://schemas.microsoft.com/office/drawing/2014/main" id="{995BFA3C-7531-4765-2188-45D1C6A69D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45071" y="1939065"/>
            <a:ext cx="451162" cy="301359"/>
            <a:chOff x="3797" y="1242"/>
            <a:chExt cx="515" cy="344"/>
          </a:xfrm>
        </p:grpSpPr>
        <p:sp>
          <p:nvSpPr>
            <p:cNvPr id="222" name="Freeform 29">
              <a:extLst>
                <a:ext uri="{FF2B5EF4-FFF2-40B4-BE49-F238E27FC236}">
                  <a16:creationId xmlns:a16="http://schemas.microsoft.com/office/drawing/2014/main" id="{18C56806-DC4E-0433-7BF9-255933666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" y="1242"/>
              <a:ext cx="226" cy="199"/>
            </a:xfrm>
            <a:custGeom>
              <a:avLst/>
              <a:gdLst>
                <a:gd name="T0" fmla="*/ 57 w 94"/>
                <a:gd name="T1" fmla="*/ 18 h 82"/>
                <a:gd name="T2" fmla="*/ 50 w 94"/>
                <a:gd name="T3" fmla="*/ 4 h 82"/>
                <a:gd name="T4" fmla="*/ 39 w 94"/>
                <a:gd name="T5" fmla="*/ 6 h 82"/>
                <a:gd name="T6" fmla="*/ 7 w 94"/>
                <a:gd name="T7" fmla="*/ 62 h 82"/>
                <a:gd name="T8" fmla="*/ 4 w 94"/>
                <a:gd name="T9" fmla="*/ 67 h 82"/>
                <a:gd name="T10" fmla="*/ 6 w 94"/>
                <a:gd name="T11" fmla="*/ 79 h 82"/>
                <a:gd name="T12" fmla="*/ 21 w 94"/>
                <a:gd name="T13" fmla="*/ 76 h 82"/>
                <a:gd name="T14" fmla="*/ 49 w 94"/>
                <a:gd name="T15" fmla="*/ 26 h 82"/>
                <a:gd name="T16" fmla="*/ 64 w 94"/>
                <a:gd name="T17" fmla="*/ 18 h 82"/>
                <a:gd name="T18" fmla="*/ 85 w 94"/>
                <a:gd name="T19" fmla="*/ 18 h 82"/>
                <a:gd name="T20" fmla="*/ 94 w 94"/>
                <a:gd name="T21" fmla="*/ 2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82">
                  <a:moveTo>
                    <a:pt x="57" y="18"/>
                  </a:moveTo>
                  <a:cubicBezTo>
                    <a:pt x="56" y="12"/>
                    <a:pt x="55" y="7"/>
                    <a:pt x="50" y="4"/>
                  </a:cubicBezTo>
                  <a:cubicBezTo>
                    <a:pt x="44" y="0"/>
                    <a:pt x="42" y="0"/>
                    <a:pt x="39" y="6"/>
                  </a:cubicBezTo>
                  <a:cubicBezTo>
                    <a:pt x="28" y="25"/>
                    <a:pt x="18" y="43"/>
                    <a:pt x="7" y="62"/>
                  </a:cubicBezTo>
                  <a:cubicBezTo>
                    <a:pt x="6" y="63"/>
                    <a:pt x="5" y="65"/>
                    <a:pt x="4" y="67"/>
                  </a:cubicBezTo>
                  <a:cubicBezTo>
                    <a:pt x="0" y="74"/>
                    <a:pt x="0" y="76"/>
                    <a:pt x="6" y="79"/>
                  </a:cubicBezTo>
                  <a:cubicBezTo>
                    <a:pt x="11" y="82"/>
                    <a:pt x="18" y="81"/>
                    <a:pt x="21" y="76"/>
                  </a:cubicBezTo>
                  <a:cubicBezTo>
                    <a:pt x="30" y="59"/>
                    <a:pt x="40" y="43"/>
                    <a:pt x="49" y="26"/>
                  </a:cubicBezTo>
                  <a:cubicBezTo>
                    <a:pt x="53" y="20"/>
                    <a:pt x="57" y="17"/>
                    <a:pt x="64" y="18"/>
                  </a:cubicBezTo>
                  <a:cubicBezTo>
                    <a:pt x="71" y="18"/>
                    <a:pt x="78" y="18"/>
                    <a:pt x="85" y="18"/>
                  </a:cubicBezTo>
                  <a:cubicBezTo>
                    <a:pt x="88" y="18"/>
                    <a:pt x="91" y="18"/>
                    <a:pt x="94" y="20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3" name="Freeform 30">
              <a:extLst>
                <a:ext uri="{FF2B5EF4-FFF2-40B4-BE49-F238E27FC236}">
                  <a16:creationId xmlns:a16="http://schemas.microsoft.com/office/drawing/2014/main" id="{7FCCE5B6-CE41-4525-8A29-FDCF79F19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5" y="1273"/>
              <a:ext cx="327" cy="209"/>
            </a:xfrm>
            <a:custGeom>
              <a:avLst/>
              <a:gdLst>
                <a:gd name="T0" fmla="*/ 86 w 136"/>
                <a:gd name="T1" fmla="*/ 12 h 86"/>
                <a:gd name="T2" fmla="*/ 112 w 136"/>
                <a:gd name="T3" fmla="*/ 63 h 86"/>
                <a:gd name="T4" fmla="*/ 126 w 136"/>
                <a:gd name="T5" fmla="*/ 69 h 86"/>
                <a:gd name="T6" fmla="*/ 136 w 136"/>
                <a:gd name="T7" fmla="*/ 63 h 86"/>
                <a:gd name="T8" fmla="*/ 101 w 136"/>
                <a:gd name="T9" fmla="*/ 0 h 86"/>
                <a:gd name="T10" fmla="*/ 89 w 136"/>
                <a:gd name="T11" fmla="*/ 8 h 86"/>
                <a:gd name="T12" fmla="*/ 80 w 136"/>
                <a:gd name="T13" fmla="*/ 11 h 86"/>
                <a:gd name="T14" fmla="*/ 37 w 136"/>
                <a:gd name="T15" fmla="*/ 5 h 86"/>
                <a:gd name="T16" fmla="*/ 11 w 136"/>
                <a:gd name="T17" fmla="*/ 12 h 86"/>
                <a:gd name="T18" fmla="*/ 7 w 136"/>
                <a:gd name="T19" fmla="*/ 21 h 86"/>
                <a:gd name="T20" fmla="*/ 9 w 136"/>
                <a:gd name="T21" fmla="*/ 45 h 86"/>
                <a:gd name="T22" fmla="*/ 25 w 136"/>
                <a:gd name="T23" fmla="*/ 36 h 86"/>
                <a:gd name="T24" fmla="*/ 46 w 136"/>
                <a:gd name="T25" fmla="*/ 34 h 86"/>
                <a:gd name="T26" fmla="*/ 59 w 136"/>
                <a:gd name="T27" fmla="*/ 50 h 86"/>
                <a:gd name="T28" fmla="*/ 86 w 136"/>
                <a:gd name="T29" fmla="*/ 79 h 86"/>
                <a:gd name="T30" fmla="*/ 90 w 136"/>
                <a:gd name="T3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86">
                  <a:moveTo>
                    <a:pt x="86" y="12"/>
                  </a:moveTo>
                  <a:cubicBezTo>
                    <a:pt x="95" y="29"/>
                    <a:pt x="104" y="46"/>
                    <a:pt x="112" y="63"/>
                  </a:cubicBezTo>
                  <a:cubicBezTo>
                    <a:pt x="116" y="70"/>
                    <a:pt x="121" y="70"/>
                    <a:pt x="126" y="69"/>
                  </a:cubicBezTo>
                  <a:cubicBezTo>
                    <a:pt x="129" y="68"/>
                    <a:pt x="133" y="68"/>
                    <a:pt x="136" y="63"/>
                  </a:cubicBezTo>
                  <a:cubicBezTo>
                    <a:pt x="125" y="42"/>
                    <a:pt x="114" y="20"/>
                    <a:pt x="101" y="0"/>
                  </a:cubicBezTo>
                  <a:cubicBezTo>
                    <a:pt x="95" y="1"/>
                    <a:pt x="92" y="4"/>
                    <a:pt x="89" y="8"/>
                  </a:cubicBezTo>
                  <a:cubicBezTo>
                    <a:pt x="86" y="11"/>
                    <a:pt x="83" y="12"/>
                    <a:pt x="80" y="11"/>
                  </a:cubicBezTo>
                  <a:cubicBezTo>
                    <a:pt x="65" y="9"/>
                    <a:pt x="51" y="6"/>
                    <a:pt x="37" y="5"/>
                  </a:cubicBezTo>
                  <a:cubicBezTo>
                    <a:pt x="28" y="5"/>
                    <a:pt x="19" y="4"/>
                    <a:pt x="11" y="12"/>
                  </a:cubicBezTo>
                  <a:cubicBezTo>
                    <a:pt x="8" y="15"/>
                    <a:pt x="7" y="18"/>
                    <a:pt x="7" y="21"/>
                  </a:cubicBezTo>
                  <a:cubicBezTo>
                    <a:pt x="6" y="29"/>
                    <a:pt x="0" y="41"/>
                    <a:pt x="9" y="45"/>
                  </a:cubicBezTo>
                  <a:cubicBezTo>
                    <a:pt x="17" y="49"/>
                    <a:pt x="21" y="41"/>
                    <a:pt x="25" y="36"/>
                  </a:cubicBezTo>
                  <a:cubicBezTo>
                    <a:pt x="33" y="26"/>
                    <a:pt x="36" y="27"/>
                    <a:pt x="46" y="34"/>
                  </a:cubicBezTo>
                  <a:cubicBezTo>
                    <a:pt x="52" y="38"/>
                    <a:pt x="54" y="45"/>
                    <a:pt x="59" y="50"/>
                  </a:cubicBezTo>
                  <a:cubicBezTo>
                    <a:pt x="68" y="59"/>
                    <a:pt x="77" y="69"/>
                    <a:pt x="86" y="79"/>
                  </a:cubicBezTo>
                  <a:cubicBezTo>
                    <a:pt x="88" y="81"/>
                    <a:pt x="89" y="84"/>
                    <a:pt x="90" y="86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" name="Freeform 31">
              <a:extLst>
                <a:ext uri="{FF2B5EF4-FFF2-40B4-BE49-F238E27FC236}">
                  <a16:creationId xmlns:a16="http://schemas.microsoft.com/office/drawing/2014/main" id="{4B22F38B-8683-E137-79B2-EB35FB680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" y="1453"/>
              <a:ext cx="190" cy="109"/>
            </a:xfrm>
            <a:custGeom>
              <a:avLst/>
              <a:gdLst>
                <a:gd name="T0" fmla="*/ 46 w 79"/>
                <a:gd name="T1" fmla="*/ 0 h 45"/>
                <a:gd name="T2" fmla="*/ 72 w 79"/>
                <a:gd name="T3" fmla="*/ 27 h 45"/>
                <a:gd name="T4" fmla="*/ 68 w 79"/>
                <a:gd name="T5" fmla="*/ 44 h 45"/>
                <a:gd name="T6" fmla="*/ 61 w 79"/>
                <a:gd name="T7" fmla="*/ 42 h 45"/>
                <a:gd name="T8" fmla="*/ 39 w 79"/>
                <a:gd name="T9" fmla="*/ 16 h 45"/>
                <a:gd name="T10" fmla="*/ 32 w 79"/>
                <a:gd name="T11" fmla="*/ 12 h 45"/>
                <a:gd name="T12" fmla="*/ 14 w 79"/>
                <a:gd name="T13" fmla="*/ 12 h 45"/>
                <a:gd name="T14" fmla="*/ 3 w 79"/>
                <a:gd name="T15" fmla="*/ 26 h 45"/>
                <a:gd name="T16" fmla="*/ 20 w 79"/>
                <a:gd name="T17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45">
                  <a:moveTo>
                    <a:pt x="46" y="0"/>
                  </a:moveTo>
                  <a:cubicBezTo>
                    <a:pt x="55" y="9"/>
                    <a:pt x="64" y="18"/>
                    <a:pt x="72" y="27"/>
                  </a:cubicBezTo>
                  <a:cubicBezTo>
                    <a:pt x="79" y="34"/>
                    <a:pt x="77" y="40"/>
                    <a:pt x="68" y="44"/>
                  </a:cubicBezTo>
                  <a:cubicBezTo>
                    <a:pt x="66" y="45"/>
                    <a:pt x="63" y="44"/>
                    <a:pt x="61" y="42"/>
                  </a:cubicBezTo>
                  <a:cubicBezTo>
                    <a:pt x="54" y="33"/>
                    <a:pt x="46" y="24"/>
                    <a:pt x="39" y="16"/>
                  </a:cubicBezTo>
                  <a:cubicBezTo>
                    <a:pt x="37" y="14"/>
                    <a:pt x="36" y="11"/>
                    <a:pt x="32" y="12"/>
                  </a:cubicBezTo>
                  <a:cubicBezTo>
                    <a:pt x="26" y="12"/>
                    <a:pt x="21" y="3"/>
                    <a:pt x="14" y="12"/>
                  </a:cubicBezTo>
                  <a:cubicBezTo>
                    <a:pt x="10" y="16"/>
                    <a:pt x="6" y="20"/>
                    <a:pt x="3" y="26"/>
                  </a:cubicBezTo>
                  <a:cubicBezTo>
                    <a:pt x="0" y="34"/>
                    <a:pt x="10" y="43"/>
                    <a:pt x="20" y="41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" name="Freeform 32">
              <a:extLst>
                <a:ext uri="{FF2B5EF4-FFF2-40B4-BE49-F238E27FC236}">
                  <a16:creationId xmlns:a16="http://schemas.microsoft.com/office/drawing/2014/main" id="{63D62EFB-19BA-EE0B-4C05-C36E704E9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3" y="1424"/>
              <a:ext cx="79" cy="111"/>
            </a:xfrm>
            <a:custGeom>
              <a:avLst/>
              <a:gdLst>
                <a:gd name="T0" fmla="*/ 0 w 33"/>
                <a:gd name="T1" fmla="*/ 0 h 46"/>
                <a:gd name="T2" fmla="*/ 26 w 33"/>
                <a:gd name="T3" fmla="*/ 28 h 46"/>
                <a:gd name="T4" fmla="*/ 30 w 33"/>
                <a:gd name="T5" fmla="*/ 38 h 46"/>
                <a:gd name="T6" fmla="*/ 20 w 33"/>
                <a:gd name="T7" fmla="*/ 45 h 46"/>
                <a:gd name="T8" fmla="*/ 16 w 33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6">
                  <a:moveTo>
                    <a:pt x="0" y="0"/>
                  </a:moveTo>
                  <a:cubicBezTo>
                    <a:pt x="9" y="10"/>
                    <a:pt x="18" y="19"/>
                    <a:pt x="26" y="28"/>
                  </a:cubicBezTo>
                  <a:cubicBezTo>
                    <a:pt x="29" y="31"/>
                    <a:pt x="33" y="33"/>
                    <a:pt x="30" y="38"/>
                  </a:cubicBezTo>
                  <a:cubicBezTo>
                    <a:pt x="28" y="42"/>
                    <a:pt x="25" y="45"/>
                    <a:pt x="20" y="45"/>
                  </a:cubicBezTo>
                  <a:cubicBezTo>
                    <a:pt x="19" y="45"/>
                    <a:pt x="17" y="45"/>
                    <a:pt x="16" y="46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" name="Freeform 33">
              <a:extLst>
                <a:ext uri="{FF2B5EF4-FFF2-40B4-BE49-F238E27FC236}">
                  <a16:creationId xmlns:a16="http://schemas.microsoft.com/office/drawing/2014/main" id="{AAB95A0D-F06F-4962-D1ED-24F702493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" y="1438"/>
              <a:ext cx="48" cy="73"/>
            </a:xfrm>
            <a:custGeom>
              <a:avLst/>
              <a:gdLst>
                <a:gd name="T0" fmla="*/ 20 w 20"/>
                <a:gd name="T1" fmla="*/ 10 h 30"/>
                <a:gd name="T2" fmla="*/ 6 w 20"/>
                <a:gd name="T3" fmla="*/ 4 h 30"/>
                <a:gd name="T4" fmla="*/ 0 w 20"/>
                <a:gd name="T5" fmla="*/ 19 h 30"/>
                <a:gd name="T6" fmla="*/ 10 w 20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30">
                  <a:moveTo>
                    <a:pt x="20" y="10"/>
                  </a:moveTo>
                  <a:cubicBezTo>
                    <a:pt x="16" y="7"/>
                    <a:pt x="13" y="0"/>
                    <a:pt x="6" y="4"/>
                  </a:cubicBezTo>
                  <a:cubicBezTo>
                    <a:pt x="0" y="7"/>
                    <a:pt x="0" y="13"/>
                    <a:pt x="0" y="19"/>
                  </a:cubicBezTo>
                  <a:cubicBezTo>
                    <a:pt x="0" y="27"/>
                    <a:pt x="3" y="30"/>
                    <a:pt x="10" y="30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" name="Freeform 34">
              <a:extLst>
                <a:ext uri="{FF2B5EF4-FFF2-40B4-BE49-F238E27FC236}">
                  <a16:creationId xmlns:a16="http://schemas.microsoft.com/office/drawing/2014/main" id="{72439ED9-AFAB-D53A-C596-B917057C8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4" y="1516"/>
              <a:ext cx="81" cy="68"/>
            </a:xfrm>
            <a:custGeom>
              <a:avLst/>
              <a:gdLst>
                <a:gd name="T0" fmla="*/ 0 w 34"/>
                <a:gd name="T1" fmla="*/ 0 h 28"/>
                <a:gd name="T2" fmla="*/ 8 w 34"/>
                <a:gd name="T3" fmla="*/ 10 h 28"/>
                <a:gd name="T4" fmla="*/ 20 w 34"/>
                <a:gd name="T5" fmla="*/ 26 h 28"/>
                <a:gd name="T6" fmla="*/ 34 w 34"/>
                <a:gd name="T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8">
                  <a:moveTo>
                    <a:pt x="0" y="0"/>
                  </a:moveTo>
                  <a:cubicBezTo>
                    <a:pt x="5" y="2"/>
                    <a:pt x="8" y="5"/>
                    <a:pt x="8" y="10"/>
                  </a:cubicBezTo>
                  <a:cubicBezTo>
                    <a:pt x="9" y="18"/>
                    <a:pt x="14" y="24"/>
                    <a:pt x="20" y="26"/>
                  </a:cubicBezTo>
                  <a:cubicBezTo>
                    <a:pt x="26" y="28"/>
                    <a:pt x="31" y="23"/>
                    <a:pt x="34" y="18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" name="Freeform 35">
              <a:extLst>
                <a:ext uri="{FF2B5EF4-FFF2-40B4-BE49-F238E27FC236}">
                  <a16:creationId xmlns:a16="http://schemas.microsoft.com/office/drawing/2014/main" id="{44946624-3D05-A76C-5583-7998D4E54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0" y="1441"/>
              <a:ext cx="89" cy="67"/>
            </a:xfrm>
            <a:custGeom>
              <a:avLst/>
              <a:gdLst>
                <a:gd name="T0" fmla="*/ 37 w 37"/>
                <a:gd name="T1" fmla="*/ 0 h 28"/>
                <a:gd name="T2" fmla="*/ 22 w 37"/>
                <a:gd name="T3" fmla="*/ 12 h 28"/>
                <a:gd name="T4" fmla="*/ 9 w 37"/>
                <a:gd name="T5" fmla="*/ 23 h 28"/>
                <a:gd name="T6" fmla="*/ 0 w 37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8">
                  <a:moveTo>
                    <a:pt x="37" y="0"/>
                  </a:moveTo>
                  <a:cubicBezTo>
                    <a:pt x="33" y="5"/>
                    <a:pt x="28" y="9"/>
                    <a:pt x="22" y="12"/>
                  </a:cubicBezTo>
                  <a:cubicBezTo>
                    <a:pt x="17" y="15"/>
                    <a:pt x="12" y="17"/>
                    <a:pt x="9" y="23"/>
                  </a:cubicBezTo>
                  <a:cubicBezTo>
                    <a:pt x="7" y="25"/>
                    <a:pt x="3" y="26"/>
                    <a:pt x="0" y="28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" name="Freeform 36">
              <a:extLst>
                <a:ext uri="{FF2B5EF4-FFF2-40B4-BE49-F238E27FC236}">
                  <a16:creationId xmlns:a16="http://schemas.microsoft.com/office/drawing/2014/main" id="{E24DA21D-6542-0A04-F3F8-F957D07A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2" y="1484"/>
              <a:ext cx="55" cy="102"/>
            </a:xfrm>
            <a:custGeom>
              <a:avLst/>
              <a:gdLst>
                <a:gd name="T0" fmla="*/ 11 w 23"/>
                <a:gd name="T1" fmla="*/ 0 h 42"/>
                <a:gd name="T2" fmla="*/ 5 w 23"/>
                <a:gd name="T3" fmla="*/ 16 h 42"/>
                <a:gd name="T4" fmla="*/ 5 w 23"/>
                <a:gd name="T5" fmla="*/ 33 h 42"/>
                <a:gd name="T6" fmla="*/ 23 w 23"/>
                <a:gd name="T7" fmla="*/ 3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42">
                  <a:moveTo>
                    <a:pt x="11" y="0"/>
                  </a:moveTo>
                  <a:cubicBezTo>
                    <a:pt x="11" y="6"/>
                    <a:pt x="9" y="12"/>
                    <a:pt x="5" y="16"/>
                  </a:cubicBezTo>
                  <a:cubicBezTo>
                    <a:pt x="0" y="21"/>
                    <a:pt x="0" y="27"/>
                    <a:pt x="5" y="33"/>
                  </a:cubicBezTo>
                  <a:cubicBezTo>
                    <a:pt x="12" y="41"/>
                    <a:pt x="15" y="42"/>
                    <a:pt x="23" y="37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0" name="Freeform 37">
              <a:extLst>
                <a:ext uri="{FF2B5EF4-FFF2-40B4-BE49-F238E27FC236}">
                  <a16:creationId xmlns:a16="http://schemas.microsoft.com/office/drawing/2014/main" id="{CE76D8A9-D81A-06C6-FA98-5AA56E7D3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8" y="1448"/>
              <a:ext cx="67" cy="97"/>
            </a:xfrm>
            <a:custGeom>
              <a:avLst/>
              <a:gdLst>
                <a:gd name="T0" fmla="*/ 28 w 28"/>
                <a:gd name="T1" fmla="*/ 14 h 40"/>
                <a:gd name="T2" fmla="*/ 8 w 28"/>
                <a:gd name="T3" fmla="*/ 12 h 40"/>
                <a:gd name="T4" fmla="*/ 8 w 28"/>
                <a:gd name="T5" fmla="*/ 35 h 40"/>
                <a:gd name="T6" fmla="*/ 19 w 28"/>
                <a:gd name="T7" fmla="*/ 3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40">
                  <a:moveTo>
                    <a:pt x="28" y="14"/>
                  </a:moveTo>
                  <a:cubicBezTo>
                    <a:pt x="20" y="0"/>
                    <a:pt x="16" y="0"/>
                    <a:pt x="8" y="12"/>
                  </a:cubicBezTo>
                  <a:cubicBezTo>
                    <a:pt x="0" y="23"/>
                    <a:pt x="0" y="25"/>
                    <a:pt x="8" y="35"/>
                  </a:cubicBezTo>
                  <a:cubicBezTo>
                    <a:pt x="12" y="40"/>
                    <a:pt x="15" y="39"/>
                    <a:pt x="19" y="37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1" name="Freeform 38">
              <a:extLst>
                <a:ext uri="{FF2B5EF4-FFF2-40B4-BE49-F238E27FC236}">
                  <a16:creationId xmlns:a16="http://schemas.microsoft.com/office/drawing/2014/main" id="{EF0FF64F-C669-7D81-70EB-D738F53FB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5" y="1368"/>
              <a:ext cx="67" cy="22"/>
            </a:xfrm>
            <a:custGeom>
              <a:avLst/>
              <a:gdLst>
                <a:gd name="T0" fmla="*/ 0 w 28"/>
                <a:gd name="T1" fmla="*/ 0 h 9"/>
                <a:gd name="T2" fmla="*/ 9 w 28"/>
                <a:gd name="T3" fmla="*/ 3 h 9"/>
                <a:gd name="T4" fmla="*/ 28 w 28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9">
                  <a:moveTo>
                    <a:pt x="0" y="0"/>
                  </a:moveTo>
                  <a:cubicBezTo>
                    <a:pt x="3" y="0"/>
                    <a:pt x="6" y="1"/>
                    <a:pt x="9" y="3"/>
                  </a:cubicBezTo>
                  <a:cubicBezTo>
                    <a:pt x="17" y="9"/>
                    <a:pt x="19" y="9"/>
                    <a:pt x="28" y="3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2" name="Freeform 39">
              <a:extLst>
                <a:ext uri="{FF2B5EF4-FFF2-40B4-BE49-F238E27FC236}">
                  <a16:creationId xmlns:a16="http://schemas.microsoft.com/office/drawing/2014/main" id="{1AC9FEA6-C73C-D359-68CB-3490A67DB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8" y="1428"/>
              <a:ext cx="41" cy="27"/>
            </a:xfrm>
            <a:custGeom>
              <a:avLst/>
              <a:gdLst>
                <a:gd name="T0" fmla="*/ 0 w 17"/>
                <a:gd name="T1" fmla="*/ 0 h 11"/>
                <a:gd name="T2" fmla="*/ 17 w 17"/>
                <a:gd name="T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1">
                  <a:moveTo>
                    <a:pt x="0" y="0"/>
                  </a:moveTo>
                  <a:cubicBezTo>
                    <a:pt x="6" y="3"/>
                    <a:pt x="11" y="8"/>
                    <a:pt x="17" y="11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33" name="Group 59">
            <a:extLst>
              <a:ext uri="{FF2B5EF4-FFF2-40B4-BE49-F238E27FC236}">
                <a16:creationId xmlns:a16="http://schemas.microsoft.com/office/drawing/2014/main" id="{549CA6E5-92C3-63F9-3231-3ECC9E1232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09061" y="1935026"/>
            <a:ext cx="420947" cy="309436"/>
            <a:chOff x="1249" y="1194"/>
            <a:chExt cx="453" cy="333"/>
          </a:xfrm>
        </p:grpSpPr>
        <p:sp>
          <p:nvSpPr>
            <p:cNvPr id="234" name="Freeform 60">
              <a:extLst>
                <a:ext uri="{FF2B5EF4-FFF2-40B4-BE49-F238E27FC236}">
                  <a16:creationId xmlns:a16="http://schemas.microsoft.com/office/drawing/2014/main" id="{C8604E4F-1C21-F45E-99DC-76A4CCF2C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194"/>
              <a:ext cx="143" cy="333"/>
            </a:xfrm>
            <a:custGeom>
              <a:avLst/>
              <a:gdLst>
                <a:gd name="T0" fmla="*/ 0 w 69"/>
                <a:gd name="T1" fmla="*/ 0 h 165"/>
                <a:gd name="T2" fmla="*/ 7 w 69"/>
                <a:gd name="T3" fmla="*/ 0 h 165"/>
                <a:gd name="T4" fmla="*/ 7 w 69"/>
                <a:gd name="T5" fmla="*/ 138 h 165"/>
                <a:gd name="T6" fmla="*/ 34 w 69"/>
                <a:gd name="T7" fmla="*/ 165 h 165"/>
                <a:gd name="T8" fmla="*/ 34 w 69"/>
                <a:gd name="T9" fmla="*/ 165 h 165"/>
                <a:gd name="T10" fmla="*/ 61 w 69"/>
                <a:gd name="T11" fmla="*/ 138 h 165"/>
                <a:gd name="T12" fmla="*/ 61 w 69"/>
                <a:gd name="T13" fmla="*/ 0 h 165"/>
                <a:gd name="T14" fmla="*/ 69 w 69"/>
                <a:gd name="T1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165">
                  <a:moveTo>
                    <a:pt x="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53"/>
                    <a:pt x="19" y="165"/>
                    <a:pt x="34" y="165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9" y="165"/>
                    <a:pt x="61" y="153"/>
                    <a:pt x="61" y="138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9" y="0"/>
                    <a:pt x="69" y="0"/>
                    <a:pt x="69" y="0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5" name="Line 61">
              <a:extLst>
                <a:ext uri="{FF2B5EF4-FFF2-40B4-BE49-F238E27FC236}">
                  <a16:creationId xmlns:a16="http://schemas.microsoft.com/office/drawing/2014/main" id="{12E39F0F-4751-413E-3D4E-5733ECB8DA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64" y="1341"/>
              <a:ext cx="111" cy="0"/>
            </a:xfrm>
            <a:prstGeom prst="line">
              <a:avLst/>
            </a:pr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6" name="Freeform 62">
              <a:extLst>
                <a:ext uri="{FF2B5EF4-FFF2-40B4-BE49-F238E27FC236}">
                  <a16:creationId xmlns:a16="http://schemas.microsoft.com/office/drawing/2014/main" id="{2E9E604C-FAFF-0D12-FF37-F7ED04FE1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4" y="1194"/>
              <a:ext cx="143" cy="333"/>
            </a:xfrm>
            <a:custGeom>
              <a:avLst/>
              <a:gdLst>
                <a:gd name="T0" fmla="*/ 0 w 69"/>
                <a:gd name="T1" fmla="*/ 0 h 165"/>
                <a:gd name="T2" fmla="*/ 7 w 69"/>
                <a:gd name="T3" fmla="*/ 0 h 165"/>
                <a:gd name="T4" fmla="*/ 7 w 69"/>
                <a:gd name="T5" fmla="*/ 138 h 165"/>
                <a:gd name="T6" fmla="*/ 34 w 69"/>
                <a:gd name="T7" fmla="*/ 165 h 165"/>
                <a:gd name="T8" fmla="*/ 34 w 69"/>
                <a:gd name="T9" fmla="*/ 165 h 165"/>
                <a:gd name="T10" fmla="*/ 61 w 69"/>
                <a:gd name="T11" fmla="*/ 138 h 165"/>
                <a:gd name="T12" fmla="*/ 61 w 69"/>
                <a:gd name="T13" fmla="*/ 0 h 165"/>
                <a:gd name="T14" fmla="*/ 69 w 69"/>
                <a:gd name="T1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165">
                  <a:moveTo>
                    <a:pt x="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53"/>
                    <a:pt x="19" y="165"/>
                    <a:pt x="34" y="165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9" y="165"/>
                    <a:pt x="61" y="153"/>
                    <a:pt x="61" y="138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9" y="0"/>
                    <a:pt x="69" y="0"/>
                    <a:pt x="69" y="0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7" name="Line 63">
              <a:extLst>
                <a:ext uri="{FF2B5EF4-FFF2-40B4-BE49-F238E27FC236}">
                  <a16:creationId xmlns:a16="http://schemas.microsoft.com/office/drawing/2014/main" id="{EBB1725C-6B35-8482-34F5-3B5C67C802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19" y="1341"/>
              <a:ext cx="111" cy="0"/>
            </a:xfrm>
            <a:prstGeom prst="line">
              <a:avLst/>
            </a:pr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8" name="Freeform 64">
              <a:extLst>
                <a:ext uri="{FF2B5EF4-FFF2-40B4-BE49-F238E27FC236}">
                  <a16:creationId xmlns:a16="http://schemas.microsoft.com/office/drawing/2014/main" id="{C72F796C-4AED-1C27-9A1D-80168EAC2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1" y="1194"/>
              <a:ext cx="141" cy="333"/>
            </a:xfrm>
            <a:custGeom>
              <a:avLst/>
              <a:gdLst>
                <a:gd name="T0" fmla="*/ 0 w 68"/>
                <a:gd name="T1" fmla="*/ 0 h 165"/>
                <a:gd name="T2" fmla="*/ 6 w 68"/>
                <a:gd name="T3" fmla="*/ 0 h 165"/>
                <a:gd name="T4" fmla="*/ 6 w 68"/>
                <a:gd name="T5" fmla="*/ 138 h 165"/>
                <a:gd name="T6" fmla="*/ 33 w 68"/>
                <a:gd name="T7" fmla="*/ 165 h 165"/>
                <a:gd name="T8" fmla="*/ 33 w 68"/>
                <a:gd name="T9" fmla="*/ 165 h 165"/>
                <a:gd name="T10" fmla="*/ 60 w 68"/>
                <a:gd name="T11" fmla="*/ 138 h 165"/>
                <a:gd name="T12" fmla="*/ 60 w 68"/>
                <a:gd name="T13" fmla="*/ 0 h 165"/>
                <a:gd name="T14" fmla="*/ 68 w 68"/>
                <a:gd name="T1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165">
                  <a:moveTo>
                    <a:pt x="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138"/>
                    <a:pt x="6" y="138"/>
                    <a:pt x="6" y="138"/>
                  </a:cubicBezTo>
                  <a:cubicBezTo>
                    <a:pt x="6" y="153"/>
                    <a:pt x="18" y="165"/>
                    <a:pt x="33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48" y="165"/>
                    <a:pt x="60" y="153"/>
                    <a:pt x="60" y="138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8" y="0"/>
                    <a:pt x="68" y="0"/>
                    <a:pt x="68" y="0"/>
                  </a:cubicBez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9" name="Line 65">
              <a:extLst>
                <a:ext uri="{FF2B5EF4-FFF2-40B4-BE49-F238E27FC236}">
                  <a16:creationId xmlns:a16="http://schemas.microsoft.com/office/drawing/2014/main" id="{2684705F-FB4D-4EA5-681F-261D11A877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4" y="1341"/>
              <a:ext cx="111" cy="0"/>
            </a:xfrm>
            <a:prstGeom prst="line">
              <a:avLst/>
            </a:pr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32492F06-AE58-4B62-6364-3A19CF70047F}"/>
              </a:ext>
            </a:extLst>
          </p:cNvPr>
          <p:cNvGrpSpPr/>
          <p:nvPr/>
        </p:nvGrpSpPr>
        <p:grpSpPr>
          <a:xfrm>
            <a:off x="7939214" y="1941711"/>
            <a:ext cx="380522" cy="296066"/>
            <a:chOff x="5413376" y="692151"/>
            <a:chExt cx="1909763" cy="1485900"/>
          </a:xfrm>
        </p:grpSpPr>
        <p:sp>
          <p:nvSpPr>
            <p:cNvPr id="241" name="Freeform 5">
              <a:extLst>
                <a:ext uri="{FF2B5EF4-FFF2-40B4-BE49-F238E27FC236}">
                  <a16:creationId xmlns:a16="http://schemas.microsoft.com/office/drawing/2014/main" id="{865201FF-E79B-92D1-D7A1-F9B43D651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6" y="1447801"/>
              <a:ext cx="1695450" cy="396875"/>
            </a:xfrm>
            <a:custGeom>
              <a:avLst/>
              <a:gdLst>
                <a:gd name="T0" fmla="*/ 255 w 1068"/>
                <a:gd name="T1" fmla="*/ 0 h 250"/>
                <a:gd name="T2" fmla="*/ 0 w 1068"/>
                <a:gd name="T3" fmla="*/ 250 h 250"/>
                <a:gd name="T4" fmla="*/ 164 w 1068"/>
                <a:gd name="T5" fmla="*/ 250 h 250"/>
                <a:gd name="T6" fmla="*/ 809 w 1068"/>
                <a:gd name="T7" fmla="*/ 250 h 250"/>
                <a:gd name="T8" fmla="*/ 1068 w 1068"/>
                <a:gd name="T9" fmla="*/ 0 h 250"/>
                <a:gd name="T10" fmla="*/ 255 w 1068"/>
                <a:gd name="T11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8" h="250">
                  <a:moveTo>
                    <a:pt x="255" y="0"/>
                  </a:moveTo>
                  <a:lnTo>
                    <a:pt x="0" y="250"/>
                  </a:lnTo>
                  <a:lnTo>
                    <a:pt x="164" y="250"/>
                  </a:lnTo>
                  <a:lnTo>
                    <a:pt x="809" y="250"/>
                  </a:lnTo>
                  <a:lnTo>
                    <a:pt x="1068" y="0"/>
                  </a:lnTo>
                  <a:lnTo>
                    <a:pt x="255" y="0"/>
                  </a:lnTo>
                  <a:close/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2" name="Freeform 7">
              <a:extLst>
                <a:ext uri="{FF2B5EF4-FFF2-40B4-BE49-F238E27FC236}">
                  <a16:creationId xmlns:a16="http://schemas.microsoft.com/office/drawing/2014/main" id="{F9440A6F-CDB1-7D20-573D-CDA4919B3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6" y="1682751"/>
              <a:ext cx="1909763" cy="320675"/>
            </a:xfrm>
            <a:custGeom>
              <a:avLst/>
              <a:gdLst>
                <a:gd name="T0" fmla="*/ 913 w 1203"/>
                <a:gd name="T1" fmla="*/ 0 h 202"/>
                <a:gd name="T2" fmla="*/ 1203 w 1203"/>
                <a:gd name="T3" fmla="*/ 0 h 202"/>
                <a:gd name="T4" fmla="*/ 828 w 1203"/>
                <a:gd name="T5" fmla="*/ 202 h 202"/>
                <a:gd name="T6" fmla="*/ 164 w 1203"/>
                <a:gd name="T7" fmla="*/ 202 h 202"/>
                <a:gd name="T8" fmla="*/ 0 w 1203"/>
                <a:gd name="T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3" h="202">
                  <a:moveTo>
                    <a:pt x="913" y="0"/>
                  </a:moveTo>
                  <a:lnTo>
                    <a:pt x="1203" y="0"/>
                  </a:lnTo>
                  <a:lnTo>
                    <a:pt x="828" y="202"/>
                  </a:lnTo>
                  <a:lnTo>
                    <a:pt x="164" y="202"/>
                  </a:lnTo>
                  <a:lnTo>
                    <a:pt x="0" y="202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3" name="Freeform 8">
              <a:extLst>
                <a:ext uri="{FF2B5EF4-FFF2-40B4-BE49-F238E27FC236}">
                  <a16:creationId xmlns:a16="http://schemas.microsoft.com/office/drawing/2014/main" id="{5E649208-2B95-EF57-F383-5E21AB591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6" y="1844676"/>
              <a:ext cx="1909763" cy="333375"/>
            </a:xfrm>
            <a:custGeom>
              <a:avLst/>
              <a:gdLst>
                <a:gd name="T0" fmla="*/ 164 w 1203"/>
                <a:gd name="T1" fmla="*/ 112 h 210"/>
                <a:gd name="T2" fmla="*/ 0 w 1203"/>
                <a:gd name="T3" fmla="*/ 210 h 210"/>
                <a:gd name="T4" fmla="*/ 828 w 1203"/>
                <a:gd name="T5" fmla="*/ 210 h 210"/>
                <a:gd name="T6" fmla="*/ 1203 w 1203"/>
                <a:gd name="T7" fmla="*/ 0 h 210"/>
                <a:gd name="T8" fmla="*/ 1015 w 1203"/>
                <a:gd name="T9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3" h="210">
                  <a:moveTo>
                    <a:pt x="164" y="112"/>
                  </a:moveTo>
                  <a:lnTo>
                    <a:pt x="0" y="210"/>
                  </a:lnTo>
                  <a:lnTo>
                    <a:pt x="828" y="210"/>
                  </a:lnTo>
                  <a:lnTo>
                    <a:pt x="1203" y="0"/>
                  </a:lnTo>
                  <a:lnTo>
                    <a:pt x="1015" y="0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4" name="Freeform 9">
              <a:extLst>
                <a:ext uri="{FF2B5EF4-FFF2-40B4-BE49-F238E27FC236}">
                  <a16:creationId xmlns:a16="http://schemas.microsoft.com/office/drawing/2014/main" id="{08E59D7C-B685-0140-0D89-ED6032717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6" y="1108076"/>
              <a:ext cx="1695450" cy="339725"/>
            </a:xfrm>
            <a:custGeom>
              <a:avLst/>
              <a:gdLst>
                <a:gd name="T0" fmla="*/ 255 w 1068"/>
                <a:gd name="T1" fmla="*/ 214 h 214"/>
                <a:gd name="T2" fmla="*/ 0 w 1068"/>
                <a:gd name="T3" fmla="*/ 0 h 214"/>
                <a:gd name="T4" fmla="*/ 830 w 1068"/>
                <a:gd name="T5" fmla="*/ 0 h 214"/>
                <a:gd name="T6" fmla="*/ 1068 w 1068"/>
                <a:gd name="T7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8" h="214">
                  <a:moveTo>
                    <a:pt x="255" y="214"/>
                  </a:moveTo>
                  <a:lnTo>
                    <a:pt x="0" y="0"/>
                  </a:lnTo>
                  <a:lnTo>
                    <a:pt x="830" y="0"/>
                  </a:lnTo>
                  <a:lnTo>
                    <a:pt x="1068" y="214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5" name="Freeform 10">
              <a:extLst>
                <a:ext uri="{FF2B5EF4-FFF2-40B4-BE49-F238E27FC236}">
                  <a16:creationId xmlns:a16="http://schemas.microsoft.com/office/drawing/2014/main" id="{E156BA7A-91FF-013B-AA1C-4616095805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6" y="692151"/>
              <a:ext cx="1720850" cy="415925"/>
            </a:xfrm>
            <a:custGeom>
              <a:avLst/>
              <a:gdLst>
                <a:gd name="T0" fmla="*/ 0 w 1084"/>
                <a:gd name="T1" fmla="*/ 262 h 262"/>
                <a:gd name="T2" fmla="*/ 290 w 1084"/>
                <a:gd name="T3" fmla="*/ 0 h 262"/>
                <a:gd name="T4" fmla="*/ 1084 w 1084"/>
                <a:gd name="T5" fmla="*/ 0 h 262"/>
                <a:gd name="T6" fmla="*/ 828 w 1084"/>
                <a:gd name="T7" fmla="*/ 257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4" h="262">
                  <a:moveTo>
                    <a:pt x="0" y="262"/>
                  </a:moveTo>
                  <a:lnTo>
                    <a:pt x="290" y="0"/>
                  </a:lnTo>
                  <a:lnTo>
                    <a:pt x="1084" y="0"/>
                  </a:lnTo>
                  <a:lnTo>
                    <a:pt x="828" y="257"/>
                  </a:lnTo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7A9D6438-5472-E5AF-0B2D-562EF8953523}"/>
                </a:ext>
              </a:extLst>
            </p:cNvPr>
            <p:cNvCxnSpPr>
              <a:stCxn id="242" idx="4"/>
              <a:endCxn id="241" idx="2"/>
            </p:cNvCxnSpPr>
            <p:nvPr/>
          </p:nvCxnSpPr>
          <p:spPr>
            <a:xfrm flipV="1">
              <a:off x="5413376" y="1844676"/>
              <a:ext cx="260350" cy="158750"/>
            </a:xfrm>
            <a:prstGeom prst="line">
              <a:avLst/>
            </a:pr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7558E7EA-7DFA-9C14-E5F0-0B08F86C7AD9}"/>
              </a:ext>
            </a:extLst>
          </p:cNvPr>
          <p:cNvGrpSpPr/>
          <p:nvPr/>
        </p:nvGrpSpPr>
        <p:grpSpPr>
          <a:xfrm>
            <a:off x="10177154" y="1905459"/>
            <a:ext cx="402409" cy="368571"/>
            <a:chOff x="2496674" y="4136018"/>
            <a:chExt cx="402409" cy="368571"/>
          </a:xfrm>
        </p:grpSpPr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6C5507F2-9C9A-52E0-AF69-EF518F7357AD}"/>
                </a:ext>
              </a:extLst>
            </p:cNvPr>
            <p:cNvGrpSpPr/>
            <p:nvPr/>
          </p:nvGrpSpPr>
          <p:grpSpPr>
            <a:xfrm>
              <a:off x="2496674" y="4231204"/>
              <a:ext cx="402409" cy="273385"/>
              <a:chOff x="1334885" y="4339943"/>
              <a:chExt cx="402409" cy="273385"/>
            </a:xfrm>
          </p:grpSpPr>
          <p:sp>
            <p:nvSpPr>
              <p:cNvPr id="250" name="Freeform 6">
                <a:extLst>
                  <a:ext uri="{FF2B5EF4-FFF2-40B4-BE49-F238E27FC236}">
                    <a16:creationId xmlns:a16="http://schemas.microsoft.com/office/drawing/2014/main" id="{FE8F33DD-685F-E5E5-C3F3-51AF94F6BE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1926" y="4339943"/>
                <a:ext cx="185368" cy="273385"/>
              </a:xfrm>
              <a:custGeom>
                <a:avLst/>
                <a:gdLst>
                  <a:gd name="T0" fmla="*/ 0 w 234"/>
                  <a:gd name="T1" fmla="*/ 345 h 345"/>
                  <a:gd name="T2" fmla="*/ 8 w 234"/>
                  <a:gd name="T3" fmla="*/ 223 h 345"/>
                  <a:gd name="T4" fmla="*/ 19 w 234"/>
                  <a:gd name="T5" fmla="*/ 197 h 345"/>
                  <a:gd name="T6" fmla="*/ 110 w 234"/>
                  <a:gd name="T7" fmla="*/ 112 h 345"/>
                  <a:gd name="T8" fmla="*/ 146 w 234"/>
                  <a:gd name="T9" fmla="*/ 110 h 345"/>
                  <a:gd name="T10" fmla="*/ 142 w 234"/>
                  <a:gd name="T11" fmla="*/ 146 h 345"/>
                  <a:gd name="T12" fmla="*/ 100 w 234"/>
                  <a:gd name="T13" fmla="*/ 185 h 345"/>
                  <a:gd name="T14" fmla="*/ 96 w 234"/>
                  <a:gd name="T15" fmla="*/ 204 h 345"/>
                  <a:gd name="T16" fmla="*/ 115 w 234"/>
                  <a:gd name="T17" fmla="*/ 200 h 345"/>
                  <a:gd name="T18" fmla="*/ 161 w 234"/>
                  <a:gd name="T19" fmla="*/ 157 h 345"/>
                  <a:gd name="T20" fmla="*/ 180 w 234"/>
                  <a:gd name="T21" fmla="*/ 114 h 345"/>
                  <a:gd name="T22" fmla="*/ 184 w 234"/>
                  <a:gd name="T23" fmla="*/ 44 h 345"/>
                  <a:gd name="T24" fmla="*/ 186 w 234"/>
                  <a:gd name="T25" fmla="*/ 23 h 345"/>
                  <a:gd name="T26" fmla="*/ 213 w 234"/>
                  <a:gd name="T27" fmla="*/ 1 h 345"/>
                  <a:gd name="T28" fmla="*/ 233 w 234"/>
                  <a:gd name="T29" fmla="*/ 27 h 345"/>
                  <a:gd name="T30" fmla="*/ 227 w 234"/>
                  <a:gd name="T31" fmla="*/ 134 h 345"/>
                  <a:gd name="T32" fmla="*/ 223 w 234"/>
                  <a:gd name="T33" fmla="*/ 195 h 345"/>
                  <a:gd name="T34" fmla="*/ 211 w 234"/>
                  <a:gd name="T35" fmla="*/ 220 h 345"/>
                  <a:gd name="T36" fmla="*/ 146 w 234"/>
                  <a:gd name="T37" fmla="*/ 281 h 345"/>
                  <a:gd name="T38" fmla="*/ 117 w 234"/>
                  <a:gd name="T39" fmla="*/ 345 h 345"/>
                  <a:gd name="T40" fmla="*/ 117 w 234"/>
                  <a:gd name="T41" fmla="*/ 345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34" h="345">
                    <a:moveTo>
                      <a:pt x="0" y="345"/>
                    </a:moveTo>
                    <a:cubicBezTo>
                      <a:pt x="3" y="305"/>
                      <a:pt x="5" y="264"/>
                      <a:pt x="8" y="223"/>
                    </a:cubicBezTo>
                    <a:cubicBezTo>
                      <a:pt x="8" y="213"/>
                      <a:pt x="12" y="204"/>
                      <a:pt x="19" y="197"/>
                    </a:cubicBezTo>
                    <a:cubicBezTo>
                      <a:pt x="50" y="169"/>
                      <a:pt x="79" y="140"/>
                      <a:pt x="110" y="112"/>
                    </a:cubicBezTo>
                    <a:cubicBezTo>
                      <a:pt x="123" y="100"/>
                      <a:pt x="137" y="99"/>
                      <a:pt x="146" y="110"/>
                    </a:cubicBezTo>
                    <a:cubicBezTo>
                      <a:pt x="155" y="120"/>
                      <a:pt x="154" y="134"/>
                      <a:pt x="142" y="146"/>
                    </a:cubicBezTo>
                    <a:cubicBezTo>
                      <a:pt x="128" y="159"/>
                      <a:pt x="114" y="172"/>
                      <a:pt x="100" y="185"/>
                    </a:cubicBezTo>
                    <a:cubicBezTo>
                      <a:pt x="94" y="190"/>
                      <a:pt x="89" y="197"/>
                      <a:pt x="96" y="204"/>
                    </a:cubicBezTo>
                    <a:cubicBezTo>
                      <a:pt x="103" y="211"/>
                      <a:pt x="109" y="205"/>
                      <a:pt x="115" y="200"/>
                    </a:cubicBezTo>
                    <a:cubicBezTo>
                      <a:pt x="130" y="185"/>
                      <a:pt x="145" y="170"/>
                      <a:pt x="161" y="157"/>
                    </a:cubicBezTo>
                    <a:cubicBezTo>
                      <a:pt x="174" y="145"/>
                      <a:pt x="180" y="131"/>
                      <a:pt x="180" y="114"/>
                    </a:cubicBezTo>
                    <a:cubicBezTo>
                      <a:pt x="181" y="90"/>
                      <a:pt x="183" y="67"/>
                      <a:pt x="184" y="44"/>
                    </a:cubicBezTo>
                    <a:cubicBezTo>
                      <a:pt x="184" y="37"/>
                      <a:pt x="185" y="30"/>
                      <a:pt x="186" y="23"/>
                    </a:cubicBezTo>
                    <a:cubicBezTo>
                      <a:pt x="189" y="9"/>
                      <a:pt x="200" y="0"/>
                      <a:pt x="213" y="1"/>
                    </a:cubicBezTo>
                    <a:cubicBezTo>
                      <a:pt x="226" y="2"/>
                      <a:pt x="234" y="13"/>
                      <a:pt x="233" y="27"/>
                    </a:cubicBezTo>
                    <a:cubicBezTo>
                      <a:pt x="232" y="63"/>
                      <a:pt x="229" y="99"/>
                      <a:pt x="227" y="134"/>
                    </a:cubicBezTo>
                    <a:cubicBezTo>
                      <a:pt x="226" y="155"/>
                      <a:pt x="224" y="175"/>
                      <a:pt x="223" y="195"/>
                    </a:cubicBezTo>
                    <a:cubicBezTo>
                      <a:pt x="222" y="206"/>
                      <a:pt x="218" y="213"/>
                      <a:pt x="211" y="220"/>
                    </a:cubicBezTo>
                    <a:cubicBezTo>
                      <a:pt x="189" y="240"/>
                      <a:pt x="168" y="262"/>
                      <a:pt x="146" y="281"/>
                    </a:cubicBezTo>
                    <a:cubicBezTo>
                      <a:pt x="126" y="298"/>
                      <a:pt x="117" y="319"/>
                      <a:pt x="117" y="345"/>
                    </a:cubicBezTo>
                    <a:cubicBezTo>
                      <a:pt x="117" y="345"/>
                      <a:pt x="117" y="345"/>
                      <a:pt x="117" y="345"/>
                    </a:cubicBezTo>
                  </a:path>
                </a:pathLst>
              </a:custGeom>
              <a:noFill/>
              <a:ln w="9525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7">
                <a:extLst>
                  <a:ext uri="{FF2B5EF4-FFF2-40B4-BE49-F238E27FC236}">
                    <a16:creationId xmlns:a16="http://schemas.microsoft.com/office/drawing/2014/main" id="{557C540E-BE52-B38F-EBEA-3A18A04053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885" y="4339943"/>
                <a:ext cx="186035" cy="273385"/>
              </a:xfrm>
              <a:custGeom>
                <a:avLst/>
                <a:gdLst>
                  <a:gd name="T0" fmla="*/ 118 w 235"/>
                  <a:gd name="T1" fmla="*/ 345 h 345"/>
                  <a:gd name="T2" fmla="*/ 117 w 235"/>
                  <a:gd name="T3" fmla="*/ 339 h 345"/>
                  <a:gd name="T4" fmla="*/ 95 w 235"/>
                  <a:gd name="T5" fmla="*/ 287 h 345"/>
                  <a:gd name="T6" fmla="*/ 25 w 235"/>
                  <a:gd name="T7" fmla="*/ 222 h 345"/>
                  <a:gd name="T8" fmla="*/ 12 w 235"/>
                  <a:gd name="T9" fmla="*/ 195 h 345"/>
                  <a:gd name="T10" fmla="*/ 1 w 235"/>
                  <a:gd name="T11" fmla="*/ 30 h 345"/>
                  <a:gd name="T12" fmla="*/ 23 w 235"/>
                  <a:gd name="T13" fmla="*/ 1 h 345"/>
                  <a:gd name="T14" fmla="*/ 49 w 235"/>
                  <a:gd name="T15" fmla="*/ 25 h 345"/>
                  <a:gd name="T16" fmla="*/ 54 w 235"/>
                  <a:gd name="T17" fmla="*/ 109 h 345"/>
                  <a:gd name="T18" fmla="*/ 77 w 235"/>
                  <a:gd name="T19" fmla="*/ 159 h 345"/>
                  <a:gd name="T20" fmla="*/ 122 w 235"/>
                  <a:gd name="T21" fmla="*/ 201 h 345"/>
                  <a:gd name="T22" fmla="*/ 139 w 235"/>
                  <a:gd name="T23" fmla="*/ 204 h 345"/>
                  <a:gd name="T24" fmla="*/ 136 w 235"/>
                  <a:gd name="T25" fmla="*/ 186 h 345"/>
                  <a:gd name="T26" fmla="*/ 93 w 235"/>
                  <a:gd name="T27" fmla="*/ 145 h 345"/>
                  <a:gd name="T28" fmla="*/ 83 w 235"/>
                  <a:gd name="T29" fmla="*/ 123 h 345"/>
                  <a:gd name="T30" fmla="*/ 96 w 235"/>
                  <a:gd name="T31" fmla="*/ 105 h 345"/>
                  <a:gd name="T32" fmla="*/ 123 w 235"/>
                  <a:gd name="T33" fmla="*/ 110 h 345"/>
                  <a:gd name="T34" fmla="*/ 218 w 235"/>
                  <a:gd name="T35" fmla="*/ 199 h 345"/>
                  <a:gd name="T36" fmla="*/ 227 w 235"/>
                  <a:gd name="T37" fmla="*/ 221 h 345"/>
                  <a:gd name="T38" fmla="*/ 235 w 235"/>
                  <a:gd name="T39" fmla="*/ 345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5" h="345">
                    <a:moveTo>
                      <a:pt x="118" y="345"/>
                    </a:moveTo>
                    <a:cubicBezTo>
                      <a:pt x="118" y="343"/>
                      <a:pt x="117" y="341"/>
                      <a:pt x="117" y="339"/>
                    </a:cubicBezTo>
                    <a:cubicBezTo>
                      <a:pt x="117" y="318"/>
                      <a:pt x="110" y="301"/>
                      <a:pt x="95" y="287"/>
                    </a:cubicBezTo>
                    <a:cubicBezTo>
                      <a:pt x="72" y="265"/>
                      <a:pt x="49" y="243"/>
                      <a:pt x="25" y="222"/>
                    </a:cubicBezTo>
                    <a:cubicBezTo>
                      <a:pt x="17" y="214"/>
                      <a:pt x="13" y="206"/>
                      <a:pt x="12" y="195"/>
                    </a:cubicBezTo>
                    <a:cubicBezTo>
                      <a:pt x="9" y="140"/>
                      <a:pt x="5" y="85"/>
                      <a:pt x="1" y="30"/>
                    </a:cubicBezTo>
                    <a:cubicBezTo>
                      <a:pt x="0" y="13"/>
                      <a:pt x="9" y="2"/>
                      <a:pt x="23" y="1"/>
                    </a:cubicBezTo>
                    <a:cubicBezTo>
                      <a:pt x="37" y="0"/>
                      <a:pt x="48" y="9"/>
                      <a:pt x="49" y="25"/>
                    </a:cubicBezTo>
                    <a:cubicBezTo>
                      <a:pt x="52" y="53"/>
                      <a:pt x="53" y="81"/>
                      <a:pt x="54" y="109"/>
                    </a:cubicBezTo>
                    <a:cubicBezTo>
                      <a:pt x="55" y="129"/>
                      <a:pt x="60" y="146"/>
                      <a:pt x="77" y="159"/>
                    </a:cubicBezTo>
                    <a:cubicBezTo>
                      <a:pt x="93" y="172"/>
                      <a:pt x="107" y="187"/>
                      <a:pt x="122" y="201"/>
                    </a:cubicBezTo>
                    <a:cubicBezTo>
                      <a:pt x="127" y="206"/>
                      <a:pt x="133" y="210"/>
                      <a:pt x="139" y="204"/>
                    </a:cubicBezTo>
                    <a:cubicBezTo>
                      <a:pt x="145" y="198"/>
                      <a:pt x="142" y="191"/>
                      <a:pt x="136" y="186"/>
                    </a:cubicBezTo>
                    <a:cubicBezTo>
                      <a:pt x="122" y="172"/>
                      <a:pt x="107" y="159"/>
                      <a:pt x="93" y="145"/>
                    </a:cubicBezTo>
                    <a:cubicBezTo>
                      <a:pt x="86" y="139"/>
                      <a:pt x="82" y="132"/>
                      <a:pt x="83" y="123"/>
                    </a:cubicBezTo>
                    <a:cubicBezTo>
                      <a:pt x="84" y="114"/>
                      <a:pt x="88" y="108"/>
                      <a:pt x="96" y="105"/>
                    </a:cubicBezTo>
                    <a:cubicBezTo>
                      <a:pt x="106" y="100"/>
                      <a:pt x="115" y="103"/>
                      <a:pt x="123" y="110"/>
                    </a:cubicBezTo>
                    <a:cubicBezTo>
                      <a:pt x="155" y="139"/>
                      <a:pt x="186" y="169"/>
                      <a:pt x="218" y="199"/>
                    </a:cubicBezTo>
                    <a:cubicBezTo>
                      <a:pt x="224" y="205"/>
                      <a:pt x="227" y="213"/>
                      <a:pt x="227" y="221"/>
                    </a:cubicBezTo>
                    <a:cubicBezTo>
                      <a:pt x="230" y="262"/>
                      <a:pt x="232" y="304"/>
                      <a:pt x="235" y="345"/>
                    </a:cubicBezTo>
                  </a:path>
                </a:pathLst>
              </a:custGeom>
              <a:noFill/>
              <a:ln w="9525" cap="flat">
                <a:solidFill>
                  <a:schemeClr val="accent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249" name="Freeform 879">
              <a:extLst>
                <a:ext uri="{FF2B5EF4-FFF2-40B4-BE49-F238E27FC236}">
                  <a16:creationId xmlns:a16="http://schemas.microsoft.com/office/drawing/2014/main" id="{5DEE6640-D414-62D0-9E95-5A4AA12F0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8902" y="4136018"/>
              <a:ext cx="177952" cy="179070"/>
            </a:xfrm>
            <a:custGeom>
              <a:avLst/>
              <a:gdLst>
                <a:gd name="T0" fmla="*/ 50 w 248"/>
                <a:gd name="T1" fmla="*/ 172 h 248"/>
                <a:gd name="T2" fmla="*/ 24 w 248"/>
                <a:gd name="T3" fmla="*/ 199 h 248"/>
                <a:gd name="T4" fmla="*/ 49 w 248"/>
                <a:gd name="T5" fmla="*/ 224 h 248"/>
                <a:gd name="T6" fmla="*/ 75 w 248"/>
                <a:gd name="T7" fmla="*/ 197 h 248"/>
                <a:gd name="T8" fmla="*/ 106 w 248"/>
                <a:gd name="T9" fmla="*/ 210 h 248"/>
                <a:gd name="T10" fmla="*/ 106 w 248"/>
                <a:gd name="T11" fmla="*/ 248 h 248"/>
                <a:gd name="T12" fmla="*/ 142 w 248"/>
                <a:gd name="T13" fmla="*/ 248 h 248"/>
                <a:gd name="T14" fmla="*/ 142 w 248"/>
                <a:gd name="T15" fmla="*/ 210 h 248"/>
                <a:gd name="T16" fmla="*/ 173 w 248"/>
                <a:gd name="T17" fmla="*/ 197 h 248"/>
                <a:gd name="T18" fmla="*/ 199 w 248"/>
                <a:gd name="T19" fmla="*/ 224 h 248"/>
                <a:gd name="T20" fmla="*/ 224 w 248"/>
                <a:gd name="T21" fmla="*/ 199 h 248"/>
                <a:gd name="T22" fmla="*/ 198 w 248"/>
                <a:gd name="T23" fmla="*/ 172 h 248"/>
                <a:gd name="T24" fmla="*/ 211 w 248"/>
                <a:gd name="T25" fmla="*/ 141 h 248"/>
                <a:gd name="T26" fmla="*/ 248 w 248"/>
                <a:gd name="T27" fmla="*/ 141 h 248"/>
                <a:gd name="T28" fmla="*/ 248 w 248"/>
                <a:gd name="T29" fmla="*/ 106 h 248"/>
                <a:gd name="T30" fmla="*/ 211 w 248"/>
                <a:gd name="T31" fmla="*/ 106 h 248"/>
                <a:gd name="T32" fmla="*/ 198 w 248"/>
                <a:gd name="T33" fmla="*/ 75 h 248"/>
                <a:gd name="T34" fmla="*/ 224 w 248"/>
                <a:gd name="T35" fmla="*/ 49 h 248"/>
                <a:gd name="T36" fmla="*/ 199 w 248"/>
                <a:gd name="T37" fmla="*/ 23 h 248"/>
                <a:gd name="T38" fmla="*/ 173 w 248"/>
                <a:gd name="T39" fmla="*/ 50 h 248"/>
                <a:gd name="T40" fmla="*/ 142 w 248"/>
                <a:gd name="T41" fmla="*/ 37 h 248"/>
                <a:gd name="T42" fmla="*/ 142 w 248"/>
                <a:gd name="T43" fmla="*/ 0 h 248"/>
                <a:gd name="T44" fmla="*/ 106 w 248"/>
                <a:gd name="T45" fmla="*/ 0 h 248"/>
                <a:gd name="T46" fmla="*/ 106 w 248"/>
                <a:gd name="T47" fmla="*/ 37 h 248"/>
                <a:gd name="T48" fmla="*/ 75 w 248"/>
                <a:gd name="T49" fmla="*/ 50 h 248"/>
                <a:gd name="T50" fmla="*/ 49 w 248"/>
                <a:gd name="T51" fmla="*/ 23 h 248"/>
                <a:gd name="T52" fmla="*/ 24 w 248"/>
                <a:gd name="T53" fmla="*/ 49 h 248"/>
                <a:gd name="T54" fmla="*/ 50 w 248"/>
                <a:gd name="T55" fmla="*/ 75 h 248"/>
                <a:gd name="T56" fmla="*/ 37 w 248"/>
                <a:gd name="T57" fmla="*/ 106 h 248"/>
                <a:gd name="T58" fmla="*/ 0 w 248"/>
                <a:gd name="T59" fmla="*/ 106 h 248"/>
                <a:gd name="T60" fmla="*/ 0 w 248"/>
                <a:gd name="T61" fmla="*/ 141 h 248"/>
                <a:gd name="T62" fmla="*/ 37 w 248"/>
                <a:gd name="T63" fmla="*/ 141 h 248"/>
                <a:gd name="T64" fmla="*/ 50 w 248"/>
                <a:gd name="T65" fmla="*/ 172 h 248"/>
                <a:gd name="T66" fmla="*/ 124 w 248"/>
                <a:gd name="T67" fmla="*/ 71 h 248"/>
                <a:gd name="T68" fmla="*/ 177 w 248"/>
                <a:gd name="T69" fmla="*/ 124 h 248"/>
                <a:gd name="T70" fmla="*/ 124 w 248"/>
                <a:gd name="T71" fmla="*/ 177 h 248"/>
                <a:gd name="T72" fmla="*/ 71 w 248"/>
                <a:gd name="T73" fmla="*/ 124 h 248"/>
                <a:gd name="T74" fmla="*/ 124 w 248"/>
                <a:gd name="T75" fmla="*/ 7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8" h="248">
                  <a:moveTo>
                    <a:pt x="50" y="172"/>
                  </a:moveTo>
                  <a:cubicBezTo>
                    <a:pt x="24" y="199"/>
                    <a:pt x="24" y="199"/>
                    <a:pt x="24" y="199"/>
                  </a:cubicBezTo>
                  <a:cubicBezTo>
                    <a:pt x="49" y="224"/>
                    <a:pt x="49" y="224"/>
                    <a:pt x="49" y="224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85" y="204"/>
                    <a:pt x="95" y="208"/>
                    <a:pt x="106" y="210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42" y="248"/>
                    <a:pt x="142" y="248"/>
                    <a:pt x="142" y="248"/>
                  </a:cubicBezTo>
                  <a:cubicBezTo>
                    <a:pt x="142" y="210"/>
                    <a:pt x="142" y="210"/>
                    <a:pt x="142" y="210"/>
                  </a:cubicBezTo>
                  <a:cubicBezTo>
                    <a:pt x="153" y="208"/>
                    <a:pt x="163" y="204"/>
                    <a:pt x="173" y="197"/>
                  </a:cubicBezTo>
                  <a:cubicBezTo>
                    <a:pt x="199" y="224"/>
                    <a:pt x="199" y="224"/>
                    <a:pt x="199" y="224"/>
                  </a:cubicBezTo>
                  <a:cubicBezTo>
                    <a:pt x="224" y="199"/>
                    <a:pt x="224" y="199"/>
                    <a:pt x="224" y="199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204" y="163"/>
                    <a:pt x="208" y="153"/>
                    <a:pt x="211" y="141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8" y="106"/>
                    <a:pt x="248" y="106"/>
                    <a:pt x="248" y="106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8" y="95"/>
                    <a:pt x="204" y="84"/>
                    <a:pt x="198" y="75"/>
                  </a:cubicBezTo>
                  <a:cubicBezTo>
                    <a:pt x="224" y="49"/>
                    <a:pt x="224" y="49"/>
                    <a:pt x="224" y="49"/>
                  </a:cubicBezTo>
                  <a:cubicBezTo>
                    <a:pt x="199" y="23"/>
                    <a:pt x="199" y="23"/>
                    <a:pt x="199" y="23"/>
                  </a:cubicBezTo>
                  <a:cubicBezTo>
                    <a:pt x="173" y="50"/>
                    <a:pt x="173" y="50"/>
                    <a:pt x="173" y="50"/>
                  </a:cubicBezTo>
                  <a:cubicBezTo>
                    <a:pt x="163" y="44"/>
                    <a:pt x="153" y="39"/>
                    <a:pt x="142" y="37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95" y="39"/>
                    <a:pt x="85" y="44"/>
                    <a:pt x="75" y="50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44" y="84"/>
                    <a:pt x="40" y="95"/>
                    <a:pt x="37" y="10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40" y="153"/>
                    <a:pt x="44" y="163"/>
                    <a:pt x="50" y="172"/>
                  </a:cubicBezTo>
                  <a:close/>
                  <a:moveTo>
                    <a:pt x="124" y="71"/>
                  </a:moveTo>
                  <a:cubicBezTo>
                    <a:pt x="153" y="71"/>
                    <a:pt x="177" y="94"/>
                    <a:pt x="177" y="124"/>
                  </a:cubicBezTo>
                  <a:cubicBezTo>
                    <a:pt x="177" y="153"/>
                    <a:pt x="153" y="177"/>
                    <a:pt x="124" y="177"/>
                  </a:cubicBezTo>
                  <a:cubicBezTo>
                    <a:pt x="95" y="177"/>
                    <a:pt x="71" y="153"/>
                    <a:pt x="71" y="124"/>
                  </a:cubicBezTo>
                  <a:cubicBezTo>
                    <a:pt x="71" y="94"/>
                    <a:pt x="95" y="71"/>
                    <a:pt x="124" y="71"/>
                  </a:cubicBezTo>
                  <a:close/>
                </a:path>
              </a:pathLst>
            </a:custGeom>
            <a:noFill/>
            <a:ln w="9525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2" name="TextBox 251">
            <a:extLst>
              <a:ext uri="{FF2B5EF4-FFF2-40B4-BE49-F238E27FC236}">
                <a16:creationId xmlns:a16="http://schemas.microsoft.com/office/drawing/2014/main" id="{C93731F9-F16D-2593-4D81-3BB52E71A7EA}"/>
              </a:ext>
            </a:extLst>
          </p:cNvPr>
          <p:cNvSpPr txBox="1"/>
          <p:nvPr/>
        </p:nvSpPr>
        <p:spPr>
          <a:xfrm>
            <a:off x="11318507" y="6575039"/>
            <a:ext cx="322631" cy="177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Font typeface="Arial"/>
              <a:buNone/>
              <a:defRPr sz="900"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r"/>
            <a:fld id="{2C47FC89-94BB-4EAC-8CC1-5DD1CE33A36E}" type="slidenum">
              <a:rPr lang="en-AU" sz="1000" smtClean="0">
                <a:solidFill>
                  <a:schemeClr val="bg1"/>
                </a:solidFill>
                <a:latin typeface="+mn-lt"/>
              </a:rPr>
              <a:pPr lvl="0" algn="r"/>
              <a:t>16</a:t>
            </a:fld>
            <a:endParaRPr lang="en-AU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26FEE3FD-1EB1-DAB9-A6D5-CD130C6887F3}"/>
              </a:ext>
            </a:extLst>
          </p:cNvPr>
          <p:cNvSpPr txBox="1"/>
          <p:nvPr/>
        </p:nvSpPr>
        <p:spPr>
          <a:xfrm>
            <a:off x="479424" y="6575039"/>
            <a:ext cx="2093522" cy="1958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lvl="0" indent="0" algn="r">
              <a:lnSpc>
                <a:spcPct val="100000"/>
              </a:lnSpc>
              <a:spcBef>
                <a:spcPts val="600"/>
              </a:spcBef>
              <a:buFont typeface="Arial"/>
              <a:buNone/>
              <a:defRPr sz="800"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l"/>
            <a:r>
              <a:rPr lang="en-US" dirty="0">
                <a:solidFill>
                  <a:schemeClr val="bg1"/>
                </a:solidFill>
              </a:rPr>
              <a:t>Copyright © hatch 2023. All rights reserved.</a:t>
            </a:r>
          </a:p>
        </p:txBody>
      </p:sp>
      <p:pic>
        <p:nvPicPr>
          <p:cNvPr id="254" name="Picture 253">
            <a:extLst>
              <a:ext uri="{FF2B5EF4-FFF2-40B4-BE49-F238E27FC236}">
                <a16:creationId xmlns:a16="http://schemas.microsoft.com/office/drawing/2014/main" id="{81597D72-0816-A403-FF05-22D166D65A6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3604" y="6456691"/>
            <a:ext cx="1686713" cy="324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6133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D58B41-0121-5E91-D34F-290E9BD99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TCH has the expertise to help you throughout your entire journey!</a:t>
            </a:r>
          </a:p>
        </p:txBody>
      </p:sp>
      <p:sp>
        <p:nvSpPr>
          <p:cNvPr id="5" name="Freeform 175">
            <a:extLst>
              <a:ext uri="{FF2B5EF4-FFF2-40B4-BE49-F238E27FC236}">
                <a16:creationId xmlns:a16="http://schemas.microsoft.com/office/drawing/2014/main" id="{70748E35-8A4A-96B5-847A-A844031DD80B}"/>
              </a:ext>
            </a:extLst>
          </p:cNvPr>
          <p:cNvSpPr>
            <a:spLocks/>
          </p:cNvSpPr>
          <p:nvPr/>
        </p:nvSpPr>
        <p:spPr bwMode="auto">
          <a:xfrm>
            <a:off x="5236328" y="3114845"/>
            <a:ext cx="1695036" cy="1653047"/>
          </a:xfrm>
          <a:custGeom>
            <a:avLst/>
            <a:gdLst>
              <a:gd name="T0" fmla="*/ 323 w 646"/>
              <a:gd name="T1" fmla="*/ 0 h 630"/>
              <a:gd name="T2" fmla="*/ 273 w 646"/>
              <a:gd name="T3" fmla="*/ 50 h 630"/>
              <a:gd name="T4" fmla="*/ 145 w 646"/>
              <a:gd name="T5" fmla="*/ 108 h 630"/>
              <a:gd name="T6" fmla="*/ 134 w 646"/>
              <a:gd name="T7" fmla="*/ 117 h 630"/>
              <a:gd name="T8" fmla="*/ 64 w 646"/>
              <a:gd name="T9" fmla="*/ 125 h 630"/>
              <a:gd name="T10" fmla="*/ 72 w 646"/>
              <a:gd name="T11" fmla="*/ 195 h 630"/>
              <a:gd name="T12" fmla="*/ 37 w 646"/>
              <a:gd name="T13" fmla="*/ 345 h 630"/>
              <a:gd name="T14" fmla="*/ 0 w 646"/>
              <a:gd name="T15" fmla="*/ 405 h 630"/>
              <a:gd name="T16" fmla="*/ 60 w 646"/>
              <a:gd name="T17" fmla="*/ 442 h 630"/>
              <a:gd name="T18" fmla="*/ 99 w 646"/>
              <a:gd name="T19" fmla="*/ 509 h 630"/>
              <a:gd name="T20" fmla="*/ 156 w 646"/>
              <a:gd name="T21" fmla="*/ 563 h 630"/>
              <a:gd name="T22" fmla="*/ 179 w 646"/>
              <a:gd name="T23" fmla="*/ 630 h 630"/>
              <a:gd name="T24" fmla="*/ 246 w 646"/>
              <a:gd name="T25" fmla="*/ 606 h 630"/>
              <a:gd name="T26" fmla="*/ 323 w 646"/>
              <a:gd name="T27" fmla="*/ 617 h 630"/>
              <a:gd name="T28" fmla="*/ 400 w 646"/>
              <a:gd name="T29" fmla="*/ 606 h 630"/>
              <a:gd name="T30" fmla="*/ 466 w 646"/>
              <a:gd name="T31" fmla="*/ 630 h 630"/>
              <a:gd name="T32" fmla="*/ 490 w 646"/>
              <a:gd name="T33" fmla="*/ 563 h 630"/>
              <a:gd name="T34" fmla="*/ 501 w 646"/>
              <a:gd name="T35" fmla="*/ 555 h 630"/>
              <a:gd name="T36" fmla="*/ 586 w 646"/>
              <a:gd name="T37" fmla="*/ 442 h 630"/>
              <a:gd name="T38" fmla="*/ 646 w 646"/>
              <a:gd name="T39" fmla="*/ 405 h 630"/>
              <a:gd name="T40" fmla="*/ 608 w 646"/>
              <a:gd name="T41" fmla="*/ 345 h 630"/>
              <a:gd name="T42" fmla="*/ 574 w 646"/>
              <a:gd name="T43" fmla="*/ 195 h 630"/>
              <a:gd name="T44" fmla="*/ 582 w 646"/>
              <a:gd name="T45" fmla="*/ 125 h 630"/>
              <a:gd name="T46" fmla="*/ 511 w 646"/>
              <a:gd name="T47" fmla="*/ 117 h 630"/>
              <a:gd name="T48" fmla="*/ 373 w 646"/>
              <a:gd name="T49" fmla="*/ 50 h 630"/>
              <a:gd name="T50" fmla="*/ 323 w 646"/>
              <a:gd name="T51" fmla="*/ 0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46" h="630">
                <a:moveTo>
                  <a:pt x="323" y="0"/>
                </a:moveTo>
                <a:cubicBezTo>
                  <a:pt x="273" y="50"/>
                  <a:pt x="273" y="50"/>
                  <a:pt x="273" y="50"/>
                </a:cubicBezTo>
                <a:cubicBezTo>
                  <a:pt x="227" y="58"/>
                  <a:pt x="183" y="77"/>
                  <a:pt x="145" y="108"/>
                </a:cubicBezTo>
                <a:cubicBezTo>
                  <a:pt x="141" y="111"/>
                  <a:pt x="137" y="114"/>
                  <a:pt x="134" y="117"/>
                </a:cubicBezTo>
                <a:cubicBezTo>
                  <a:pt x="64" y="125"/>
                  <a:pt x="64" y="125"/>
                  <a:pt x="64" y="125"/>
                </a:cubicBezTo>
                <a:cubicBezTo>
                  <a:pt x="72" y="195"/>
                  <a:pt x="72" y="195"/>
                  <a:pt x="72" y="195"/>
                </a:cubicBezTo>
                <a:cubicBezTo>
                  <a:pt x="46" y="241"/>
                  <a:pt x="35" y="293"/>
                  <a:pt x="37" y="345"/>
                </a:cubicBezTo>
                <a:cubicBezTo>
                  <a:pt x="0" y="405"/>
                  <a:pt x="0" y="405"/>
                  <a:pt x="0" y="405"/>
                </a:cubicBezTo>
                <a:cubicBezTo>
                  <a:pt x="60" y="442"/>
                  <a:pt x="60" y="442"/>
                  <a:pt x="60" y="442"/>
                </a:cubicBezTo>
                <a:cubicBezTo>
                  <a:pt x="69" y="466"/>
                  <a:pt x="83" y="488"/>
                  <a:pt x="99" y="509"/>
                </a:cubicBezTo>
                <a:cubicBezTo>
                  <a:pt x="116" y="530"/>
                  <a:pt x="135" y="548"/>
                  <a:pt x="156" y="563"/>
                </a:cubicBezTo>
                <a:cubicBezTo>
                  <a:pt x="179" y="630"/>
                  <a:pt x="179" y="630"/>
                  <a:pt x="179" y="630"/>
                </a:cubicBezTo>
                <a:cubicBezTo>
                  <a:pt x="246" y="606"/>
                  <a:pt x="246" y="606"/>
                  <a:pt x="246" y="606"/>
                </a:cubicBezTo>
                <a:cubicBezTo>
                  <a:pt x="271" y="613"/>
                  <a:pt x="297" y="617"/>
                  <a:pt x="323" y="617"/>
                </a:cubicBezTo>
                <a:cubicBezTo>
                  <a:pt x="349" y="617"/>
                  <a:pt x="375" y="613"/>
                  <a:pt x="400" y="606"/>
                </a:cubicBezTo>
                <a:cubicBezTo>
                  <a:pt x="466" y="630"/>
                  <a:pt x="466" y="630"/>
                  <a:pt x="466" y="630"/>
                </a:cubicBezTo>
                <a:cubicBezTo>
                  <a:pt x="490" y="563"/>
                  <a:pt x="490" y="563"/>
                  <a:pt x="490" y="563"/>
                </a:cubicBezTo>
                <a:cubicBezTo>
                  <a:pt x="493" y="560"/>
                  <a:pt x="497" y="557"/>
                  <a:pt x="501" y="555"/>
                </a:cubicBezTo>
                <a:cubicBezTo>
                  <a:pt x="539" y="524"/>
                  <a:pt x="568" y="485"/>
                  <a:pt x="586" y="442"/>
                </a:cubicBezTo>
                <a:cubicBezTo>
                  <a:pt x="646" y="405"/>
                  <a:pt x="646" y="405"/>
                  <a:pt x="646" y="405"/>
                </a:cubicBezTo>
                <a:cubicBezTo>
                  <a:pt x="608" y="345"/>
                  <a:pt x="608" y="345"/>
                  <a:pt x="608" y="345"/>
                </a:cubicBezTo>
                <a:cubicBezTo>
                  <a:pt x="610" y="294"/>
                  <a:pt x="599" y="242"/>
                  <a:pt x="574" y="195"/>
                </a:cubicBezTo>
                <a:cubicBezTo>
                  <a:pt x="582" y="125"/>
                  <a:pt x="582" y="125"/>
                  <a:pt x="582" y="125"/>
                </a:cubicBezTo>
                <a:cubicBezTo>
                  <a:pt x="511" y="117"/>
                  <a:pt x="511" y="117"/>
                  <a:pt x="511" y="117"/>
                </a:cubicBezTo>
                <a:cubicBezTo>
                  <a:pt x="471" y="81"/>
                  <a:pt x="423" y="59"/>
                  <a:pt x="373" y="50"/>
                </a:cubicBezTo>
                <a:cubicBezTo>
                  <a:pt x="323" y="0"/>
                  <a:pt x="323" y="0"/>
                  <a:pt x="323" y="0"/>
                </a:cubicBezTo>
              </a:path>
            </a:pathLst>
          </a:custGeom>
          <a:solidFill>
            <a:srgbClr val="C6CA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Freeform 176">
            <a:extLst>
              <a:ext uri="{FF2B5EF4-FFF2-40B4-BE49-F238E27FC236}">
                <a16:creationId xmlns:a16="http://schemas.microsoft.com/office/drawing/2014/main" id="{5A393E86-62B8-5A03-94E8-9E03908EB650}"/>
              </a:ext>
            </a:extLst>
          </p:cNvPr>
          <p:cNvSpPr>
            <a:spLocks/>
          </p:cNvSpPr>
          <p:nvPr/>
        </p:nvSpPr>
        <p:spPr bwMode="auto">
          <a:xfrm>
            <a:off x="3947923" y="3584460"/>
            <a:ext cx="1301664" cy="1653047"/>
          </a:xfrm>
          <a:custGeom>
            <a:avLst/>
            <a:gdLst>
              <a:gd name="T0" fmla="*/ 33 w 496"/>
              <a:gd name="T1" fmla="*/ 0 h 630"/>
              <a:gd name="T2" fmla="*/ 96 w 496"/>
              <a:gd name="T3" fmla="*/ 498 h 630"/>
              <a:gd name="T4" fmla="*/ 176 w 496"/>
              <a:gd name="T5" fmla="*/ 630 h 630"/>
              <a:gd name="T6" fmla="*/ 496 w 496"/>
              <a:gd name="T7" fmla="*/ 375 h 630"/>
              <a:gd name="T8" fmla="*/ 431 w 496"/>
              <a:gd name="T9" fmla="*/ 91 h 630"/>
              <a:gd name="T10" fmla="*/ 33 w 496"/>
              <a:gd name="T11" fmla="*/ 0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6" h="630">
                <a:moveTo>
                  <a:pt x="33" y="0"/>
                </a:moveTo>
                <a:cubicBezTo>
                  <a:pt x="0" y="163"/>
                  <a:pt x="19" y="337"/>
                  <a:pt x="96" y="498"/>
                </a:cubicBezTo>
                <a:cubicBezTo>
                  <a:pt x="119" y="545"/>
                  <a:pt x="146" y="589"/>
                  <a:pt x="176" y="630"/>
                </a:cubicBezTo>
                <a:cubicBezTo>
                  <a:pt x="496" y="375"/>
                  <a:pt x="496" y="375"/>
                  <a:pt x="496" y="375"/>
                </a:cubicBezTo>
                <a:cubicBezTo>
                  <a:pt x="439" y="293"/>
                  <a:pt x="415" y="191"/>
                  <a:pt x="431" y="91"/>
                </a:cubicBezTo>
                <a:cubicBezTo>
                  <a:pt x="33" y="0"/>
                  <a:pt x="33" y="0"/>
                  <a:pt x="33" y="0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Freeform 177">
            <a:extLst>
              <a:ext uri="{FF2B5EF4-FFF2-40B4-BE49-F238E27FC236}">
                <a16:creationId xmlns:a16="http://schemas.microsoft.com/office/drawing/2014/main" id="{33F635BA-5A5C-9F79-69A1-774DE1947ED6}"/>
              </a:ext>
            </a:extLst>
          </p:cNvPr>
          <p:cNvSpPr>
            <a:spLocks/>
          </p:cNvSpPr>
          <p:nvPr/>
        </p:nvSpPr>
        <p:spPr bwMode="auto">
          <a:xfrm>
            <a:off x="5234118" y="3114845"/>
            <a:ext cx="1695036" cy="1653047"/>
          </a:xfrm>
          <a:custGeom>
            <a:avLst/>
            <a:gdLst>
              <a:gd name="T0" fmla="*/ 646 w 646"/>
              <a:gd name="T1" fmla="*/ 405 h 630"/>
              <a:gd name="T2" fmla="*/ 609 w 646"/>
              <a:gd name="T3" fmla="*/ 345 h 630"/>
              <a:gd name="T4" fmla="*/ 574 w 646"/>
              <a:gd name="T5" fmla="*/ 195 h 630"/>
              <a:gd name="T6" fmla="*/ 582 w 646"/>
              <a:gd name="T7" fmla="*/ 125 h 630"/>
              <a:gd name="T8" fmla="*/ 512 w 646"/>
              <a:gd name="T9" fmla="*/ 117 h 630"/>
              <a:gd name="T10" fmla="*/ 373 w 646"/>
              <a:gd name="T11" fmla="*/ 50 h 630"/>
              <a:gd name="T12" fmla="*/ 323 w 646"/>
              <a:gd name="T13" fmla="*/ 0 h 630"/>
              <a:gd name="T14" fmla="*/ 273 w 646"/>
              <a:gd name="T15" fmla="*/ 50 h 630"/>
              <a:gd name="T16" fmla="*/ 145 w 646"/>
              <a:gd name="T17" fmla="*/ 108 h 630"/>
              <a:gd name="T18" fmla="*/ 134 w 646"/>
              <a:gd name="T19" fmla="*/ 117 h 630"/>
              <a:gd name="T20" fmla="*/ 64 w 646"/>
              <a:gd name="T21" fmla="*/ 125 h 630"/>
              <a:gd name="T22" fmla="*/ 72 w 646"/>
              <a:gd name="T23" fmla="*/ 195 h 630"/>
              <a:gd name="T24" fmla="*/ 38 w 646"/>
              <a:gd name="T25" fmla="*/ 345 h 630"/>
              <a:gd name="T26" fmla="*/ 0 w 646"/>
              <a:gd name="T27" fmla="*/ 405 h 630"/>
              <a:gd name="T28" fmla="*/ 60 w 646"/>
              <a:gd name="T29" fmla="*/ 442 h 630"/>
              <a:gd name="T30" fmla="*/ 100 w 646"/>
              <a:gd name="T31" fmla="*/ 509 h 630"/>
              <a:gd name="T32" fmla="*/ 156 w 646"/>
              <a:gd name="T33" fmla="*/ 563 h 630"/>
              <a:gd name="T34" fmla="*/ 179 w 646"/>
              <a:gd name="T35" fmla="*/ 630 h 630"/>
              <a:gd name="T36" fmla="*/ 246 w 646"/>
              <a:gd name="T37" fmla="*/ 606 h 630"/>
              <a:gd name="T38" fmla="*/ 400 w 646"/>
              <a:gd name="T39" fmla="*/ 606 h 630"/>
              <a:gd name="T40" fmla="*/ 467 w 646"/>
              <a:gd name="T41" fmla="*/ 630 h 630"/>
              <a:gd name="T42" fmla="*/ 490 w 646"/>
              <a:gd name="T43" fmla="*/ 563 h 630"/>
              <a:gd name="T44" fmla="*/ 501 w 646"/>
              <a:gd name="T45" fmla="*/ 555 h 630"/>
              <a:gd name="T46" fmla="*/ 586 w 646"/>
              <a:gd name="T47" fmla="*/ 442 h 630"/>
              <a:gd name="T48" fmla="*/ 646 w 646"/>
              <a:gd name="T49" fmla="*/ 405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46" h="630">
                <a:moveTo>
                  <a:pt x="646" y="405"/>
                </a:moveTo>
                <a:cubicBezTo>
                  <a:pt x="609" y="345"/>
                  <a:pt x="609" y="345"/>
                  <a:pt x="609" y="345"/>
                </a:cubicBezTo>
                <a:cubicBezTo>
                  <a:pt x="611" y="294"/>
                  <a:pt x="600" y="242"/>
                  <a:pt x="574" y="195"/>
                </a:cubicBezTo>
                <a:cubicBezTo>
                  <a:pt x="582" y="125"/>
                  <a:pt x="582" y="125"/>
                  <a:pt x="582" y="125"/>
                </a:cubicBezTo>
                <a:cubicBezTo>
                  <a:pt x="512" y="117"/>
                  <a:pt x="512" y="117"/>
                  <a:pt x="512" y="117"/>
                </a:cubicBezTo>
                <a:cubicBezTo>
                  <a:pt x="472" y="81"/>
                  <a:pt x="424" y="59"/>
                  <a:pt x="373" y="50"/>
                </a:cubicBezTo>
                <a:cubicBezTo>
                  <a:pt x="323" y="0"/>
                  <a:pt x="323" y="0"/>
                  <a:pt x="323" y="0"/>
                </a:cubicBezTo>
                <a:cubicBezTo>
                  <a:pt x="273" y="50"/>
                  <a:pt x="273" y="50"/>
                  <a:pt x="273" y="50"/>
                </a:cubicBezTo>
                <a:cubicBezTo>
                  <a:pt x="228" y="58"/>
                  <a:pt x="184" y="77"/>
                  <a:pt x="145" y="108"/>
                </a:cubicBezTo>
                <a:cubicBezTo>
                  <a:pt x="141" y="111"/>
                  <a:pt x="138" y="114"/>
                  <a:pt x="134" y="117"/>
                </a:cubicBezTo>
                <a:cubicBezTo>
                  <a:pt x="64" y="125"/>
                  <a:pt x="64" y="125"/>
                  <a:pt x="64" y="125"/>
                </a:cubicBezTo>
                <a:cubicBezTo>
                  <a:pt x="72" y="195"/>
                  <a:pt x="72" y="195"/>
                  <a:pt x="72" y="195"/>
                </a:cubicBezTo>
                <a:cubicBezTo>
                  <a:pt x="47" y="241"/>
                  <a:pt x="35" y="293"/>
                  <a:pt x="38" y="345"/>
                </a:cubicBezTo>
                <a:cubicBezTo>
                  <a:pt x="0" y="405"/>
                  <a:pt x="0" y="405"/>
                  <a:pt x="0" y="405"/>
                </a:cubicBezTo>
                <a:cubicBezTo>
                  <a:pt x="60" y="442"/>
                  <a:pt x="60" y="442"/>
                  <a:pt x="60" y="442"/>
                </a:cubicBezTo>
                <a:cubicBezTo>
                  <a:pt x="70" y="466"/>
                  <a:pt x="83" y="488"/>
                  <a:pt x="100" y="509"/>
                </a:cubicBezTo>
                <a:cubicBezTo>
                  <a:pt x="116" y="530"/>
                  <a:pt x="136" y="548"/>
                  <a:pt x="156" y="563"/>
                </a:cubicBezTo>
                <a:cubicBezTo>
                  <a:pt x="179" y="630"/>
                  <a:pt x="179" y="630"/>
                  <a:pt x="179" y="630"/>
                </a:cubicBezTo>
                <a:cubicBezTo>
                  <a:pt x="246" y="606"/>
                  <a:pt x="246" y="606"/>
                  <a:pt x="246" y="606"/>
                </a:cubicBezTo>
                <a:cubicBezTo>
                  <a:pt x="296" y="620"/>
                  <a:pt x="350" y="621"/>
                  <a:pt x="400" y="606"/>
                </a:cubicBezTo>
                <a:cubicBezTo>
                  <a:pt x="467" y="630"/>
                  <a:pt x="467" y="630"/>
                  <a:pt x="467" y="630"/>
                </a:cubicBezTo>
                <a:cubicBezTo>
                  <a:pt x="490" y="563"/>
                  <a:pt x="490" y="563"/>
                  <a:pt x="490" y="563"/>
                </a:cubicBezTo>
                <a:cubicBezTo>
                  <a:pt x="494" y="560"/>
                  <a:pt x="498" y="557"/>
                  <a:pt x="501" y="555"/>
                </a:cubicBezTo>
                <a:cubicBezTo>
                  <a:pt x="540" y="524"/>
                  <a:pt x="568" y="485"/>
                  <a:pt x="586" y="442"/>
                </a:cubicBezTo>
                <a:lnTo>
                  <a:pt x="646" y="40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Freeform 178">
            <a:extLst>
              <a:ext uri="{FF2B5EF4-FFF2-40B4-BE49-F238E27FC236}">
                <a16:creationId xmlns:a16="http://schemas.microsoft.com/office/drawing/2014/main" id="{AEA072C0-E107-18FF-7E26-920D34E6CA8F}"/>
              </a:ext>
            </a:extLst>
          </p:cNvPr>
          <p:cNvSpPr>
            <a:spLocks/>
          </p:cNvSpPr>
          <p:nvPr/>
        </p:nvSpPr>
        <p:spPr bwMode="auto">
          <a:xfrm>
            <a:off x="5234118" y="1828650"/>
            <a:ext cx="1695036" cy="1214371"/>
          </a:xfrm>
          <a:custGeom>
            <a:avLst/>
            <a:gdLst>
              <a:gd name="T0" fmla="*/ 0 w 646"/>
              <a:gd name="T1" fmla="*/ 95 h 463"/>
              <a:gd name="T2" fmla="*/ 177 w 646"/>
              <a:gd name="T3" fmla="*/ 463 h 463"/>
              <a:gd name="T4" fmla="*/ 468 w 646"/>
              <a:gd name="T5" fmla="*/ 463 h 463"/>
              <a:gd name="T6" fmla="*/ 646 w 646"/>
              <a:gd name="T7" fmla="*/ 95 h 463"/>
              <a:gd name="T8" fmla="*/ 0 w 646"/>
              <a:gd name="T9" fmla="*/ 95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6" h="463">
                <a:moveTo>
                  <a:pt x="0" y="95"/>
                </a:moveTo>
                <a:cubicBezTo>
                  <a:pt x="177" y="463"/>
                  <a:pt x="177" y="463"/>
                  <a:pt x="177" y="463"/>
                </a:cubicBezTo>
                <a:cubicBezTo>
                  <a:pt x="268" y="427"/>
                  <a:pt x="372" y="424"/>
                  <a:pt x="468" y="463"/>
                </a:cubicBezTo>
                <a:cubicBezTo>
                  <a:pt x="646" y="95"/>
                  <a:pt x="646" y="95"/>
                  <a:pt x="646" y="95"/>
                </a:cubicBezTo>
                <a:cubicBezTo>
                  <a:pt x="447" y="7"/>
                  <a:pt x="213" y="0"/>
                  <a:pt x="0" y="9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179">
            <a:extLst>
              <a:ext uri="{FF2B5EF4-FFF2-40B4-BE49-F238E27FC236}">
                <a16:creationId xmlns:a16="http://schemas.microsoft.com/office/drawing/2014/main" id="{C8142162-9993-623A-E7BB-5D558A07F6BB}"/>
              </a:ext>
            </a:extLst>
          </p:cNvPr>
          <p:cNvSpPr>
            <a:spLocks/>
          </p:cNvSpPr>
          <p:nvPr/>
        </p:nvSpPr>
        <p:spPr bwMode="auto">
          <a:xfrm>
            <a:off x="6577771" y="2132519"/>
            <a:ext cx="1521555" cy="1564649"/>
          </a:xfrm>
          <a:custGeom>
            <a:avLst/>
            <a:gdLst>
              <a:gd name="T0" fmla="*/ 177 w 580"/>
              <a:gd name="T1" fmla="*/ 0 h 596"/>
              <a:gd name="T2" fmla="*/ 0 w 580"/>
              <a:gd name="T3" fmla="*/ 368 h 596"/>
              <a:gd name="T4" fmla="*/ 182 w 580"/>
              <a:gd name="T5" fmla="*/ 596 h 596"/>
              <a:gd name="T6" fmla="*/ 580 w 580"/>
              <a:gd name="T7" fmla="*/ 505 h 596"/>
              <a:gd name="T8" fmla="*/ 527 w 580"/>
              <a:gd name="T9" fmla="*/ 361 h 596"/>
              <a:gd name="T10" fmla="*/ 177 w 580"/>
              <a:gd name="T11" fmla="*/ 0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0" h="596">
                <a:moveTo>
                  <a:pt x="177" y="0"/>
                </a:moveTo>
                <a:cubicBezTo>
                  <a:pt x="0" y="368"/>
                  <a:pt x="0" y="368"/>
                  <a:pt x="0" y="368"/>
                </a:cubicBezTo>
                <a:cubicBezTo>
                  <a:pt x="91" y="419"/>
                  <a:pt x="154" y="502"/>
                  <a:pt x="182" y="596"/>
                </a:cubicBezTo>
                <a:cubicBezTo>
                  <a:pt x="580" y="505"/>
                  <a:pt x="580" y="505"/>
                  <a:pt x="580" y="505"/>
                </a:cubicBezTo>
                <a:cubicBezTo>
                  <a:pt x="567" y="456"/>
                  <a:pt x="550" y="408"/>
                  <a:pt x="527" y="361"/>
                </a:cubicBezTo>
                <a:cubicBezTo>
                  <a:pt x="449" y="200"/>
                  <a:pt x="325" y="77"/>
                  <a:pt x="17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180">
            <a:extLst>
              <a:ext uri="{FF2B5EF4-FFF2-40B4-BE49-F238E27FC236}">
                <a16:creationId xmlns:a16="http://schemas.microsoft.com/office/drawing/2014/main" id="{924B9951-DC92-D5CA-760E-9670CA120F44}"/>
              </a:ext>
            </a:extLst>
          </p:cNvPr>
          <p:cNvSpPr>
            <a:spLocks/>
          </p:cNvSpPr>
          <p:nvPr/>
        </p:nvSpPr>
        <p:spPr bwMode="auto">
          <a:xfrm>
            <a:off x="6913684" y="3584460"/>
            <a:ext cx="1330394" cy="1650837"/>
          </a:xfrm>
          <a:custGeom>
            <a:avLst/>
            <a:gdLst>
              <a:gd name="T0" fmla="*/ 64 w 507"/>
              <a:gd name="T1" fmla="*/ 91 h 629"/>
              <a:gd name="T2" fmla="*/ 31 w 507"/>
              <a:gd name="T3" fmla="*/ 321 h 629"/>
              <a:gd name="T4" fmla="*/ 0 w 507"/>
              <a:gd name="T5" fmla="*/ 375 h 629"/>
              <a:gd name="T6" fmla="*/ 319 w 507"/>
              <a:gd name="T7" fmla="*/ 629 h 629"/>
              <a:gd name="T8" fmla="*/ 463 w 507"/>
              <a:gd name="T9" fmla="*/ 0 h 629"/>
              <a:gd name="T10" fmla="*/ 64 w 507"/>
              <a:gd name="T11" fmla="*/ 91 h 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07" h="629">
                <a:moveTo>
                  <a:pt x="64" y="91"/>
                </a:moveTo>
                <a:cubicBezTo>
                  <a:pt x="77" y="166"/>
                  <a:pt x="67" y="246"/>
                  <a:pt x="31" y="321"/>
                </a:cubicBezTo>
                <a:cubicBezTo>
                  <a:pt x="22" y="340"/>
                  <a:pt x="11" y="358"/>
                  <a:pt x="0" y="375"/>
                </a:cubicBezTo>
                <a:cubicBezTo>
                  <a:pt x="319" y="629"/>
                  <a:pt x="319" y="629"/>
                  <a:pt x="319" y="629"/>
                </a:cubicBezTo>
                <a:cubicBezTo>
                  <a:pt x="452" y="452"/>
                  <a:pt x="507" y="222"/>
                  <a:pt x="463" y="0"/>
                </a:cubicBezTo>
                <a:lnTo>
                  <a:pt x="64" y="9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 181">
            <a:extLst>
              <a:ext uri="{FF2B5EF4-FFF2-40B4-BE49-F238E27FC236}">
                <a16:creationId xmlns:a16="http://schemas.microsoft.com/office/drawing/2014/main" id="{110A85A0-A9E3-AC34-AA97-E9575680AC56}"/>
              </a:ext>
            </a:extLst>
          </p:cNvPr>
          <p:cNvSpPr>
            <a:spLocks/>
          </p:cNvSpPr>
          <p:nvPr/>
        </p:nvSpPr>
        <p:spPr bwMode="auto">
          <a:xfrm>
            <a:off x="6144620" y="4668444"/>
            <a:ext cx="1527080" cy="1403322"/>
          </a:xfrm>
          <a:custGeom>
            <a:avLst/>
            <a:gdLst>
              <a:gd name="T0" fmla="*/ 262 w 582"/>
              <a:gd name="T1" fmla="*/ 0 h 535"/>
              <a:gd name="T2" fmla="*/ 0 w 582"/>
              <a:gd name="T3" fmla="*/ 126 h 535"/>
              <a:gd name="T4" fmla="*/ 0 w 582"/>
              <a:gd name="T5" fmla="*/ 535 h 535"/>
              <a:gd name="T6" fmla="*/ 321 w 582"/>
              <a:gd name="T7" fmla="*/ 456 h 535"/>
              <a:gd name="T8" fmla="*/ 582 w 582"/>
              <a:gd name="T9" fmla="*/ 254 h 535"/>
              <a:gd name="T10" fmla="*/ 262 w 582"/>
              <a:gd name="T11" fmla="*/ 0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2" h="535">
                <a:moveTo>
                  <a:pt x="262" y="0"/>
                </a:moveTo>
                <a:cubicBezTo>
                  <a:pt x="194" y="75"/>
                  <a:pt x="99" y="120"/>
                  <a:pt x="0" y="126"/>
                </a:cubicBezTo>
                <a:cubicBezTo>
                  <a:pt x="0" y="535"/>
                  <a:pt x="0" y="535"/>
                  <a:pt x="0" y="535"/>
                </a:cubicBezTo>
                <a:cubicBezTo>
                  <a:pt x="108" y="532"/>
                  <a:pt x="217" y="506"/>
                  <a:pt x="321" y="456"/>
                </a:cubicBezTo>
                <a:cubicBezTo>
                  <a:pt x="424" y="406"/>
                  <a:pt x="512" y="337"/>
                  <a:pt x="582" y="254"/>
                </a:cubicBezTo>
                <a:lnTo>
                  <a:pt x="26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182">
            <a:extLst>
              <a:ext uri="{FF2B5EF4-FFF2-40B4-BE49-F238E27FC236}">
                <a16:creationId xmlns:a16="http://schemas.microsoft.com/office/drawing/2014/main" id="{0EDED032-7386-3A03-F07F-AB6FF27D10C3}"/>
              </a:ext>
            </a:extLst>
          </p:cNvPr>
          <p:cNvSpPr>
            <a:spLocks/>
          </p:cNvSpPr>
          <p:nvPr/>
        </p:nvSpPr>
        <p:spPr bwMode="auto">
          <a:xfrm>
            <a:off x="4488257" y="4668444"/>
            <a:ext cx="1528185" cy="1403322"/>
          </a:xfrm>
          <a:custGeom>
            <a:avLst/>
            <a:gdLst>
              <a:gd name="T0" fmla="*/ 439 w 582"/>
              <a:gd name="T1" fmla="*/ 88 h 535"/>
              <a:gd name="T2" fmla="*/ 320 w 582"/>
              <a:gd name="T3" fmla="*/ 0 h 535"/>
              <a:gd name="T4" fmla="*/ 0 w 582"/>
              <a:gd name="T5" fmla="*/ 254 h 535"/>
              <a:gd name="T6" fmla="*/ 582 w 582"/>
              <a:gd name="T7" fmla="*/ 535 h 535"/>
              <a:gd name="T8" fmla="*/ 582 w 582"/>
              <a:gd name="T9" fmla="*/ 126 h 535"/>
              <a:gd name="T10" fmla="*/ 439 w 582"/>
              <a:gd name="T11" fmla="*/ 88 h 5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2" h="535">
                <a:moveTo>
                  <a:pt x="439" y="88"/>
                </a:moveTo>
                <a:cubicBezTo>
                  <a:pt x="392" y="66"/>
                  <a:pt x="352" y="36"/>
                  <a:pt x="320" y="0"/>
                </a:cubicBezTo>
                <a:cubicBezTo>
                  <a:pt x="0" y="254"/>
                  <a:pt x="0" y="254"/>
                  <a:pt x="0" y="254"/>
                </a:cubicBezTo>
                <a:cubicBezTo>
                  <a:pt x="147" y="428"/>
                  <a:pt x="360" y="528"/>
                  <a:pt x="582" y="535"/>
                </a:cubicBezTo>
                <a:cubicBezTo>
                  <a:pt x="582" y="126"/>
                  <a:pt x="582" y="126"/>
                  <a:pt x="582" y="126"/>
                </a:cubicBezTo>
                <a:cubicBezTo>
                  <a:pt x="534" y="123"/>
                  <a:pt x="485" y="111"/>
                  <a:pt x="439" y="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183">
            <a:extLst>
              <a:ext uri="{FF2B5EF4-FFF2-40B4-BE49-F238E27FC236}">
                <a16:creationId xmlns:a16="http://schemas.microsoft.com/office/drawing/2014/main" id="{5B8F3C3E-A41A-E09C-B6C8-70CFE4F327B2}"/>
              </a:ext>
            </a:extLst>
          </p:cNvPr>
          <p:cNvSpPr>
            <a:spLocks/>
          </p:cNvSpPr>
          <p:nvPr/>
        </p:nvSpPr>
        <p:spPr bwMode="auto">
          <a:xfrm>
            <a:off x="4060631" y="2132519"/>
            <a:ext cx="1522660" cy="1564649"/>
          </a:xfrm>
          <a:custGeom>
            <a:avLst/>
            <a:gdLst>
              <a:gd name="T0" fmla="*/ 0 w 580"/>
              <a:gd name="T1" fmla="*/ 505 h 596"/>
              <a:gd name="T2" fmla="*/ 398 w 580"/>
              <a:gd name="T3" fmla="*/ 596 h 596"/>
              <a:gd name="T4" fmla="*/ 421 w 580"/>
              <a:gd name="T5" fmla="*/ 538 h 596"/>
              <a:gd name="T6" fmla="*/ 580 w 580"/>
              <a:gd name="T7" fmla="*/ 368 h 596"/>
              <a:gd name="T8" fmla="*/ 403 w 580"/>
              <a:gd name="T9" fmla="*/ 0 h 596"/>
              <a:gd name="T10" fmla="*/ 0 w 580"/>
              <a:gd name="T11" fmla="*/ 505 h 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80" h="596">
                <a:moveTo>
                  <a:pt x="0" y="505"/>
                </a:moveTo>
                <a:cubicBezTo>
                  <a:pt x="398" y="596"/>
                  <a:pt x="398" y="596"/>
                  <a:pt x="398" y="596"/>
                </a:cubicBezTo>
                <a:cubicBezTo>
                  <a:pt x="404" y="577"/>
                  <a:pt x="412" y="557"/>
                  <a:pt x="421" y="538"/>
                </a:cubicBezTo>
                <a:cubicBezTo>
                  <a:pt x="457" y="464"/>
                  <a:pt x="513" y="406"/>
                  <a:pt x="580" y="368"/>
                </a:cubicBezTo>
                <a:cubicBezTo>
                  <a:pt x="403" y="0"/>
                  <a:pt x="403" y="0"/>
                  <a:pt x="403" y="0"/>
                </a:cubicBezTo>
                <a:cubicBezTo>
                  <a:pt x="196" y="108"/>
                  <a:pt x="55" y="295"/>
                  <a:pt x="0" y="50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reeform 184">
            <a:extLst>
              <a:ext uri="{FF2B5EF4-FFF2-40B4-BE49-F238E27FC236}">
                <a16:creationId xmlns:a16="http://schemas.microsoft.com/office/drawing/2014/main" id="{1B456EEB-BBBB-94E9-B5BF-5BC14CD45029}"/>
              </a:ext>
            </a:extLst>
          </p:cNvPr>
          <p:cNvSpPr>
            <a:spLocks/>
          </p:cNvSpPr>
          <p:nvPr/>
        </p:nvSpPr>
        <p:spPr bwMode="auto">
          <a:xfrm>
            <a:off x="5352350" y="3308216"/>
            <a:ext cx="729286" cy="677352"/>
          </a:xfrm>
          <a:custGeom>
            <a:avLst/>
            <a:gdLst>
              <a:gd name="T0" fmla="*/ 0 w 278"/>
              <a:gd name="T1" fmla="*/ 194 h 258"/>
              <a:gd name="T2" fmla="*/ 27 w 278"/>
              <a:gd name="T3" fmla="*/ 121 h 258"/>
              <a:gd name="T4" fmla="*/ 19 w 278"/>
              <a:gd name="T5" fmla="*/ 51 h 258"/>
              <a:gd name="T6" fmla="*/ 89 w 278"/>
              <a:gd name="T7" fmla="*/ 43 h 258"/>
              <a:gd name="T8" fmla="*/ 100 w 278"/>
              <a:gd name="T9" fmla="*/ 34 h 258"/>
              <a:gd name="T10" fmla="*/ 154 w 278"/>
              <a:gd name="T11" fmla="*/ 0 h 258"/>
              <a:gd name="T12" fmla="*/ 278 w 278"/>
              <a:gd name="T13" fmla="*/ 258 h 258"/>
              <a:gd name="T14" fmla="*/ 0 w 278"/>
              <a:gd name="T15" fmla="*/ 194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8" h="258">
                <a:moveTo>
                  <a:pt x="0" y="194"/>
                </a:moveTo>
                <a:cubicBezTo>
                  <a:pt x="5" y="169"/>
                  <a:pt x="15" y="144"/>
                  <a:pt x="27" y="121"/>
                </a:cubicBezTo>
                <a:cubicBezTo>
                  <a:pt x="19" y="51"/>
                  <a:pt x="19" y="51"/>
                  <a:pt x="19" y="51"/>
                </a:cubicBezTo>
                <a:cubicBezTo>
                  <a:pt x="89" y="43"/>
                  <a:pt x="89" y="43"/>
                  <a:pt x="89" y="43"/>
                </a:cubicBezTo>
                <a:cubicBezTo>
                  <a:pt x="93" y="40"/>
                  <a:pt x="96" y="37"/>
                  <a:pt x="100" y="34"/>
                </a:cubicBezTo>
                <a:cubicBezTo>
                  <a:pt x="117" y="20"/>
                  <a:pt x="135" y="9"/>
                  <a:pt x="154" y="0"/>
                </a:cubicBezTo>
                <a:cubicBezTo>
                  <a:pt x="278" y="258"/>
                  <a:pt x="278" y="258"/>
                  <a:pt x="278" y="258"/>
                </a:cubicBezTo>
                <a:lnTo>
                  <a:pt x="0" y="19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Freeform 185">
            <a:extLst>
              <a:ext uri="{FF2B5EF4-FFF2-40B4-BE49-F238E27FC236}">
                <a16:creationId xmlns:a16="http://schemas.microsoft.com/office/drawing/2014/main" id="{4C0FAB5C-2EEB-53F4-DB54-BB03A9FCBA25}"/>
              </a:ext>
            </a:extLst>
          </p:cNvPr>
          <p:cNvSpPr>
            <a:spLocks/>
          </p:cNvSpPr>
          <p:nvPr/>
        </p:nvSpPr>
        <p:spPr bwMode="auto">
          <a:xfrm>
            <a:off x="5234118" y="3817611"/>
            <a:ext cx="847518" cy="635362"/>
          </a:xfrm>
          <a:custGeom>
            <a:avLst/>
            <a:gdLst>
              <a:gd name="T0" fmla="*/ 100 w 323"/>
              <a:gd name="T1" fmla="*/ 242 h 242"/>
              <a:gd name="T2" fmla="*/ 60 w 323"/>
              <a:gd name="T3" fmla="*/ 175 h 242"/>
              <a:gd name="T4" fmla="*/ 0 w 323"/>
              <a:gd name="T5" fmla="*/ 137 h 242"/>
              <a:gd name="T6" fmla="*/ 38 w 323"/>
              <a:gd name="T7" fmla="*/ 77 h 242"/>
              <a:gd name="T8" fmla="*/ 37 w 323"/>
              <a:gd name="T9" fmla="*/ 63 h 242"/>
              <a:gd name="T10" fmla="*/ 44 w 323"/>
              <a:gd name="T11" fmla="*/ 0 h 242"/>
              <a:gd name="T12" fmla="*/ 323 w 323"/>
              <a:gd name="T13" fmla="*/ 64 h 242"/>
              <a:gd name="T14" fmla="*/ 100 w 323"/>
              <a:gd name="T15" fmla="*/ 242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3" h="242">
                <a:moveTo>
                  <a:pt x="100" y="242"/>
                </a:moveTo>
                <a:cubicBezTo>
                  <a:pt x="84" y="221"/>
                  <a:pt x="70" y="199"/>
                  <a:pt x="60" y="175"/>
                </a:cubicBezTo>
                <a:cubicBezTo>
                  <a:pt x="0" y="137"/>
                  <a:pt x="0" y="137"/>
                  <a:pt x="0" y="137"/>
                </a:cubicBezTo>
                <a:cubicBezTo>
                  <a:pt x="38" y="77"/>
                  <a:pt x="38" y="77"/>
                  <a:pt x="38" y="77"/>
                </a:cubicBezTo>
                <a:cubicBezTo>
                  <a:pt x="37" y="73"/>
                  <a:pt x="37" y="68"/>
                  <a:pt x="37" y="63"/>
                </a:cubicBezTo>
                <a:cubicBezTo>
                  <a:pt x="37" y="42"/>
                  <a:pt x="40" y="20"/>
                  <a:pt x="44" y="0"/>
                </a:cubicBezTo>
                <a:cubicBezTo>
                  <a:pt x="323" y="64"/>
                  <a:pt x="323" y="64"/>
                  <a:pt x="323" y="64"/>
                </a:cubicBezTo>
                <a:lnTo>
                  <a:pt x="100" y="24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Freeform 186">
            <a:extLst>
              <a:ext uri="{FF2B5EF4-FFF2-40B4-BE49-F238E27FC236}">
                <a16:creationId xmlns:a16="http://schemas.microsoft.com/office/drawing/2014/main" id="{9FD5E93E-16E6-DB91-273E-E2C61907D56F}"/>
              </a:ext>
            </a:extLst>
          </p:cNvPr>
          <p:cNvSpPr>
            <a:spLocks/>
          </p:cNvSpPr>
          <p:nvPr/>
        </p:nvSpPr>
        <p:spPr bwMode="auto">
          <a:xfrm>
            <a:off x="5493787" y="3985567"/>
            <a:ext cx="587848" cy="782325"/>
          </a:xfrm>
          <a:custGeom>
            <a:avLst/>
            <a:gdLst>
              <a:gd name="T0" fmla="*/ 224 w 224"/>
              <a:gd name="T1" fmla="*/ 285 h 298"/>
              <a:gd name="T2" fmla="*/ 147 w 224"/>
              <a:gd name="T3" fmla="*/ 275 h 298"/>
              <a:gd name="T4" fmla="*/ 80 w 224"/>
              <a:gd name="T5" fmla="*/ 298 h 298"/>
              <a:gd name="T6" fmla="*/ 57 w 224"/>
              <a:gd name="T7" fmla="*/ 231 h 298"/>
              <a:gd name="T8" fmla="*/ 46 w 224"/>
              <a:gd name="T9" fmla="*/ 223 h 298"/>
              <a:gd name="T10" fmla="*/ 0 w 224"/>
              <a:gd name="T11" fmla="*/ 178 h 298"/>
              <a:gd name="T12" fmla="*/ 224 w 224"/>
              <a:gd name="T13" fmla="*/ 0 h 298"/>
              <a:gd name="T14" fmla="*/ 224 w 224"/>
              <a:gd name="T15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4" h="298">
                <a:moveTo>
                  <a:pt x="224" y="285"/>
                </a:moveTo>
                <a:cubicBezTo>
                  <a:pt x="198" y="285"/>
                  <a:pt x="172" y="282"/>
                  <a:pt x="147" y="275"/>
                </a:cubicBezTo>
                <a:cubicBezTo>
                  <a:pt x="80" y="298"/>
                  <a:pt x="80" y="298"/>
                  <a:pt x="80" y="298"/>
                </a:cubicBezTo>
                <a:cubicBezTo>
                  <a:pt x="57" y="231"/>
                  <a:pt x="57" y="231"/>
                  <a:pt x="57" y="231"/>
                </a:cubicBezTo>
                <a:cubicBezTo>
                  <a:pt x="53" y="229"/>
                  <a:pt x="49" y="226"/>
                  <a:pt x="46" y="223"/>
                </a:cubicBezTo>
                <a:cubicBezTo>
                  <a:pt x="29" y="210"/>
                  <a:pt x="14" y="194"/>
                  <a:pt x="0" y="178"/>
                </a:cubicBezTo>
                <a:cubicBezTo>
                  <a:pt x="224" y="0"/>
                  <a:pt x="224" y="0"/>
                  <a:pt x="224" y="0"/>
                </a:cubicBezTo>
                <a:lnTo>
                  <a:pt x="224" y="28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Freeform 187">
            <a:extLst>
              <a:ext uri="{FF2B5EF4-FFF2-40B4-BE49-F238E27FC236}">
                <a16:creationId xmlns:a16="http://schemas.microsoft.com/office/drawing/2014/main" id="{724B14D4-DDB9-AA93-6119-8AD08973ED8C}"/>
              </a:ext>
            </a:extLst>
          </p:cNvPr>
          <p:cNvSpPr>
            <a:spLocks/>
          </p:cNvSpPr>
          <p:nvPr/>
        </p:nvSpPr>
        <p:spPr bwMode="auto">
          <a:xfrm>
            <a:off x="6081636" y="3985567"/>
            <a:ext cx="587848" cy="782325"/>
          </a:xfrm>
          <a:custGeom>
            <a:avLst/>
            <a:gdLst>
              <a:gd name="T0" fmla="*/ 224 w 224"/>
              <a:gd name="T1" fmla="*/ 178 h 298"/>
              <a:gd name="T2" fmla="*/ 167 w 224"/>
              <a:gd name="T3" fmla="*/ 232 h 298"/>
              <a:gd name="T4" fmla="*/ 144 w 224"/>
              <a:gd name="T5" fmla="*/ 298 h 298"/>
              <a:gd name="T6" fmla="*/ 77 w 224"/>
              <a:gd name="T7" fmla="*/ 275 h 298"/>
              <a:gd name="T8" fmla="*/ 64 w 224"/>
              <a:gd name="T9" fmla="*/ 279 h 298"/>
              <a:gd name="T10" fmla="*/ 0 w 224"/>
              <a:gd name="T11" fmla="*/ 286 h 298"/>
              <a:gd name="T12" fmla="*/ 0 w 224"/>
              <a:gd name="T13" fmla="*/ 0 h 298"/>
              <a:gd name="T14" fmla="*/ 224 w 224"/>
              <a:gd name="T15" fmla="*/ 178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4" h="298">
                <a:moveTo>
                  <a:pt x="224" y="178"/>
                </a:moveTo>
                <a:cubicBezTo>
                  <a:pt x="207" y="198"/>
                  <a:pt x="188" y="216"/>
                  <a:pt x="167" y="232"/>
                </a:cubicBezTo>
                <a:cubicBezTo>
                  <a:pt x="144" y="298"/>
                  <a:pt x="144" y="298"/>
                  <a:pt x="144" y="298"/>
                </a:cubicBezTo>
                <a:cubicBezTo>
                  <a:pt x="77" y="275"/>
                  <a:pt x="77" y="275"/>
                  <a:pt x="77" y="275"/>
                </a:cubicBezTo>
                <a:cubicBezTo>
                  <a:pt x="73" y="276"/>
                  <a:pt x="68" y="277"/>
                  <a:pt x="64" y="279"/>
                </a:cubicBezTo>
                <a:cubicBezTo>
                  <a:pt x="42" y="283"/>
                  <a:pt x="21" y="286"/>
                  <a:pt x="0" y="286"/>
                </a:cubicBezTo>
                <a:cubicBezTo>
                  <a:pt x="0" y="0"/>
                  <a:pt x="0" y="0"/>
                  <a:pt x="0" y="0"/>
                </a:cubicBezTo>
                <a:lnTo>
                  <a:pt x="224" y="17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Freeform 188">
            <a:extLst>
              <a:ext uri="{FF2B5EF4-FFF2-40B4-BE49-F238E27FC236}">
                <a16:creationId xmlns:a16="http://schemas.microsoft.com/office/drawing/2014/main" id="{EDE55104-5373-DC71-4839-BFC7F76E9326}"/>
              </a:ext>
            </a:extLst>
          </p:cNvPr>
          <p:cNvSpPr>
            <a:spLocks/>
          </p:cNvSpPr>
          <p:nvPr/>
        </p:nvSpPr>
        <p:spPr bwMode="auto">
          <a:xfrm>
            <a:off x="6081636" y="3817611"/>
            <a:ext cx="847518" cy="635362"/>
          </a:xfrm>
          <a:custGeom>
            <a:avLst/>
            <a:gdLst>
              <a:gd name="T0" fmla="*/ 279 w 323"/>
              <a:gd name="T1" fmla="*/ 0 h 242"/>
              <a:gd name="T2" fmla="*/ 286 w 323"/>
              <a:gd name="T3" fmla="*/ 78 h 242"/>
              <a:gd name="T4" fmla="*/ 323 w 323"/>
              <a:gd name="T5" fmla="*/ 138 h 242"/>
              <a:gd name="T6" fmla="*/ 264 w 323"/>
              <a:gd name="T7" fmla="*/ 175 h 242"/>
              <a:gd name="T8" fmla="*/ 258 w 323"/>
              <a:gd name="T9" fmla="*/ 188 h 242"/>
              <a:gd name="T10" fmla="*/ 224 w 323"/>
              <a:gd name="T11" fmla="*/ 242 h 242"/>
              <a:gd name="T12" fmla="*/ 0 w 323"/>
              <a:gd name="T13" fmla="*/ 64 h 242"/>
              <a:gd name="T14" fmla="*/ 279 w 323"/>
              <a:gd name="T15" fmla="*/ 0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23" h="242">
                <a:moveTo>
                  <a:pt x="279" y="0"/>
                </a:moveTo>
                <a:cubicBezTo>
                  <a:pt x="285" y="25"/>
                  <a:pt x="287" y="52"/>
                  <a:pt x="286" y="78"/>
                </a:cubicBezTo>
                <a:cubicBezTo>
                  <a:pt x="323" y="138"/>
                  <a:pt x="323" y="138"/>
                  <a:pt x="323" y="138"/>
                </a:cubicBezTo>
                <a:cubicBezTo>
                  <a:pt x="264" y="175"/>
                  <a:pt x="264" y="175"/>
                  <a:pt x="264" y="175"/>
                </a:cubicBezTo>
                <a:cubicBezTo>
                  <a:pt x="262" y="180"/>
                  <a:pt x="260" y="184"/>
                  <a:pt x="258" y="188"/>
                </a:cubicBezTo>
                <a:cubicBezTo>
                  <a:pt x="248" y="208"/>
                  <a:pt x="237" y="226"/>
                  <a:pt x="224" y="242"/>
                </a:cubicBezTo>
                <a:cubicBezTo>
                  <a:pt x="0" y="64"/>
                  <a:pt x="0" y="64"/>
                  <a:pt x="0" y="64"/>
                </a:cubicBezTo>
                <a:lnTo>
                  <a:pt x="279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Freeform 189">
            <a:extLst>
              <a:ext uri="{FF2B5EF4-FFF2-40B4-BE49-F238E27FC236}">
                <a16:creationId xmlns:a16="http://schemas.microsoft.com/office/drawing/2014/main" id="{5A640BA0-DC30-5DF6-EAA7-6E701FDDA371}"/>
              </a:ext>
            </a:extLst>
          </p:cNvPr>
          <p:cNvSpPr>
            <a:spLocks/>
          </p:cNvSpPr>
          <p:nvPr/>
        </p:nvSpPr>
        <p:spPr bwMode="auto">
          <a:xfrm>
            <a:off x="6081636" y="3308216"/>
            <a:ext cx="732601" cy="677352"/>
          </a:xfrm>
          <a:custGeom>
            <a:avLst/>
            <a:gdLst>
              <a:gd name="T0" fmla="*/ 124 w 279"/>
              <a:gd name="T1" fmla="*/ 0 h 258"/>
              <a:gd name="T2" fmla="*/ 190 w 279"/>
              <a:gd name="T3" fmla="*/ 43 h 258"/>
              <a:gd name="T4" fmla="*/ 260 w 279"/>
              <a:gd name="T5" fmla="*/ 51 h 258"/>
              <a:gd name="T6" fmla="*/ 252 w 279"/>
              <a:gd name="T7" fmla="*/ 121 h 258"/>
              <a:gd name="T8" fmla="*/ 258 w 279"/>
              <a:gd name="T9" fmla="*/ 134 h 258"/>
              <a:gd name="T10" fmla="*/ 279 w 279"/>
              <a:gd name="T11" fmla="*/ 194 h 258"/>
              <a:gd name="T12" fmla="*/ 0 w 279"/>
              <a:gd name="T13" fmla="*/ 258 h 258"/>
              <a:gd name="T14" fmla="*/ 124 w 279"/>
              <a:gd name="T15" fmla="*/ 0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9" h="258">
                <a:moveTo>
                  <a:pt x="124" y="0"/>
                </a:moveTo>
                <a:cubicBezTo>
                  <a:pt x="148" y="11"/>
                  <a:pt x="170" y="26"/>
                  <a:pt x="190" y="43"/>
                </a:cubicBezTo>
                <a:cubicBezTo>
                  <a:pt x="260" y="51"/>
                  <a:pt x="260" y="51"/>
                  <a:pt x="260" y="51"/>
                </a:cubicBezTo>
                <a:cubicBezTo>
                  <a:pt x="252" y="121"/>
                  <a:pt x="252" y="121"/>
                  <a:pt x="252" y="121"/>
                </a:cubicBezTo>
                <a:cubicBezTo>
                  <a:pt x="254" y="125"/>
                  <a:pt x="256" y="130"/>
                  <a:pt x="258" y="134"/>
                </a:cubicBezTo>
                <a:cubicBezTo>
                  <a:pt x="267" y="153"/>
                  <a:pt x="275" y="174"/>
                  <a:pt x="279" y="194"/>
                </a:cubicBezTo>
                <a:cubicBezTo>
                  <a:pt x="0" y="258"/>
                  <a:pt x="0" y="258"/>
                  <a:pt x="0" y="258"/>
                </a:cubicBezTo>
                <a:lnTo>
                  <a:pt x="12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Freeform 190">
            <a:extLst>
              <a:ext uri="{FF2B5EF4-FFF2-40B4-BE49-F238E27FC236}">
                <a16:creationId xmlns:a16="http://schemas.microsoft.com/office/drawing/2014/main" id="{3A899DEF-F518-10EA-8387-7A00E1039B52}"/>
              </a:ext>
            </a:extLst>
          </p:cNvPr>
          <p:cNvSpPr>
            <a:spLocks/>
          </p:cNvSpPr>
          <p:nvPr/>
        </p:nvSpPr>
        <p:spPr bwMode="auto">
          <a:xfrm>
            <a:off x="5755667" y="3114845"/>
            <a:ext cx="650832" cy="870723"/>
          </a:xfrm>
          <a:custGeom>
            <a:avLst/>
            <a:gdLst>
              <a:gd name="T0" fmla="*/ 0 w 248"/>
              <a:gd name="T1" fmla="*/ 74 h 332"/>
              <a:gd name="T2" fmla="*/ 75 w 248"/>
              <a:gd name="T3" fmla="*/ 50 h 332"/>
              <a:gd name="T4" fmla="*/ 125 w 248"/>
              <a:gd name="T5" fmla="*/ 0 h 332"/>
              <a:gd name="T6" fmla="*/ 175 w 248"/>
              <a:gd name="T7" fmla="*/ 50 h 332"/>
              <a:gd name="T8" fmla="*/ 188 w 248"/>
              <a:gd name="T9" fmla="*/ 53 h 332"/>
              <a:gd name="T10" fmla="*/ 248 w 248"/>
              <a:gd name="T11" fmla="*/ 74 h 332"/>
              <a:gd name="T12" fmla="*/ 124 w 248"/>
              <a:gd name="T13" fmla="*/ 332 h 332"/>
              <a:gd name="T14" fmla="*/ 0 w 248"/>
              <a:gd name="T15" fmla="*/ 74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8" h="332">
                <a:moveTo>
                  <a:pt x="0" y="74"/>
                </a:moveTo>
                <a:cubicBezTo>
                  <a:pt x="24" y="63"/>
                  <a:pt x="49" y="55"/>
                  <a:pt x="75" y="50"/>
                </a:cubicBezTo>
                <a:cubicBezTo>
                  <a:pt x="125" y="0"/>
                  <a:pt x="125" y="0"/>
                  <a:pt x="125" y="0"/>
                </a:cubicBezTo>
                <a:cubicBezTo>
                  <a:pt x="175" y="50"/>
                  <a:pt x="175" y="50"/>
                  <a:pt x="175" y="50"/>
                </a:cubicBezTo>
                <a:cubicBezTo>
                  <a:pt x="179" y="51"/>
                  <a:pt x="184" y="52"/>
                  <a:pt x="188" y="53"/>
                </a:cubicBezTo>
                <a:cubicBezTo>
                  <a:pt x="209" y="58"/>
                  <a:pt x="229" y="65"/>
                  <a:pt x="248" y="74"/>
                </a:cubicBezTo>
                <a:cubicBezTo>
                  <a:pt x="124" y="332"/>
                  <a:pt x="124" y="332"/>
                  <a:pt x="124" y="332"/>
                </a:cubicBezTo>
                <a:lnTo>
                  <a:pt x="0" y="7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" name="Oval 191">
            <a:extLst>
              <a:ext uri="{FF2B5EF4-FFF2-40B4-BE49-F238E27FC236}">
                <a16:creationId xmlns:a16="http://schemas.microsoft.com/office/drawing/2014/main" id="{55139397-98C4-9071-BE50-ABEAAE4D7D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0085" y="3261807"/>
            <a:ext cx="1445311" cy="144531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9769BEE-A5E1-9349-88B6-524E217F72EC}"/>
              </a:ext>
            </a:extLst>
          </p:cNvPr>
          <p:cNvGrpSpPr/>
          <p:nvPr/>
        </p:nvGrpSpPr>
        <p:grpSpPr>
          <a:xfrm>
            <a:off x="486339" y="1503862"/>
            <a:ext cx="3001914" cy="1053898"/>
            <a:chOff x="8732888" y="1503862"/>
            <a:chExt cx="3001914" cy="1053898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B25BB8B-6D1B-AE57-28C8-4C02154045A9}"/>
                </a:ext>
              </a:extLst>
            </p:cNvPr>
            <p:cNvSpPr txBox="1"/>
            <p:nvPr/>
          </p:nvSpPr>
          <p:spPr>
            <a:xfrm flipH="1">
              <a:off x="8732888" y="1503862"/>
              <a:ext cx="300191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accent5"/>
                  </a:solidFill>
                </a:rPr>
                <a:t>Advisory servic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EB6B413-F2C6-7E6C-D68C-820276F74782}"/>
                </a:ext>
              </a:extLst>
            </p:cNvPr>
            <p:cNvSpPr txBox="1"/>
            <p:nvPr/>
          </p:nvSpPr>
          <p:spPr>
            <a:xfrm flipH="1">
              <a:off x="8732888" y="1777171"/>
              <a:ext cx="3001914" cy="780589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Strategy development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Finance structuring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Market analysis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05594DA-1ADC-0E77-5E61-1EC59EFF9F7B}"/>
              </a:ext>
            </a:extLst>
          </p:cNvPr>
          <p:cNvGrpSpPr/>
          <p:nvPr/>
        </p:nvGrpSpPr>
        <p:grpSpPr>
          <a:xfrm>
            <a:off x="486339" y="2888591"/>
            <a:ext cx="3001914" cy="985465"/>
            <a:chOff x="8732888" y="2721998"/>
            <a:chExt cx="3001914" cy="985465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DF436E2-A408-EEB2-316C-0000B198F445}"/>
                </a:ext>
              </a:extLst>
            </p:cNvPr>
            <p:cNvSpPr txBox="1"/>
            <p:nvPr/>
          </p:nvSpPr>
          <p:spPr>
            <a:xfrm flipH="1">
              <a:off x="8732888" y="2721998"/>
              <a:ext cx="300191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Test work and commercial </a:t>
              </a:r>
              <a:br>
                <a:rPr lang="en-US" sz="1400" b="1" dirty="0">
                  <a:solidFill>
                    <a:schemeClr val="accent1"/>
                  </a:solidFill>
                </a:rPr>
              </a:br>
              <a:r>
                <a:rPr lang="en-US" sz="1400" b="1" dirty="0">
                  <a:solidFill>
                    <a:schemeClr val="accent1"/>
                  </a:solidFill>
                </a:rPr>
                <a:t>capacity scale-up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3940CA6-45D3-19E6-74F1-A9394B3CFEEA}"/>
                </a:ext>
              </a:extLst>
            </p:cNvPr>
            <p:cNvSpPr txBox="1"/>
            <p:nvPr/>
          </p:nvSpPr>
          <p:spPr>
            <a:xfrm flipH="1">
              <a:off x="8732888" y="3188484"/>
              <a:ext cx="3001914" cy="518979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Performing and overseeing test-works.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Library of scale-up factors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4084422-998F-42EB-3142-EBC629B30FDC}"/>
              </a:ext>
            </a:extLst>
          </p:cNvPr>
          <p:cNvGrpSpPr/>
          <p:nvPr/>
        </p:nvGrpSpPr>
        <p:grpSpPr>
          <a:xfrm>
            <a:off x="486339" y="4204887"/>
            <a:ext cx="3001914" cy="970468"/>
            <a:chOff x="8732888" y="4194434"/>
            <a:chExt cx="3001914" cy="970468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8B52A6D-6E2D-B4B4-5AE4-54E5D2FC1FA4}"/>
                </a:ext>
              </a:extLst>
            </p:cNvPr>
            <p:cNvSpPr txBox="1"/>
            <p:nvPr/>
          </p:nvSpPr>
          <p:spPr>
            <a:xfrm flipH="1">
              <a:off x="8732888" y="4194434"/>
              <a:ext cx="300191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accent2"/>
                  </a:solidFill>
                </a:rPr>
                <a:t>Process development and optimizat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1B5547C-9EA9-A5F9-68D2-C597927FC223}"/>
                </a:ext>
              </a:extLst>
            </p:cNvPr>
            <p:cNvSpPr txBox="1"/>
            <p:nvPr/>
          </p:nvSpPr>
          <p:spPr>
            <a:xfrm flipH="1">
              <a:off x="8732888" y="4645923"/>
              <a:ext cx="3001914" cy="518979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New technology development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Scaling up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5B01CB7-A2BD-0D7C-68AA-7D9B14B8488D}"/>
              </a:ext>
            </a:extLst>
          </p:cNvPr>
          <p:cNvGrpSpPr/>
          <p:nvPr/>
        </p:nvGrpSpPr>
        <p:grpSpPr>
          <a:xfrm>
            <a:off x="486339" y="5506187"/>
            <a:ext cx="3001914" cy="794291"/>
            <a:chOff x="8732888" y="5506187"/>
            <a:chExt cx="3001914" cy="79429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09700DA-0A0D-EC6F-5779-FDFDA311EC27}"/>
                </a:ext>
              </a:extLst>
            </p:cNvPr>
            <p:cNvSpPr txBox="1"/>
            <p:nvPr/>
          </p:nvSpPr>
          <p:spPr>
            <a:xfrm flipH="1">
              <a:off x="8732888" y="5506187"/>
              <a:ext cx="300191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Detail design and project execution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C91F4DF-A6E6-7513-38D9-BB04DEBE6F08}"/>
                </a:ext>
              </a:extLst>
            </p:cNvPr>
            <p:cNvSpPr txBox="1"/>
            <p:nvPr/>
          </p:nvSpPr>
          <p:spPr>
            <a:xfrm flipH="1">
              <a:off x="8732888" y="5781499"/>
              <a:ext cx="3001914" cy="518979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End-to-end design and execution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Designing for sustainability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401398B-3766-1F70-0E9B-A54FA4AFA16F}"/>
              </a:ext>
            </a:extLst>
          </p:cNvPr>
          <p:cNvGrpSpPr/>
          <p:nvPr/>
        </p:nvGrpSpPr>
        <p:grpSpPr>
          <a:xfrm>
            <a:off x="8569635" y="1503862"/>
            <a:ext cx="3001914" cy="1161620"/>
            <a:chOff x="8732888" y="1503862"/>
            <a:chExt cx="3001914" cy="1161620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43BE5B0-910E-684C-D313-37AE4A0B5022}"/>
                </a:ext>
              </a:extLst>
            </p:cNvPr>
            <p:cNvSpPr txBox="1"/>
            <p:nvPr/>
          </p:nvSpPr>
          <p:spPr>
            <a:xfrm flipH="1">
              <a:off x="8732888" y="1503862"/>
              <a:ext cx="300191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accent1"/>
                  </a:solidFill>
                </a:rPr>
                <a:t>Environmental service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DEF5F9F-6187-835F-870F-E0E10B33ADB4}"/>
                </a:ext>
              </a:extLst>
            </p:cNvPr>
            <p:cNvSpPr txBox="1"/>
            <p:nvPr/>
          </p:nvSpPr>
          <p:spPr>
            <a:xfrm flipH="1">
              <a:off x="8732888" y="1777171"/>
              <a:ext cx="3001914" cy="888311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Integrated approach including environmental, community, and social matters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ESG assessment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CE63F69-B941-4AB1-F74E-8474A39C63D0}"/>
              </a:ext>
            </a:extLst>
          </p:cNvPr>
          <p:cNvGrpSpPr/>
          <p:nvPr/>
        </p:nvGrpSpPr>
        <p:grpSpPr>
          <a:xfrm>
            <a:off x="8569635" y="2888591"/>
            <a:ext cx="3001914" cy="985465"/>
            <a:chOff x="8732888" y="2721998"/>
            <a:chExt cx="3001914" cy="985465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4324D6D-67F9-C1EC-ED55-78D5749AD422}"/>
                </a:ext>
              </a:extLst>
            </p:cNvPr>
            <p:cNvSpPr txBox="1"/>
            <p:nvPr/>
          </p:nvSpPr>
          <p:spPr>
            <a:xfrm flipH="1">
              <a:off x="8732888" y="2721998"/>
              <a:ext cx="300191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accent2"/>
                  </a:solidFill>
                </a:rPr>
                <a:t>Digital transformation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DFA70F9-725D-FB50-8723-49CE414F37C3}"/>
                </a:ext>
              </a:extLst>
            </p:cNvPr>
            <p:cNvSpPr txBox="1"/>
            <p:nvPr/>
          </p:nvSpPr>
          <p:spPr>
            <a:xfrm flipH="1">
              <a:off x="8732888" y="3003818"/>
              <a:ext cx="3001914" cy="703645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Building digital capability in existing operations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Digital twins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DEF2F17-6FF8-2D5B-E19C-7AA55EAD20BB}"/>
              </a:ext>
            </a:extLst>
          </p:cNvPr>
          <p:cNvGrpSpPr/>
          <p:nvPr/>
        </p:nvGrpSpPr>
        <p:grpSpPr>
          <a:xfrm>
            <a:off x="8569635" y="4204887"/>
            <a:ext cx="3001914" cy="761720"/>
            <a:chOff x="8732888" y="4194434"/>
            <a:chExt cx="3001914" cy="761720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5413E84-0243-BDF9-EE4D-EE683C156588}"/>
                </a:ext>
              </a:extLst>
            </p:cNvPr>
            <p:cNvSpPr txBox="1"/>
            <p:nvPr/>
          </p:nvSpPr>
          <p:spPr>
            <a:xfrm flipH="1">
              <a:off x="8732888" y="4194434"/>
              <a:ext cx="300191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accent5"/>
                  </a:solidFill>
                </a:rPr>
                <a:t>Technology development 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B4CBE65-1770-06CC-0C0F-5D27002367F0}"/>
                </a:ext>
              </a:extLst>
            </p:cNvPr>
            <p:cNvSpPr txBox="1"/>
            <p:nvPr/>
          </p:nvSpPr>
          <p:spPr>
            <a:xfrm flipH="1">
              <a:off x="8732888" y="4437175"/>
              <a:ext cx="3001914" cy="518979"/>
            </a:xfrm>
            <a:prstGeom prst="rect">
              <a:avLst/>
            </a:prstGeom>
            <a:noFill/>
          </p:spPr>
          <p:txBody>
            <a:bodyPr wrap="square" lIns="0" tIns="36000" rIns="0" bIns="36000" rtlCol="0">
              <a:sp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Full-scale feasibility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accent2"/>
                  </a:solidFill>
                </a:rPr>
                <a:t>Technology deployment</a:t>
              </a:r>
            </a:p>
          </p:txBody>
        </p:sp>
      </p:grp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1360AC8-5507-FAC5-E264-A65BDA03935A}"/>
              </a:ext>
            </a:extLst>
          </p:cNvPr>
          <p:cNvCxnSpPr/>
          <p:nvPr/>
        </p:nvCxnSpPr>
        <p:spPr>
          <a:xfrm>
            <a:off x="479424" y="2743200"/>
            <a:ext cx="318732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8994C7D-E721-0D56-FE08-FFA0F9BD3F38}"/>
              </a:ext>
            </a:extLst>
          </p:cNvPr>
          <p:cNvCxnSpPr/>
          <p:nvPr/>
        </p:nvCxnSpPr>
        <p:spPr>
          <a:xfrm>
            <a:off x="479424" y="4059936"/>
            <a:ext cx="318732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3C878AF-9B8C-A0D3-36C2-D5787794A1B8}"/>
              </a:ext>
            </a:extLst>
          </p:cNvPr>
          <p:cNvCxnSpPr/>
          <p:nvPr/>
        </p:nvCxnSpPr>
        <p:spPr>
          <a:xfrm>
            <a:off x="479424" y="5370105"/>
            <a:ext cx="318732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62B1D57-CB8E-3BFF-6A2A-BED4CDCD81E4}"/>
              </a:ext>
            </a:extLst>
          </p:cNvPr>
          <p:cNvCxnSpPr>
            <a:cxnSpLocks/>
          </p:cNvCxnSpPr>
          <p:nvPr/>
        </p:nvCxnSpPr>
        <p:spPr>
          <a:xfrm>
            <a:off x="8569635" y="2743200"/>
            <a:ext cx="318732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A620AD7-1D1A-E76E-65F4-0305E566C78B}"/>
              </a:ext>
            </a:extLst>
          </p:cNvPr>
          <p:cNvCxnSpPr>
            <a:cxnSpLocks/>
          </p:cNvCxnSpPr>
          <p:nvPr/>
        </p:nvCxnSpPr>
        <p:spPr>
          <a:xfrm>
            <a:off x="8569635" y="4059936"/>
            <a:ext cx="318732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831D90C-B379-AAB9-351B-AD1A66B3E41C}"/>
              </a:ext>
            </a:extLst>
          </p:cNvPr>
          <p:cNvGrpSpPr/>
          <p:nvPr/>
        </p:nvGrpSpPr>
        <p:grpSpPr>
          <a:xfrm>
            <a:off x="5815237" y="2189189"/>
            <a:ext cx="402409" cy="368571"/>
            <a:chOff x="2496674" y="4136018"/>
            <a:chExt cx="402409" cy="368571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D8D9AA94-3377-D12A-DD42-EC6E7D3B720B}"/>
                </a:ext>
              </a:extLst>
            </p:cNvPr>
            <p:cNvGrpSpPr/>
            <p:nvPr/>
          </p:nvGrpSpPr>
          <p:grpSpPr>
            <a:xfrm>
              <a:off x="2496674" y="4231204"/>
              <a:ext cx="402409" cy="273385"/>
              <a:chOff x="1334885" y="4339943"/>
              <a:chExt cx="402409" cy="273385"/>
            </a:xfrm>
          </p:grpSpPr>
          <p:sp>
            <p:nvSpPr>
              <p:cNvPr id="62" name="Freeform 6">
                <a:extLst>
                  <a:ext uri="{FF2B5EF4-FFF2-40B4-BE49-F238E27FC236}">
                    <a16:creationId xmlns:a16="http://schemas.microsoft.com/office/drawing/2014/main" id="{D49794D1-FD60-A66D-70BC-6BA791C03A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1926" y="4339943"/>
                <a:ext cx="185368" cy="273385"/>
              </a:xfrm>
              <a:custGeom>
                <a:avLst/>
                <a:gdLst>
                  <a:gd name="T0" fmla="*/ 0 w 234"/>
                  <a:gd name="T1" fmla="*/ 345 h 345"/>
                  <a:gd name="T2" fmla="*/ 8 w 234"/>
                  <a:gd name="T3" fmla="*/ 223 h 345"/>
                  <a:gd name="T4" fmla="*/ 19 w 234"/>
                  <a:gd name="T5" fmla="*/ 197 h 345"/>
                  <a:gd name="T6" fmla="*/ 110 w 234"/>
                  <a:gd name="T7" fmla="*/ 112 h 345"/>
                  <a:gd name="T8" fmla="*/ 146 w 234"/>
                  <a:gd name="T9" fmla="*/ 110 h 345"/>
                  <a:gd name="T10" fmla="*/ 142 w 234"/>
                  <a:gd name="T11" fmla="*/ 146 h 345"/>
                  <a:gd name="T12" fmla="*/ 100 w 234"/>
                  <a:gd name="T13" fmla="*/ 185 h 345"/>
                  <a:gd name="T14" fmla="*/ 96 w 234"/>
                  <a:gd name="T15" fmla="*/ 204 h 345"/>
                  <a:gd name="T16" fmla="*/ 115 w 234"/>
                  <a:gd name="T17" fmla="*/ 200 h 345"/>
                  <a:gd name="T18" fmla="*/ 161 w 234"/>
                  <a:gd name="T19" fmla="*/ 157 h 345"/>
                  <a:gd name="T20" fmla="*/ 180 w 234"/>
                  <a:gd name="T21" fmla="*/ 114 h 345"/>
                  <a:gd name="T22" fmla="*/ 184 w 234"/>
                  <a:gd name="T23" fmla="*/ 44 h 345"/>
                  <a:gd name="T24" fmla="*/ 186 w 234"/>
                  <a:gd name="T25" fmla="*/ 23 h 345"/>
                  <a:gd name="T26" fmla="*/ 213 w 234"/>
                  <a:gd name="T27" fmla="*/ 1 h 345"/>
                  <a:gd name="T28" fmla="*/ 233 w 234"/>
                  <a:gd name="T29" fmla="*/ 27 h 345"/>
                  <a:gd name="T30" fmla="*/ 227 w 234"/>
                  <a:gd name="T31" fmla="*/ 134 h 345"/>
                  <a:gd name="T32" fmla="*/ 223 w 234"/>
                  <a:gd name="T33" fmla="*/ 195 h 345"/>
                  <a:gd name="T34" fmla="*/ 211 w 234"/>
                  <a:gd name="T35" fmla="*/ 220 h 345"/>
                  <a:gd name="T36" fmla="*/ 146 w 234"/>
                  <a:gd name="T37" fmla="*/ 281 h 345"/>
                  <a:gd name="T38" fmla="*/ 117 w 234"/>
                  <a:gd name="T39" fmla="*/ 345 h 345"/>
                  <a:gd name="T40" fmla="*/ 117 w 234"/>
                  <a:gd name="T41" fmla="*/ 345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34" h="345">
                    <a:moveTo>
                      <a:pt x="0" y="345"/>
                    </a:moveTo>
                    <a:cubicBezTo>
                      <a:pt x="3" y="305"/>
                      <a:pt x="5" y="264"/>
                      <a:pt x="8" y="223"/>
                    </a:cubicBezTo>
                    <a:cubicBezTo>
                      <a:pt x="8" y="213"/>
                      <a:pt x="12" y="204"/>
                      <a:pt x="19" y="197"/>
                    </a:cubicBezTo>
                    <a:cubicBezTo>
                      <a:pt x="50" y="169"/>
                      <a:pt x="79" y="140"/>
                      <a:pt x="110" y="112"/>
                    </a:cubicBezTo>
                    <a:cubicBezTo>
                      <a:pt x="123" y="100"/>
                      <a:pt x="137" y="99"/>
                      <a:pt x="146" y="110"/>
                    </a:cubicBezTo>
                    <a:cubicBezTo>
                      <a:pt x="155" y="120"/>
                      <a:pt x="154" y="134"/>
                      <a:pt x="142" y="146"/>
                    </a:cubicBezTo>
                    <a:cubicBezTo>
                      <a:pt x="128" y="159"/>
                      <a:pt x="114" y="172"/>
                      <a:pt x="100" y="185"/>
                    </a:cubicBezTo>
                    <a:cubicBezTo>
                      <a:pt x="94" y="190"/>
                      <a:pt x="89" y="197"/>
                      <a:pt x="96" y="204"/>
                    </a:cubicBezTo>
                    <a:cubicBezTo>
                      <a:pt x="103" y="211"/>
                      <a:pt x="109" y="205"/>
                      <a:pt x="115" y="200"/>
                    </a:cubicBezTo>
                    <a:cubicBezTo>
                      <a:pt x="130" y="185"/>
                      <a:pt x="145" y="170"/>
                      <a:pt x="161" y="157"/>
                    </a:cubicBezTo>
                    <a:cubicBezTo>
                      <a:pt x="174" y="145"/>
                      <a:pt x="180" y="131"/>
                      <a:pt x="180" y="114"/>
                    </a:cubicBezTo>
                    <a:cubicBezTo>
                      <a:pt x="181" y="90"/>
                      <a:pt x="183" y="67"/>
                      <a:pt x="184" y="44"/>
                    </a:cubicBezTo>
                    <a:cubicBezTo>
                      <a:pt x="184" y="37"/>
                      <a:pt x="185" y="30"/>
                      <a:pt x="186" y="23"/>
                    </a:cubicBezTo>
                    <a:cubicBezTo>
                      <a:pt x="189" y="9"/>
                      <a:pt x="200" y="0"/>
                      <a:pt x="213" y="1"/>
                    </a:cubicBezTo>
                    <a:cubicBezTo>
                      <a:pt x="226" y="2"/>
                      <a:pt x="234" y="13"/>
                      <a:pt x="233" y="27"/>
                    </a:cubicBezTo>
                    <a:cubicBezTo>
                      <a:pt x="232" y="63"/>
                      <a:pt x="229" y="99"/>
                      <a:pt x="227" y="134"/>
                    </a:cubicBezTo>
                    <a:cubicBezTo>
                      <a:pt x="226" y="155"/>
                      <a:pt x="224" y="175"/>
                      <a:pt x="223" y="195"/>
                    </a:cubicBezTo>
                    <a:cubicBezTo>
                      <a:pt x="222" y="206"/>
                      <a:pt x="218" y="213"/>
                      <a:pt x="211" y="220"/>
                    </a:cubicBezTo>
                    <a:cubicBezTo>
                      <a:pt x="189" y="240"/>
                      <a:pt x="168" y="262"/>
                      <a:pt x="146" y="281"/>
                    </a:cubicBezTo>
                    <a:cubicBezTo>
                      <a:pt x="126" y="298"/>
                      <a:pt x="117" y="319"/>
                      <a:pt x="117" y="345"/>
                    </a:cubicBezTo>
                    <a:cubicBezTo>
                      <a:pt x="117" y="345"/>
                      <a:pt x="117" y="345"/>
                      <a:pt x="117" y="345"/>
                    </a:cubicBezTo>
                  </a:path>
                </a:pathLst>
              </a:custGeom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solidFill>
                    <a:srgbClr val="768692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63" name="Freeform 7">
                <a:extLst>
                  <a:ext uri="{FF2B5EF4-FFF2-40B4-BE49-F238E27FC236}">
                    <a16:creationId xmlns:a16="http://schemas.microsoft.com/office/drawing/2014/main" id="{3F04C916-ACB7-4EE7-A76D-831179D71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885" y="4339943"/>
                <a:ext cx="186035" cy="273385"/>
              </a:xfrm>
              <a:custGeom>
                <a:avLst/>
                <a:gdLst>
                  <a:gd name="T0" fmla="*/ 118 w 235"/>
                  <a:gd name="T1" fmla="*/ 345 h 345"/>
                  <a:gd name="T2" fmla="*/ 117 w 235"/>
                  <a:gd name="T3" fmla="*/ 339 h 345"/>
                  <a:gd name="T4" fmla="*/ 95 w 235"/>
                  <a:gd name="T5" fmla="*/ 287 h 345"/>
                  <a:gd name="T6" fmla="*/ 25 w 235"/>
                  <a:gd name="T7" fmla="*/ 222 h 345"/>
                  <a:gd name="T8" fmla="*/ 12 w 235"/>
                  <a:gd name="T9" fmla="*/ 195 h 345"/>
                  <a:gd name="T10" fmla="*/ 1 w 235"/>
                  <a:gd name="T11" fmla="*/ 30 h 345"/>
                  <a:gd name="T12" fmla="*/ 23 w 235"/>
                  <a:gd name="T13" fmla="*/ 1 h 345"/>
                  <a:gd name="T14" fmla="*/ 49 w 235"/>
                  <a:gd name="T15" fmla="*/ 25 h 345"/>
                  <a:gd name="T16" fmla="*/ 54 w 235"/>
                  <a:gd name="T17" fmla="*/ 109 h 345"/>
                  <a:gd name="T18" fmla="*/ 77 w 235"/>
                  <a:gd name="T19" fmla="*/ 159 h 345"/>
                  <a:gd name="T20" fmla="*/ 122 w 235"/>
                  <a:gd name="T21" fmla="*/ 201 h 345"/>
                  <a:gd name="T22" fmla="*/ 139 w 235"/>
                  <a:gd name="T23" fmla="*/ 204 h 345"/>
                  <a:gd name="T24" fmla="*/ 136 w 235"/>
                  <a:gd name="T25" fmla="*/ 186 h 345"/>
                  <a:gd name="T26" fmla="*/ 93 w 235"/>
                  <a:gd name="T27" fmla="*/ 145 h 345"/>
                  <a:gd name="T28" fmla="*/ 83 w 235"/>
                  <a:gd name="T29" fmla="*/ 123 h 345"/>
                  <a:gd name="T30" fmla="*/ 96 w 235"/>
                  <a:gd name="T31" fmla="*/ 105 h 345"/>
                  <a:gd name="T32" fmla="*/ 123 w 235"/>
                  <a:gd name="T33" fmla="*/ 110 h 345"/>
                  <a:gd name="T34" fmla="*/ 218 w 235"/>
                  <a:gd name="T35" fmla="*/ 199 h 345"/>
                  <a:gd name="T36" fmla="*/ 227 w 235"/>
                  <a:gd name="T37" fmla="*/ 221 h 345"/>
                  <a:gd name="T38" fmla="*/ 235 w 235"/>
                  <a:gd name="T39" fmla="*/ 345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5" h="345">
                    <a:moveTo>
                      <a:pt x="118" y="345"/>
                    </a:moveTo>
                    <a:cubicBezTo>
                      <a:pt x="118" y="343"/>
                      <a:pt x="117" y="341"/>
                      <a:pt x="117" y="339"/>
                    </a:cubicBezTo>
                    <a:cubicBezTo>
                      <a:pt x="117" y="318"/>
                      <a:pt x="110" y="301"/>
                      <a:pt x="95" y="287"/>
                    </a:cubicBezTo>
                    <a:cubicBezTo>
                      <a:pt x="72" y="265"/>
                      <a:pt x="49" y="243"/>
                      <a:pt x="25" y="222"/>
                    </a:cubicBezTo>
                    <a:cubicBezTo>
                      <a:pt x="17" y="214"/>
                      <a:pt x="13" y="206"/>
                      <a:pt x="12" y="195"/>
                    </a:cubicBezTo>
                    <a:cubicBezTo>
                      <a:pt x="9" y="140"/>
                      <a:pt x="5" y="85"/>
                      <a:pt x="1" y="30"/>
                    </a:cubicBezTo>
                    <a:cubicBezTo>
                      <a:pt x="0" y="13"/>
                      <a:pt x="9" y="2"/>
                      <a:pt x="23" y="1"/>
                    </a:cubicBezTo>
                    <a:cubicBezTo>
                      <a:pt x="37" y="0"/>
                      <a:pt x="48" y="9"/>
                      <a:pt x="49" y="25"/>
                    </a:cubicBezTo>
                    <a:cubicBezTo>
                      <a:pt x="52" y="53"/>
                      <a:pt x="53" y="81"/>
                      <a:pt x="54" y="109"/>
                    </a:cubicBezTo>
                    <a:cubicBezTo>
                      <a:pt x="55" y="129"/>
                      <a:pt x="60" y="146"/>
                      <a:pt x="77" y="159"/>
                    </a:cubicBezTo>
                    <a:cubicBezTo>
                      <a:pt x="93" y="172"/>
                      <a:pt x="107" y="187"/>
                      <a:pt x="122" y="201"/>
                    </a:cubicBezTo>
                    <a:cubicBezTo>
                      <a:pt x="127" y="206"/>
                      <a:pt x="133" y="210"/>
                      <a:pt x="139" y="204"/>
                    </a:cubicBezTo>
                    <a:cubicBezTo>
                      <a:pt x="145" y="198"/>
                      <a:pt x="142" y="191"/>
                      <a:pt x="136" y="186"/>
                    </a:cubicBezTo>
                    <a:cubicBezTo>
                      <a:pt x="122" y="172"/>
                      <a:pt x="107" y="159"/>
                      <a:pt x="93" y="145"/>
                    </a:cubicBezTo>
                    <a:cubicBezTo>
                      <a:pt x="86" y="139"/>
                      <a:pt x="82" y="132"/>
                      <a:pt x="83" y="123"/>
                    </a:cubicBezTo>
                    <a:cubicBezTo>
                      <a:pt x="84" y="114"/>
                      <a:pt x="88" y="108"/>
                      <a:pt x="96" y="105"/>
                    </a:cubicBezTo>
                    <a:cubicBezTo>
                      <a:pt x="106" y="100"/>
                      <a:pt x="115" y="103"/>
                      <a:pt x="123" y="110"/>
                    </a:cubicBezTo>
                    <a:cubicBezTo>
                      <a:pt x="155" y="139"/>
                      <a:pt x="186" y="169"/>
                      <a:pt x="218" y="199"/>
                    </a:cubicBezTo>
                    <a:cubicBezTo>
                      <a:pt x="224" y="205"/>
                      <a:pt x="227" y="213"/>
                      <a:pt x="227" y="221"/>
                    </a:cubicBezTo>
                    <a:cubicBezTo>
                      <a:pt x="230" y="262"/>
                      <a:pt x="232" y="304"/>
                      <a:pt x="235" y="345"/>
                    </a:cubicBezTo>
                  </a:path>
                </a:pathLst>
              </a:custGeom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solidFill>
                    <a:srgbClr val="768692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61" name="Freeform 879">
              <a:extLst>
                <a:ext uri="{FF2B5EF4-FFF2-40B4-BE49-F238E27FC236}">
                  <a16:creationId xmlns:a16="http://schemas.microsoft.com/office/drawing/2014/main" id="{9F114824-40C4-B0AC-0BF4-BD9EB339CB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8902" y="4136018"/>
              <a:ext cx="177952" cy="179070"/>
            </a:xfrm>
            <a:custGeom>
              <a:avLst/>
              <a:gdLst>
                <a:gd name="T0" fmla="*/ 50 w 248"/>
                <a:gd name="T1" fmla="*/ 172 h 248"/>
                <a:gd name="T2" fmla="*/ 24 w 248"/>
                <a:gd name="T3" fmla="*/ 199 h 248"/>
                <a:gd name="T4" fmla="*/ 49 w 248"/>
                <a:gd name="T5" fmla="*/ 224 h 248"/>
                <a:gd name="T6" fmla="*/ 75 w 248"/>
                <a:gd name="T7" fmla="*/ 197 h 248"/>
                <a:gd name="T8" fmla="*/ 106 w 248"/>
                <a:gd name="T9" fmla="*/ 210 h 248"/>
                <a:gd name="T10" fmla="*/ 106 w 248"/>
                <a:gd name="T11" fmla="*/ 248 h 248"/>
                <a:gd name="T12" fmla="*/ 142 w 248"/>
                <a:gd name="T13" fmla="*/ 248 h 248"/>
                <a:gd name="T14" fmla="*/ 142 w 248"/>
                <a:gd name="T15" fmla="*/ 210 h 248"/>
                <a:gd name="T16" fmla="*/ 173 w 248"/>
                <a:gd name="T17" fmla="*/ 197 h 248"/>
                <a:gd name="T18" fmla="*/ 199 w 248"/>
                <a:gd name="T19" fmla="*/ 224 h 248"/>
                <a:gd name="T20" fmla="*/ 224 w 248"/>
                <a:gd name="T21" fmla="*/ 199 h 248"/>
                <a:gd name="T22" fmla="*/ 198 w 248"/>
                <a:gd name="T23" fmla="*/ 172 h 248"/>
                <a:gd name="T24" fmla="*/ 211 w 248"/>
                <a:gd name="T25" fmla="*/ 141 h 248"/>
                <a:gd name="T26" fmla="*/ 248 w 248"/>
                <a:gd name="T27" fmla="*/ 141 h 248"/>
                <a:gd name="T28" fmla="*/ 248 w 248"/>
                <a:gd name="T29" fmla="*/ 106 h 248"/>
                <a:gd name="T30" fmla="*/ 211 w 248"/>
                <a:gd name="T31" fmla="*/ 106 h 248"/>
                <a:gd name="T32" fmla="*/ 198 w 248"/>
                <a:gd name="T33" fmla="*/ 75 h 248"/>
                <a:gd name="T34" fmla="*/ 224 w 248"/>
                <a:gd name="T35" fmla="*/ 49 h 248"/>
                <a:gd name="T36" fmla="*/ 199 w 248"/>
                <a:gd name="T37" fmla="*/ 23 h 248"/>
                <a:gd name="T38" fmla="*/ 173 w 248"/>
                <a:gd name="T39" fmla="*/ 50 h 248"/>
                <a:gd name="T40" fmla="*/ 142 w 248"/>
                <a:gd name="T41" fmla="*/ 37 h 248"/>
                <a:gd name="T42" fmla="*/ 142 w 248"/>
                <a:gd name="T43" fmla="*/ 0 h 248"/>
                <a:gd name="T44" fmla="*/ 106 w 248"/>
                <a:gd name="T45" fmla="*/ 0 h 248"/>
                <a:gd name="T46" fmla="*/ 106 w 248"/>
                <a:gd name="T47" fmla="*/ 37 h 248"/>
                <a:gd name="T48" fmla="*/ 75 w 248"/>
                <a:gd name="T49" fmla="*/ 50 h 248"/>
                <a:gd name="T50" fmla="*/ 49 w 248"/>
                <a:gd name="T51" fmla="*/ 23 h 248"/>
                <a:gd name="T52" fmla="*/ 24 w 248"/>
                <a:gd name="T53" fmla="*/ 49 h 248"/>
                <a:gd name="T54" fmla="*/ 50 w 248"/>
                <a:gd name="T55" fmla="*/ 75 h 248"/>
                <a:gd name="T56" fmla="*/ 37 w 248"/>
                <a:gd name="T57" fmla="*/ 106 h 248"/>
                <a:gd name="T58" fmla="*/ 0 w 248"/>
                <a:gd name="T59" fmla="*/ 106 h 248"/>
                <a:gd name="T60" fmla="*/ 0 w 248"/>
                <a:gd name="T61" fmla="*/ 141 h 248"/>
                <a:gd name="T62" fmla="*/ 37 w 248"/>
                <a:gd name="T63" fmla="*/ 141 h 248"/>
                <a:gd name="T64" fmla="*/ 50 w 248"/>
                <a:gd name="T65" fmla="*/ 172 h 248"/>
                <a:gd name="T66" fmla="*/ 124 w 248"/>
                <a:gd name="T67" fmla="*/ 71 h 248"/>
                <a:gd name="T68" fmla="*/ 177 w 248"/>
                <a:gd name="T69" fmla="*/ 124 h 248"/>
                <a:gd name="T70" fmla="*/ 124 w 248"/>
                <a:gd name="T71" fmla="*/ 177 h 248"/>
                <a:gd name="T72" fmla="*/ 71 w 248"/>
                <a:gd name="T73" fmla="*/ 124 h 248"/>
                <a:gd name="T74" fmla="*/ 124 w 248"/>
                <a:gd name="T75" fmla="*/ 7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8" h="248">
                  <a:moveTo>
                    <a:pt x="50" y="172"/>
                  </a:moveTo>
                  <a:cubicBezTo>
                    <a:pt x="24" y="199"/>
                    <a:pt x="24" y="199"/>
                    <a:pt x="24" y="199"/>
                  </a:cubicBezTo>
                  <a:cubicBezTo>
                    <a:pt x="49" y="224"/>
                    <a:pt x="49" y="224"/>
                    <a:pt x="49" y="224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85" y="204"/>
                    <a:pt x="95" y="208"/>
                    <a:pt x="106" y="210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42" y="248"/>
                    <a:pt x="142" y="248"/>
                    <a:pt x="142" y="248"/>
                  </a:cubicBezTo>
                  <a:cubicBezTo>
                    <a:pt x="142" y="210"/>
                    <a:pt x="142" y="210"/>
                    <a:pt x="142" y="210"/>
                  </a:cubicBezTo>
                  <a:cubicBezTo>
                    <a:pt x="153" y="208"/>
                    <a:pt x="163" y="204"/>
                    <a:pt x="173" y="197"/>
                  </a:cubicBezTo>
                  <a:cubicBezTo>
                    <a:pt x="199" y="224"/>
                    <a:pt x="199" y="224"/>
                    <a:pt x="199" y="224"/>
                  </a:cubicBezTo>
                  <a:cubicBezTo>
                    <a:pt x="224" y="199"/>
                    <a:pt x="224" y="199"/>
                    <a:pt x="224" y="199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204" y="163"/>
                    <a:pt x="208" y="153"/>
                    <a:pt x="211" y="141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8" y="106"/>
                    <a:pt x="248" y="106"/>
                    <a:pt x="248" y="106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8" y="95"/>
                    <a:pt x="204" y="84"/>
                    <a:pt x="198" y="75"/>
                  </a:cubicBezTo>
                  <a:cubicBezTo>
                    <a:pt x="224" y="49"/>
                    <a:pt x="224" y="49"/>
                    <a:pt x="224" y="49"/>
                  </a:cubicBezTo>
                  <a:cubicBezTo>
                    <a:pt x="199" y="23"/>
                    <a:pt x="199" y="23"/>
                    <a:pt x="199" y="23"/>
                  </a:cubicBezTo>
                  <a:cubicBezTo>
                    <a:pt x="173" y="50"/>
                    <a:pt x="173" y="50"/>
                    <a:pt x="173" y="50"/>
                  </a:cubicBezTo>
                  <a:cubicBezTo>
                    <a:pt x="163" y="44"/>
                    <a:pt x="153" y="39"/>
                    <a:pt x="142" y="37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95" y="39"/>
                    <a:pt x="85" y="44"/>
                    <a:pt x="75" y="50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44" y="84"/>
                    <a:pt x="40" y="95"/>
                    <a:pt x="37" y="10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40" y="153"/>
                    <a:pt x="44" y="163"/>
                    <a:pt x="50" y="172"/>
                  </a:cubicBezTo>
                  <a:close/>
                  <a:moveTo>
                    <a:pt x="124" y="71"/>
                  </a:moveTo>
                  <a:cubicBezTo>
                    <a:pt x="153" y="71"/>
                    <a:pt x="177" y="94"/>
                    <a:pt x="177" y="124"/>
                  </a:cubicBezTo>
                  <a:cubicBezTo>
                    <a:pt x="177" y="153"/>
                    <a:pt x="153" y="177"/>
                    <a:pt x="124" y="177"/>
                  </a:cubicBezTo>
                  <a:cubicBezTo>
                    <a:pt x="95" y="177"/>
                    <a:pt x="71" y="153"/>
                    <a:pt x="71" y="124"/>
                  </a:cubicBezTo>
                  <a:cubicBezTo>
                    <a:pt x="71" y="94"/>
                    <a:pt x="95" y="71"/>
                    <a:pt x="124" y="71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4" name="Group 21">
            <a:extLst>
              <a:ext uri="{FF2B5EF4-FFF2-40B4-BE49-F238E27FC236}">
                <a16:creationId xmlns:a16="http://schemas.microsoft.com/office/drawing/2014/main" id="{4D87B7B0-4192-5E50-51D3-E2399AB958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02925" y="2797848"/>
            <a:ext cx="346845" cy="348757"/>
            <a:chOff x="1573" y="1482"/>
            <a:chExt cx="363" cy="365"/>
          </a:xfrm>
        </p:grpSpPr>
        <p:sp>
          <p:nvSpPr>
            <p:cNvPr id="65" name="Freeform 22">
              <a:extLst>
                <a:ext uri="{FF2B5EF4-FFF2-40B4-BE49-F238E27FC236}">
                  <a16:creationId xmlns:a16="http://schemas.microsoft.com/office/drawing/2014/main" id="{261397E0-8532-B339-8ACD-B70566D3D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1482"/>
              <a:ext cx="302" cy="334"/>
            </a:xfrm>
            <a:custGeom>
              <a:avLst/>
              <a:gdLst>
                <a:gd name="T0" fmla="*/ 0 w 302"/>
                <a:gd name="T1" fmla="*/ 334 h 334"/>
                <a:gd name="T2" fmla="*/ 0 w 302"/>
                <a:gd name="T3" fmla="*/ 0 h 334"/>
                <a:gd name="T4" fmla="*/ 302 w 302"/>
                <a:gd name="T5" fmla="*/ 0 h 334"/>
                <a:gd name="T6" fmla="*/ 302 w 302"/>
                <a:gd name="T7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2" h="334">
                  <a:moveTo>
                    <a:pt x="0" y="334"/>
                  </a:moveTo>
                  <a:lnTo>
                    <a:pt x="0" y="0"/>
                  </a:lnTo>
                  <a:lnTo>
                    <a:pt x="302" y="0"/>
                  </a:lnTo>
                  <a:lnTo>
                    <a:pt x="302" y="334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23">
              <a:extLst>
                <a:ext uri="{FF2B5EF4-FFF2-40B4-BE49-F238E27FC236}">
                  <a16:creationId xmlns:a16="http://schemas.microsoft.com/office/drawing/2014/main" id="{B29CFA6B-484C-B28E-45D1-92555C6C6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0" y="1666"/>
              <a:ext cx="56" cy="150"/>
            </a:xfrm>
            <a:custGeom>
              <a:avLst/>
              <a:gdLst>
                <a:gd name="T0" fmla="*/ 0 w 56"/>
                <a:gd name="T1" fmla="*/ 0 h 150"/>
                <a:gd name="T2" fmla="*/ 56 w 56"/>
                <a:gd name="T3" fmla="*/ 0 h 150"/>
                <a:gd name="T4" fmla="*/ 56 w 56"/>
                <a:gd name="T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50">
                  <a:moveTo>
                    <a:pt x="0" y="0"/>
                  </a:moveTo>
                  <a:lnTo>
                    <a:pt x="56" y="0"/>
                  </a:lnTo>
                  <a:lnTo>
                    <a:pt x="56" y="15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24">
              <a:extLst>
                <a:ext uri="{FF2B5EF4-FFF2-40B4-BE49-F238E27FC236}">
                  <a16:creationId xmlns:a16="http://schemas.microsoft.com/office/drawing/2014/main" id="{9661CDF1-7878-E5FD-B86D-C83A657AA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5" y="1816"/>
              <a:ext cx="61" cy="31"/>
            </a:xfrm>
            <a:custGeom>
              <a:avLst/>
              <a:gdLst>
                <a:gd name="T0" fmla="*/ 25 w 25"/>
                <a:gd name="T1" fmla="*/ 0 h 13"/>
                <a:gd name="T2" fmla="*/ 13 w 25"/>
                <a:gd name="T3" fmla="*/ 13 h 13"/>
                <a:gd name="T4" fmla="*/ 13 w 25"/>
                <a:gd name="T5" fmla="*/ 13 h 13"/>
                <a:gd name="T6" fmla="*/ 0 w 25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3">
                  <a:moveTo>
                    <a:pt x="25" y="0"/>
                  </a:moveTo>
                  <a:cubicBezTo>
                    <a:pt x="25" y="7"/>
                    <a:pt x="19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6" y="13"/>
                    <a:pt x="0" y="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25">
              <a:extLst>
                <a:ext uri="{FF2B5EF4-FFF2-40B4-BE49-F238E27FC236}">
                  <a16:creationId xmlns:a16="http://schemas.microsoft.com/office/drawing/2014/main" id="{ECCF841A-28A2-1DD2-064A-DEE6DC459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" y="1816"/>
              <a:ext cx="326" cy="31"/>
            </a:xfrm>
            <a:custGeom>
              <a:avLst/>
              <a:gdLst>
                <a:gd name="T0" fmla="*/ 135 w 135"/>
                <a:gd name="T1" fmla="*/ 13 h 13"/>
                <a:gd name="T2" fmla="*/ 12 w 135"/>
                <a:gd name="T3" fmla="*/ 13 h 13"/>
                <a:gd name="T4" fmla="*/ 12 w 135"/>
                <a:gd name="T5" fmla="*/ 13 h 13"/>
                <a:gd name="T6" fmla="*/ 0 w 135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3">
                  <a:moveTo>
                    <a:pt x="135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5" y="13"/>
                    <a:pt x="0" y="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Line 26">
              <a:extLst>
                <a:ext uri="{FF2B5EF4-FFF2-40B4-BE49-F238E27FC236}">
                  <a16:creationId xmlns:a16="http://schemas.microsoft.com/office/drawing/2014/main" id="{412F238A-3DD6-14DD-A576-523664F74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7" y="1625"/>
              <a:ext cx="225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Line 27">
              <a:extLst>
                <a:ext uri="{FF2B5EF4-FFF2-40B4-BE49-F238E27FC236}">
                  <a16:creationId xmlns:a16="http://schemas.microsoft.com/office/drawing/2014/main" id="{1CBFC9D1-0A09-DE4D-E390-4AFFF7E960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7" y="1559"/>
              <a:ext cx="225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Line 28">
              <a:extLst>
                <a:ext uri="{FF2B5EF4-FFF2-40B4-BE49-F238E27FC236}">
                  <a16:creationId xmlns:a16="http://schemas.microsoft.com/office/drawing/2014/main" id="{5D4040C5-4212-F049-2F1D-3A8C7903C4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7" y="1690"/>
              <a:ext cx="225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Line 29">
              <a:extLst>
                <a:ext uri="{FF2B5EF4-FFF2-40B4-BE49-F238E27FC236}">
                  <a16:creationId xmlns:a16="http://schemas.microsoft.com/office/drawing/2014/main" id="{7C0E834F-B08A-9660-A4C2-4C20DB42E7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7" y="1755"/>
              <a:ext cx="147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30914B2-9033-E0CF-9574-C58E63C2DACD}"/>
              </a:ext>
            </a:extLst>
          </p:cNvPr>
          <p:cNvGrpSpPr/>
          <p:nvPr/>
        </p:nvGrpSpPr>
        <p:grpSpPr>
          <a:xfrm>
            <a:off x="4305832" y="4163588"/>
            <a:ext cx="516129" cy="405338"/>
            <a:chOff x="5485143" y="5839960"/>
            <a:chExt cx="626411" cy="491947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B541786-1E82-747C-484F-817B6B5770E1}"/>
                </a:ext>
              </a:extLst>
            </p:cNvPr>
            <p:cNvGrpSpPr/>
            <p:nvPr/>
          </p:nvGrpSpPr>
          <p:grpSpPr>
            <a:xfrm>
              <a:off x="5485143" y="6038981"/>
              <a:ext cx="626411" cy="292926"/>
              <a:chOff x="8045400" y="3790347"/>
              <a:chExt cx="383452" cy="179312"/>
            </a:xfrm>
          </p:grpSpPr>
          <p:sp>
            <p:nvSpPr>
              <p:cNvPr id="76" name="Freeform 66">
                <a:extLst>
                  <a:ext uri="{FF2B5EF4-FFF2-40B4-BE49-F238E27FC236}">
                    <a16:creationId xmlns:a16="http://schemas.microsoft.com/office/drawing/2014/main" id="{2FB5F845-86D5-4A41-6523-EC1BA34C7C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6895" y="3832647"/>
                <a:ext cx="331957" cy="137012"/>
              </a:xfrm>
              <a:custGeom>
                <a:avLst/>
                <a:gdLst>
                  <a:gd name="T0" fmla="*/ 0 w 150"/>
                  <a:gd name="T1" fmla="*/ 50 h 62"/>
                  <a:gd name="T2" fmla="*/ 31 w 150"/>
                  <a:gd name="T3" fmla="*/ 31 h 62"/>
                  <a:gd name="T4" fmla="*/ 66 w 150"/>
                  <a:gd name="T5" fmla="*/ 53 h 62"/>
                  <a:gd name="T6" fmla="*/ 89 w 150"/>
                  <a:gd name="T7" fmla="*/ 56 h 62"/>
                  <a:gd name="T8" fmla="*/ 100 w 150"/>
                  <a:gd name="T9" fmla="*/ 50 h 62"/>
                  <a:gd name="T10" fmla="*/ 143 w 150"/>
                  <a:gd name="T11" fmla="*/ 19 h 62"/>
                  <a:gd name="T12" fmla="*/ 148 w 150"/>
                  <a:gd name="T13" fmla="*/ 6 h 62"/>
                  <a:gd name="T14" fmla="*/ 148 w 150"/>
                  <a:gd name="T15" fmla="*/ 6 h 62"/>
                  <a:gd name="T16" fmla="*/ 134 w 150"/>
                  <a:gd name="T17" fmla="*/ 3 h 62"/>
                  <a:gd name="T18" fmla="*/ 96 w 150"/>
                  <a:gd name="T19" fmla="*/ 1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62">
                    <a:moveTo>
                      <a:pt x="0" y="50"/>
                    </a:moveTo>
                    <a:cubicBezTo>
                      <a:pt x="31" y="31"/>
                      <a:pt x="31" y="31"/>
                      <a:pt x="31" y="31"/>
                    </a:cubicBezTo>
                    <a:cubicBezTo>
                      <a:pt x="31" y="31"/>
                      <a:pt x="53" y="44"/>
                      <a:pt x="66" y="53"/>
                    </a:cubicBezTo>
                    <a:cubicBezTo>
                      <a:pt x="78" y="62"/>
                      <a:pt x="89" y="56"/>
                      <a:pt x="89" y="56"/>
                    </a:cubicBezTo>
                    <a:cubicBezTo>
                      <a:pt x="100" y="50"/>
                      <a:pt x="100" y="50"/>
                      <a:pt x="100" y="50"/>
                    </a:cubicBezTo>
                    <a:cubicBezTo>
                      <a:pt x="143" y="19"/>
                      <a:pt x="143" y="19"/>
                      <a:pt x="143" y="19"/>
                    </a:cubicBezTo>
                    <a:cubicBezTo>
                      <a:pt x="148" y="17"/>
                      <a:pt x="150" y="11"/>
                      <a:pt x="148" y="6"/>
                    </a:cubicBezTo>
                    <a:cubicBezTo>
                      <a:pt x="148" y="6"/>
                      <a:pt x="148" y="6"/>
                      <a:pt x="148" y="6"/>
                    </a:cubicBezTo>
                    <a:cubicBezTo>
                      <a:pt x="145" y="2"/>
                      <a:pt x="139" y="0"/>
                      <a:pt x="134" y="3"/>
                    </a:cubicBezTo>
                    <a:cubicBezTo>
                      <a:pt x="96" y="19"/>
                      <a:pt x="96" y="19"/>
                      <a:pt x="96" y="19"/>
                    </a:cubicBezTo>
                  </a:path>
                </a:pathLst>
              </a:cu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67">
                <a:extLst>
                  <a:ext uri="{FF2B5EF4-FFF2-40B4-BE49-F238E27FC236}">
                    <a16:creationId xmlns:a16="http://schemas.microsoft.com/office/drawing/2014/main" id="{68D9DD6E-6341-DB9C-5499-348911275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6895" y="3790347"/>
                <a:ext cx="214255" cy="113104"/>
              </a:xfrm>
              <a:custGeom>
                <a:avLst/>
                <a:gdLst>
                  <a:gd name="T0" fmla="*/ 60 w 97"/>
                  <a:gd name="T1" fmla="*/ 37 h 51"/>
                  <a:gd name="T2" fmla="*/ 78 w 97"/>
                  <a:gd name="T3" fmla="*/ 48 h 51"/>
                  <a:gd name="T4" fmla="*/ 94 w 97"/>
                  <a:gd name="T5" fmla="*/ 45 h 51"/>
                  <a:gd name="T6" fmla="*/ 94 w 97"/>
                  <a:gd name="T7" fmla="*/ 45 h 51"/>
                  <a:gd name="T8" fmla="*/ 90 w 97"/>
                  <a:gd name="T9" fmla="*/ 29 h 51"/>
                  <a:gd name="T10" fmla="*/ 62 w 97"/>
                  <a:gd name="T11" fmla="*/ 11 h 51"/>
                  <a:gd name="T12" fmla="*/ 24 w 97"/>
                  <a:gd name="T13" fmla="*/ 16 h 51"/>
                  <a:gd name="T14" fmla="*/ 0 w 97"/>
                  <a:gd name="T15" fmla="*/ 3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51">
                    <a:moveTo>
                      <a:pt x="60" y="37"/>
                    </a:moveTo>
                    <a:cubicBezTo>
                      <a:pt x="78" y="48"/>
                      <a:pt x="78" y="48"/>
                      <a:pt x="78" y="48"/>
                    </a:cubicBezTo>
                    <a:cubicBezTo>
                      <a:pt x="84" y="51"/>
                      <a:pt x="91" y="50"/>
                      <a:pt x="94" y="45"/>
                    </a:cubicBezTo>
                    <a:cubicBezTo>
                      <a:pt x="94" y="45"/>
                      <a:pt x="94" y="45"/>
                      <a:pt x="94" y="45"/>
                    </a:cubicBezTo>
                    <a:cubicBezTo>
                      <a:pt x="97" y="39"/>
                      <a:pt x="96" y="32"/>
                      <a:pt x="90" y="29"/>
                    </a:cubicBezTo>
                    <a:cubicBezTo>
                      <a:pt x="62" y="11"/>
                      <a:pt x="62" y="11"/>
                      <a:pt x="62" y="11"/>
                    </a:cubicBezTo>
                    <a:cubicBezTo>
                      <a:pt x="62" y="11"/>
                      <a:pt x="50" y="0"/>
                      <a:pt x="24" y="16"/>
                    </a:cubicBezTo>
                    <a:cubicBezTo>
                      <a:pt x="0" y="31"/>
                      <a:pt x="0" y="31"/>
                      <a:pt x="0" y="31"/>
                    </a:cubicBezTo>
                  </a:path>
                </a:pathLst>
              </a:cu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Rectangle 68">
                <a:extLst>
                  <a:ext uri="{FF2B5EF4-FFF2-40B4-BE49-F238E27FC236}">
                    <a16:creationId xmlns:a16="http://schemas.microsoft.com/office/drawing/2014/main" id="{032CF388-228E-4F2B-2FDE-271DF64C83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45400" y="3839083"/>
                <a:ext cx="48736" cy="113104"/>
              </a:xfrm>
              <a:prstGeom prst="rect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75" name="Freeform 879">
              <a:extLst>
                <a:ext uri="{FF2B5EF4-FFF2-40B4-BE49-F238E27FC236}">
                  <a16:creationId xmlns:a16="http://schemas.microsoft.com/office/drawing/2014/main" id="{8F0BF980-F2DC-A978-BD16-7EDBD2383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3727" y="5839960"/>
              <a:ext cx="240785" cy="242298"/>
            </a:xfrm>
            <a:custGeom>
              <a:avLst/>
              <a:gdLst>
                <a:gd name="T0" fmla="*/ 50 w 248"/>
                <a:gd name="T1" fmla="*/ 172 h 248"/>
                <a:gd name="T2" fmla="*/ 24 w 248"/>
                <a:gd name="T3" fmla="*/ 199 h 248"/>
                <a:gd name="T4" fmla="*/ 49 w 248"/>
                <a:gd name="T5" fmla="*/ 224 h 248"/>
                <a:gd name="T6" fmla="*/ 75 w 248"/>
                <a:gd name="T7" fmla="*/ 197 h 248"/>
                <a:gd name="T8" fmla="*/ 106 w 248"/>
                <a:gd name="T9" fmla="*/ 210 h 248"/>
                <a:gd name="T10" fmla="*/ 106 w 248"/>
                <a:gd name="T11" fmla="*/ 248 h 248"/>
                <a:gd name="T12" fmla="*/ 142 w 248"/>
                <a:gd name="T13" fmla="*/ 248 h 248"/>
                <a:gd name="T14" fmla="*/ 142 w 248"/>
                <a:gd name="T15" fmla="*/ 210 h 248"/>
                <a:gd name="T16" fmla="*/ 173 w 248"/>
                <a:gd name="T17" fmla="*/ 197 h 248"/>
                <a:gd name="T18" fmla="*/ 199 w 248"/>
                <a:gd name="T19" fmla="*/ 224 h 248"/>
                <a:gd name="T20" fmla="*/ 224 w 248"/>
                <a:gd name="T21" fmla="*/ 199 h 248"/>
                <a:gd name="T22" fmla="*/ 198 w 248"/>
                <a:gd name="T23" fmla="*/ 172 h 248"/>
                <a:gd name="T24" fmla="*/ 211 w 248"/>
                <a:gd name="T25" fmla="*/ 141 h 248"/>
                <a:gd name="T26" fmla="*/ 248 w 248"/>
                <a:gd name="T27" fmla="*/ 141 h 248"/>
                <a:gd name="T28" fmla="*/ 248 w 248"/>
                <a:gd name="T29" fmla="*/ 106 h 248"/>
                <a:gd name="T30" fmla="*/ 211 w 248"/>
                <a:gd name="T31" fmla="*/ 106 h 248"/>
                <a:gd name="T32" fmla="*/ 198 w 248"/>
                <a:gd name="T33" fmla="*/ 75 h 248"/>
                <a:gd name="T34" fmla="*/ 224 w 248"/>
                <a:gd name="T35" fmla="*/ 49 h 248"/>
                <a:gd name="T36" fmla="*/ 199 w 248"/>
                <a:gd name="T37" fmla="*/ 23 h 248"/>
                <a:gd name="T38" fmla="*/ 173 w 248"/>
                <a:gd name="T39" fmla="*/ 50 h 248"/>
                <a:gd name="T40" fmla="*/ 142 w 248"/>
                <a:gd name="T41" fmla="*/ 37 h 248"/>
                <a:gd name="T42" fmla="*/ 142 w 248"/>
                <a:gd name="T43" fmla="*/ 0 h 248"/>
                <a:gd name="T44" fmla="*/ 106 w 248"/>
                <a:gd name="T45" fmla="*/ 0 h 248"/>
                <a:gd name="T46" fmla="*/ 106 w 248"/>
                <a:gd name="T47" fmla="*/ 37 h 248"/>
                <a:gd name="T48" fmla="*/ 75 w 248"/>
                <a:gd name="T49" fmla="*/ 50 h 248"/>
                <a:gd name="T50" fmla="*/ 49 w 248"/>
                <a:gd name="T51" fmla="*/ 23 h 248"/>
                <a:gd name="T52" fmla="*/ 24 w 248"/>
                <a:gd name="T53" fmla="*/ 49 h 248"/>
                <a:gd name="T54" fmla="*/ 50 w 248"/>
                <a:gd name="T55" fmla="*/ 75 h 248"/>
                <a:gd name="T56" fmla="*/ 37 w 248"/>
                <a:gd name="T57" fmla="*/ 106 h 248"/>
                <a:gd name="T58" fmla="*/ 0 w 248"/>
                <a:gd name="T59" fmla="*/ 106 h 248"/>
                <a:gd name="T60" fmla="*/ 0 w 248"/>
                <a:gd name="T61" fmla="*/ 141 h 248"/>
                <a:gd name="T62" fmla="*/ 37 w 248"/>
                <a:gd name="T63" fmla="*/ 141 h 248"/>
                <a:gd name="T64" fmla="*/ 50 w 248"/>
                <a:gd name="T65" fmla="*/ 172 h 248"/>
                <a:gd name="T66" fmla="*/ 124 w 248"/>
                <a:gd name="T67" fmla="*/ 71 h 248"/>
                <a:gd name="T68" fmla="*/ 177 w 248"/>
                <a:gd name="T69" fmla="*/ 124 h 248"/>
                <a:gd name="T70" fmla="*/ 124 w 248"/>
                <a:gd name="T71" fmla="*/ 177 h 248"/>
                <a:gd name="T72" fmla="*/ 71 w 248"/>
                <a:gd name="T73" fmla="*/ 124 h 248"/>
                <a:gd name="T74" fmla="*/ 124 w 248"/>
                <a:gd name="T75" fmla="*/ 71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8" h="248">
                  <a:moveTo>
                    <a:pt x="50" y="172"/>
                  </a:moveTo>
                  <a:cubicBezTo>
                    <a:pt x="24" y="199"/>
                    <a:pt x="24" y="199"/>
                    <a:pt x="24" y="199"/>
                  </a:cubicBezTo>
                  <a:cubicBezTo>
                    <a:pt x="49" y="224"/>
                    <a:pt x="49" y="224"/>
                    <a:pt x="49" y="224"/>
                  </a:cubicBezTo>
                  <a:cubicBezTo>
                    <a:pt x="75" y="197"/>
                    <a:pt x="75" y="197"/>
                    <a:pt x="75" y="197"/>
                  </a:cubicBezTo>
                  <a:cubicBezTo>
                    <a:pt x="85" y="204"/>
                    <a:pt x="95" y="208"/>
                    <a:pt x="106" y="210"/>
                  </a:cubicBezTo>
                  <a:cubicBezTo>
                    <a:pt x="106" y="248"/>
                    <a:pt x="106" y="248"/>
                    <a:pt x="106" y="248"/>
                  </a:cubicBezTo>
                  <a:cubicBezTo>
                    <a:pt x="142" y="248"/>
                    <a:pt x="142" y="248"/>
                    <a:pt x="142" y="248"/>
                  </a:cubicBezTo>
                  <a:cubicBezTo>
                    <a:pt x="142" y="210"/>
                    <a:pt x="142" y="210"/>
                    <a:pt x="142" y="210"/>
                  </a:cubicBezTo>
                  <a:cubicBezTo>
                    <a:pt x="153" y="208"/>
                    <a:pt x="163" y="204"/>
                    <a:pt x="173" y="197"/>
                  </a:cubicBezTo>
                  <a:cubicBezTo>
                    <a:pt x="199" y="224"/>
                    <a:pt x="199" y="224"/>
                    <a:pt x="199" y="224"/>
                  </a:cubicBezTo>
                  <a:cubicBezTo>
                    <a:pt x="224" y="199"/>
                    <a:pt x="224" y="199"/>
                    <a:pt x="224" y="199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204" y="163"/>
                    <a:pt x="208" y="153"/>
                    <a:pt x="211" y="141"/>
                  </a:cubicBezTo>
                  <a:cubicBezTo>
                    <a:pt x="248" y="141"/>
                    <a:pt x="248" y="141"/>
                    <a:pt x="248" y="141"/>
                  </a:cubicBezTo>
                  <a:cubicBezTo>
                    <a:pt x="248" y="106"/>
                    <a:pt x="248" y="106"/>
                    <a:pt x="248" y="106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8" y="95"/>
                    <a:pt x="204" y="84"/>
                    <a:pt x="198" y="75"/>
                  </a:cubicBezTo>
                  <a:cubicBezTo>
                    <a:pt x="224" y="49"/>
                    <a:pt x="224" y="49"/>
                    <a:pt x="224" y="49"/>
                  </a:cubicBezTo>
                  <a:cubicBezTo>
                    <a:pt x="199" y="23"/>
                    <a:pt x="199" y="23"/>
                    <a:pt x="199" y="23"/>
                  </a:cubicBezTo>
                  <a:cubicBezTo>
                    <a:pt x="173" y="50"/>
                    <a:pt x="173" y="50"/>
                    <a:pt x="173" y="50"/>
                  </a:cubicBezTo>
                  <a:cubicBezTo>
                    <a:pt x="163" y="44"/>
                    <a:pt x="153" y="39"/>
                    <a:pt x="142" y="37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95" y="39"/>
                    <a:pt x="85" y="44"/>
                    <a:pt x="75" y="50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44" y="84"/>
                    <a:pt x="40" y="95"/>
                    <a:pt x="37" y="10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37" y="141"/>
                    <a:pt x="37" y="141"/>
                    <a:pt x="37" y="141"/>
                  </a:cubicBezTo>
                  <a:cubicBezTo>
                    <a:pt x="40" y="153"/>
                    <a:pt x="44" y="163"/>
                    <a:pt x="50" y="172"/>
                  </a:cubicBezTo>
                  <a:close/>
                  <a:moveTo>
                    <a:pt x="124" y="71"/>
                  </a:moveTo>
                  <a:cubicBezTo>
                    <a:pt x="153" y="71"/>
                    <a:pt x="177" y="94"/>
                    <a:pt x="177" y="124"/>
                  </a:cubicBezTo>
                  <a:cubicBezTo>
                    <a:pt x="177" y="153"/>
                    <a:pt x="153" y="177"/>
                    <a:pt x="124" y="177"/>
                  </a:cubicBezTo>
                  <a:cubicBezTo>
                    <a:pt x="95" y="177"/>
                    <a:pt x="71" y="153"/>
                    <a:pt x="71" y="124"/>
                  </a:cubicBezTo>
                  <a:cubicBezTo>
                    <a:pt x="71" y="94"/>
                    <a:pt x="95" y="71"/>
                    <a:pt x="124" y="71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7D75EAE6-5435-4DE9-7EEE-29129EA1C7C8}"/>
              </a:ext>
            </a:extLst>
          </p:cNvPr>
          <p:cNvGrpSpPr/>
          <p:nvPr/>
        </p:nvGrpSpPr>
        <p:grpSpPr>
          <a:xfrm>
            <a:off x="5242375" y="5208558"/>
            <a:ext cx="296897" cy="377060"/>
            <a:chOff x="4530566" y="3034257"/>
            <a:chExt cx="416742" cy="529263"/>
          </a:xfrm>
        </p:grpSpPr>
        <p:sp>
          <p:nvSpPr>
            <p:cNvPr id="80" name="Rectangle 136">
              <a:extLst>
                <a:ext uri="{FF2B5EF4-FFF2-40B4-BE49-F238E27FC236}">
                  <a16:creationId xmlns:a16="http://schemas.microsoft.com/office/drawing/2014/main" id="{80483CC7-94E1-C41A-2D31-59F9C248FB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0566" y="3034257"/>
              <a:ext cx="416742" cy="529263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137">
              <a:extLst>
                <a:ext uri="{FF2B5EF4-FFF2-40B4-BE49-F238E27FC236}">
                  <a16:creationId xmlns:a16="http://schemas.microsoft.com/office/drawing/2014/main" id="{080ED50C-E501-311A-684B-3564EB0C4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0780" y="3220749"/>
              <a:ext cx="0" cy="44800"/>
            </a:xfrm>
            <a:custGeom>
              <a:avLst/>
              <a:gdLst>
                <a:gd name="T0" fmla="*/ 16 h 16"/>
                <a:gd name="T1" fmla="*/ 0 h 1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6">
                  <a:moveTo>
                    <a:pt x="0" y="16"/>
                  </a:moveTo>
                  <a:cubicBezTo>
                    <a:pt x="0" y="10"/>
                    <a:pt x="0" y="5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138">
              <a:extLst>
                <a:ext uri="{FF2B5EF4-FFF2-40B4-BE49-F238E27FC236}">
                  <a16:creationId xmlns:a16="http://schemas.microsoft.com/office/drawing/2014/main" id="{AB863794-3B58-5D41-CFA7-3D50A49CD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0780" y="3332228"/>
              <a:ext cx="0" cy="51051"/>
            </a:xfrm>
            <a:custGeom>
              <a:avLst/>
              <a:gdLst>
                <a:gd name="T0" fmla="*/ 18 h 18"/>
                <a:gd name="T1" fmla="*/ 0 h 1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8">
                  <a:moveTo>
                    <a:pt x="0" y="18"/>
                  </a:moveTo>
                  <a:cubicBezTo>
                    <a:pt x="0" y="12"/>
                    <a:pt x="0" y="6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139">
              <a:extLst>
                <a:ext uri="{FF2B5EF4-FFF2-40B4-BE49-F238E27FC236}">
                  <a16:creationId xmlns:a16="http://schemas.microsoft.com/office/drawing/2014/main" id="{FD689799-01A8-4C90-0C93-1F07205F9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0780" y="3042592"/>
              <a:ext cx="381319" cy="512593"/>
            </a:xfrm>
            <a:custGeom>
              <a:avLst/>
              <a:gdLst>
                <a:gd name="T0" fmla="*/ 0 w 137"/>
                <a:gd name="T1" fmla="*/ 36 h 184"/>
                <a:gd name="T2" fmla="*/ 0 w 137"/>
                <a:gd name="T3" fmla="*/ 7 h 184"/>
                <a:gd name="T4" fmla="*/ 7 w 137"/>
                <a:gd name="T5" fmla="*/ 0 h 184"/>
                <a:gd name="T6" fmla="*/ 130 w 137"/>
                <a:gd name="T7" fmla="*/ 0 h 184"/>
                <a:gd name="T8" fmla="*/ 137 w 137"/>
                <a:gd name="T9" fmla="*/ 9 h 184"/>
                <a:gd name="T10" fmla="*/ 137 w 137"/>
                <a:gd name="T11" fmla="*/ 92 h 184"/>
                <a:gd name="T12" fmla="*/ 137 w 137"/>
                <a:gd name="T13" fmla="*/ 175 h 184"/>
                <a:gd name="T14" fmla="*/ 129 w 137"/>
                <a:gd name="T15" fmla="*/ 184 h 184"/>
                <a:gd name="T16" fmla="*/ 8 w 137"/>
                <a:gd name="T17" fmla="*/ 184 h 184"/>
                <a:gd name="T18" fmla="*/ 0 w 137"/>
                <a:gd name="T19" fmla="*/ 175 h 184"/>
                <a:gd name="T20" fmla="*/ 0 w 137"/>
                <a:gd name="T21" fmla="*/ 14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84">
                  <a:moveTo>
                    <a:pt x="0" y="36"/>
                  </a:moveTo>
                  <a:cubicBezTo>
                    <a:pt x="0" y="27"/>
                    <a:pt x="1" y="17"/>
                    <a:pt x="0" y="7"/>
                  </a:cubicBezTo>
                  <a:cubicBezTo>
                    <a:pt x="0" y="2"/>
                    <a:pt x="2" y="0"/>
                    <a:pt x="7" y="0"/>
                  </a:cubicBezTo>
                  <a:cubicBezTo>
                    <a:pt x="48" y="0"/>
                    <a:pt x="89" y="0"/>
                    <a:pt x="130" y="0"/>
                  </a:cubicBezTo>
                  <a:cubicBezTo>
                    <a:pt x="136" y="0"/>
                    <a:pt x="137" y="4"/>
                    <a:pt x="137" y="9"/>
                  </a:cubicBezTo>
                  <a:cubicBezTo>
                    <a:pt x="137" y="36"/>
                    <a:pt x="137" y="64"/>
                    <a:pt x="137" y="92"/>
                  </a:cubicBezTo>
                  <a:cubicBezTo>
                    <a:pt x="137" y="120"/>
                    <a:pt x="137" y="147"/>
                    <a:pt x="137" y="175"/>
                  </a:cubicBezTo>
                  <a:cubicBezTo>
                    <a:pt x="137" y="182"/>
                    <a:pt x="135" y="184"/>
                    <a:pt x="129" y="184"/>
                  </a:cubicBezTo>
                  <a:cubicBezTo>
                    <a:pt x="89" y="184"/>
                    <a:pt x="49" y="184"/>
                    <a:pt x="8" y="184"/>
                  </a:cubicBezTo>
                  <a:cubicBezTo>
                    <a:pt x="2" y="184"/>
                    <a:pt x="0" y="182"/>
                    <a:pt x="0" y="175"/>
                  </a:cubicBezTo>
                  <a:cubicBezTo>
                    <a:pt x="1" y="165"/>
                    <a:pt x="0" y="156"/>
                    <a:pt x="0" y="147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140">
              <a:extLst>
                <a:ext uri="{FF2B5EF4-FFF2-40B4-BE49-F238E27FC236}">
                  <a16:creationId xmlns:a16="http://schemas.microsoft.com/office/drawing/2014/main" id="{051BE66F-4AAA-CB7A-B9F5-7BFEEEDDB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589" y="3125940"/>
              <a:ext cx="63554" cy="72930"/>
            </a:xfrm>
            <a:custGeom>
              <a:avLst/>
              <a:gdLst>
                <a:gd name="T0" fmla="*/ 61 w 61"/>
                <a:gd name="T1" fmla="*/ 49 h 70"/>
                <a:gd name="T2" fmla="*/ 61 w 61"/>
                <a:gd name="T3" fmla="*/ 70 h 70"/>
                <a:gd name="T4" fmla="*/ 0 w 61"/>
                <a:gd name="T5" fmla="*/ 70 h 70"/>
                <a:gd name="T6" fmla="*/ 0 w 61"/>
                <a:gd name="T7" fmla="*/ 0 h 70"/>
                <a:gd name="T8" fmla="*/ 61 w 61"/>
                <a:gd name="T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0">
                  <a:moveTo>
                    <a:pt x="61" y="49"/>
                  </a:moveTo>
                  <a:lnTo>
                    <a:pt x="61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1" y="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141">
              <a:extLst>
                <a:ext uri="{FF2B5EF4-FFF2-40B4-BE49-F238E27FC236}">
                  <a16:creationId xmlns:a16="http://schemas.microsoft.com/office/drawing/2014/main" id="{DB39FE31-5ABC-942F-C9C2-7B8991CA2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7468" y="3132192"/>
              <a:ext cx="61470" cy="50009"/>
            </a:xfrm>
            <a:custGeom>
              <a:avLst/>
              <a:gdLst>
                <a:gd name="T0" fmla="*/ 0 w 59"/>
                <a:gd name="T1" fmla="*/ 32 h 48"/>
                <a:gd name="T2" fmla="*/ 14 w 59"/>
                <a:gd name="T3" fmla="*/ 48 h 48"/>
                <a:gd name="T4" fmla="*/ 59 w 59"/>
                <a:gd name="T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48">
                  <a:moveTo>
                    <a:pt x="0" y="32"/>
                  </a:moveTo>
                  <a:lnTo>
                    <a:pt x="14" y="48"/>
                  </a:lnTo>
                  <a:lnTo>
                    <a:pt x="59" y="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Line 142">
              <a:extLst>
                <a:ext uri="{FF2B5EF4-FFF2-40B4-BE49-F238E27FC236}">
                  <a16:creationId xmlns:a16="http://schemas.microsoft.com/office/drawing/2014/main" id="{9D67ED7E-2BBF-D0B2-4C78-A193E6CFB6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92072" y="3198870"/>
              <a:ext cx="10001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Line 143">
              <a:extLst>
                <a:ext uri="{FF2B5EF4-FFF2-40B4-BE49-F238E27FC236}">
                  <a16:creationId xmlns:a16="http://schemas.microsoft.com/office/drawing/2014/main" id="{3634FE10-118A-0475-6852-52DCA3E1FC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92072" y="3143652"/>
              <a:ext cx="10001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144">
              <a:extLst>
                <a:ext uri="{FF2B5EF4-FFF2-40B4-BE49-F238E27FC236}">
                  <a16:creationId xmlns:a16="http://schemas.microsoft.com/office/drawing/2014/main" id="{CEBFDBA1-EB31-ED7B-BB3A-A06A5CC41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589" y="3348898"/>
              <a:ext cx="63554" cy="72930"/>
            </a:xfrm>
            <a:custGeom>
              <a:avLst/>
              <a:gdLst>
                <a:gd name="T0" fmla="*/ 61 w 61"/>
                <a:gd name="T1" fmla="*/ 49 h 70"/>
                <a:gd name="T2" fmla="*/ 61 w 61"/>
                <a:gd name="T3" fmla="*/ 70 h 70"/>
                <a:gd name="T4" fmla="*/ 0 w 61"/>
                <a:gd name="T5" fmla="*/ 70 h 70"/>
                <a:gd name="T6" fmla="*/ 0 w 61"/>
                <a:gd name="T7" fmla="*/ 0 h 70"/>
                <a:gd name="T8" fmla="*/ 61 w 61"/>
                <a:gd name="T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0">
                  <a:moveTo>
                    <a:pt x="61" y="49"/>
                  </a:moveTo>
                  <a:lnTo>
                    <a:pt x="61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1" y="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145">
              <a:extLst>
                <a:ext uri="{FF2B5EF4-FFF2-40B4-BE49-F238E27FC236}">
                  <a16:creationId xmlns:a16="http://schemas.microsoft.com/office/drawing/2014/main" id="{DC98D25B-ADA4-CCEF-6A67-CCBE0F54A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7468" y="3355149"/>
              <a:ext cx="61470" cy="46884"/>
            </a:xfrm>
            <a:custGeom>
              <a:avLst/>
              <a:gdLst>
                <a:gd name="T0" fmla="*/ 0 w 59"/>
                <a:gd name="T1" fmla="*/ 29 h 45"/>
                <a:gd name="T2" fmla="*/ 14 w 59"/>
                <a:gd name="T3" fmla="*/ 45 h 45"/>
                <a:gd name="T4" fmla="*/ 59 w 59"/>
                <a:gd name="T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45">
                  <a:moveTo>
                    <a:pt x="0" y="29"/>
                  </a:moveTo>
                  <a:lnTo>
                    <a:pt x="14" y="45"/>
                  </a:lnTo>
                  <a:lnTo>
                    <a:pt x="59" y="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Line 146">
              <a:extLst>
                <a:ext uri="{FF2B5EF4-FFF2-40B4-BE49-F238E27FC236}">
                  <a16:creationId xmlns:a16="http://schemas.microsoft.com/office/drawing/2014/main" id="{59D9CE92-9DF3-C1C1-5C09-C9FA36C126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92072" y="3421827"/>
              <a:ext cx="10001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Line 147">
              <a:extLst>
                <a:ext uri="{FF2B5EF4-FFF2-40B4-BE49-F238E27FC236}">
                  <a16:creationId xmlns:a16="http://schemas.microsoft.com/office/drawing/2014/main" id="{8F69FA53-0C3B-1CD9-CB87-624494481C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92072" y="3368692"/>
              <a:ext cx="100018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15F5AF3C-169E-EA89-E2AE-54A128941216}"/>
              </a:ext>
            </a:extLst>
          </p:cNvPr>
          <p:cNvGrpSpPr/>
          <p:nvPr/>
        </p:nvGrpSpPr>
        <p:grpSpPr>
          <a:xfrm>
            <a:off x="6480554" y="5208558"/>
            <a:ext cx="401638" cy="341312"/>
            <a:chOff x="9601201" y="1423988"/>
            <a:chExt cx="401638" cy="341312"/>
          </a:xfrm>
        </p:grpSpPr>
        <p:sp>
          <p:nvSpPr>
            <p:cNvPr id="93" name="Freeform 133">
              <a:extLst>
                <a:ext uri="{FF2B5EF4-FFF2-40B4-BE49-F238E27FC236}">
                  <a16:creationId xmlns:a16="http://schemas.microsoft.com/office/drawing/2014/main" id="{5E9C262C-BFC2-3B60-DD12-3B61A4886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201" y="1574800"/>
              <a:ext cx="349250" cy="190500"/>
            </a:xfrm>
            <a:custGeom>
              <a:avLst/>
              <a:gdLst>
                <a:gd name="T0" fmla="*/ 75 w 125"/>
                <a:gd name="T1" fmla="*/ 31 h 68"/>
                <a:gd name="T2" fmla="*/ 60 w 125"/>
                <a:gd name="T3" fmla="*/ 41 h 68"/>
                <a:gd name="T4" fmla="*/ 47 w 125"/>
                <a:gd name="T5" fmla="*/ 38 h 68"/>
                <a:gd name="T6" fmla="*/ 47 w 125"/>
                <a:gd name="T7" fmla="*/ 38 h 68"/>
                <a:gd name="T8" fmla="*/ 50 w 125"/>
                <a:gd name="T9" fmla="*/ 25 h 68"/>
                <a:gd name="T10" fmla="*/ 74 w 125"/>
                <a:gd name="T11" fmla="*/ 10 h 68"/>
                <a:gd name="T12" fmla="*/ 105 w 125"/>
                <a:gd name="T13" fmla="*/ 14 h 68"/>
                <a:gd name="T14" fmla="*/ 125 w 125"/>
                <a:gd name="T15" fmla="*/ 26 h 68"/>
                <a:gd name="T16" fmla="*/ 125 w 125"/>
                <a:gd name="T17" fmla="*/ 58 h 68"/>
                <a:gd name="T18" fmla="*/ 99 w 125"/>
                <a:gd name="T19" fmla="*/ 43 h 68"/>
                <a:gd name="T20" fmla="*/ 71 w 125"/>
                <a:gd name="T21" fmla="*/ 61 h 68"/>
                <a:gd name="T22" fmla="*/ 51 w 125"/>
                <a:gd name="T23" fmla="*/ 64 h 68"/>
                <a:gd name="T24" fmla="*/ 42 w 125"/>
                <a:gd name="T25" fmla="*/ 58 h 68"/>
                <a:gd name="T26" fmla="*/ 6 w 125"/>
                <a:gd name="T27" fmla="*/ 33 h 68"/>
                <a:gd name="T28" fmla="*/ 2 w 125"/>
                <a:gd name="T29" fmla="*/ 22 h 68"/>
                <a:gd name="T30" fmla="*/ 2 w 125"/>
                <a:gd name="T31" fmla="*/ 22 h 68"/>
                <a:gd name="T32" fmla="*/ 13 w 125"/>
                <a:gd name="T33" fmla="*/ 19 h 68"/>
                <a:gd name="T34" fmla="*/ 46 w 125"/>
                <a:gd name="T3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68">
                  <a:moveTo>
                    <a:pt x="75" y="31"/>
                  </a:moveTo>
                  <a:cubicBezTo>
                    <a:pt x="60" y="41"/>
                    <a:pt x="60" y="41"/>
                    <a:pt x="60" y="41"/>
                  </a:cubicBezTo>
                  <a:cubicBezTo>
                    <a:pt x="56" y="43"/>
                    <a:pt x="50" y="42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4" y="33"/>
                    <a:pt x="46" y="28"/>
                    <a:pt x="50" y="25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4" y="10"/>
                    <a:pt x="84" y="0"/>
                    <a:pt x="105" y="14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3"/>
                    <a:pt x="81" y="54"/>
                    <a:pt x="71" y="61"/>
                  </a:cubicBezTo>
                  <a:cubicBezTo>
                    <a:pt x="60" y="68"/>
                    <a:pt x="51" y="64"/>
                    <a:pt x="51" y="64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2" y="30"/>
                    <a:pt x="0" y="25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4" y="18"/>
                    <a:pt x="9" y="16"/>
                    <a:pt x="13" y="19"/>
                  </a:cubicBezTo>
                  <a:cubicBezTo>
                    <a:pt x="46" y="34"/>
                    <a:pt x="46" y="34"/>
                    <a:pt x="46" y="34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134">
              <a:extLst>
                <a:ext uri="{FF2B5EF4-FFF2-40B4-BE49-F238E27FC236}">
                  <a16:creationId xmlns:a16="http://schemas.microsoft.com/office/drawing/2014/main" id="{D1036697-E190-1375-7BD7-4F50A4D76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52039" y="1627188"/>
              <a:ext cx="50800" cy="117475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135">
              <a:extLst>
                <a:ext uri="{FF2B5EF4-FFF2-40B4-BE49-F238E27FC236}">
                  <a16:creationId xmlns:a16="http://schemas.microsoft.com/office/drawing/2014/main" id="{1BEFB0BA-AC76-74FB-F62B-B95D77F22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7564" y="1497013"/>
              <a:ext cx="66675" cy="107950"/>
            </a:xfrm>
            <a:custGeom>
              <a:avLst/>
              <a:gdLst>
                <a:gd name="T0" fmla="*/ 24 w 24"/>
                <a:gd name="T1" fmla="*/ 0 h 39"/>
                <a:gd name="T2" fmla="*/ 0 w 24"/>
                <a:gd name="T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39">
                  <a:moveTo>
                    <a:pt x="24" y="0"/>
                  </a:moveTo>
                  <a:cubicBezTo>
                    <a:pt x="24" y="0"/>
                    <a:pt x="5" y="1"/>
                    <a:pt x="0" y="39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136">
              <a:extLst>
                <a:ext uri="{FF2B5EF4-FFF2-40B4-BE49-F238E27FC236}">
                  <a16:creationId xmlns:a16="http://schemas.microsoft.com/office/drawing/2014/main" id="{6C33CD27-E407-11BF-4CA6-CE963F045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6926" y="1423988"/>
              <a:ext cx="165100" cy="179388"/>
            </a:xfrm>
            <a:custGeom>
              <a:avLst/>
              <a:gdLst>
                <a:gd name="T0" fmla="*/ 3 w 59"/>
                <a:gd name="T1" fmla="*/ 40 h 64"/>
                <a:gd name="T2" fmla="*/ 38 w 59"/>
                <a:gd name="T3" fmla="*/ 7 h 64"/>
                <a:gd name="T4" fmla="*/ 51 w 59"/>
                <a:gd name="T5" fmla="*/ 0 h 64"/>
                <a:gd name="T6" fmla="*/ 54 w 59"/>
                <a:gd name="T7" fmla="*/ 23 h 64"/>
                <a:gd name="T8" fmla="*/ 25 w 59"/>
                <a:gd name="T9" fmla="*/ 50 h 64"/>
                <a:gd name="T10" fmla="*/ 3 w 59"/>
                <a:gd name="T11" fmla="*/ 4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64">
                  <a:moveTo>
                    <a:pt x="3" y="40"/>
                  </a:moveTo>
                  <a:cubicBezTo>
                    <a:pt x="3" y="40"/>
                    <a:pt x="3" y="6"/>
                    <a:pt x="38" y="7"/>
                  </a:cubicBezTo>
                  <a:cubicBezTo>
                    <a:pt x="41" y="7"/>
                    <a:pt x="47" y="0"/>
                    <a:pt x="51" y="0"/>
                  </a:cubicBezTo>
                  <a:cubicBezTo>
                    <a:pt x="51" y="0"/>
                    <a:pt x="59" y="5"/>
                    <a:pt x="54" y="23"/>
                  </a:cubicBezTo>
                  <a:cubicBezTo>
                    <a:pt x="54" y="23"/>
                    <a:pt x="53" y="39"/>
                    <a:pt x="25" y="50"/>
                  </a:cubicBezTo>
                  <a:cubicBezTo>
                    <a:pt x="25" y="50"/>
                    <a:pt x="0" y="64"/>
                    <a:pt x="3" y="40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E449A064-5FCF-56EE-9677-958FA6EFE2E6}"/>
              </a:ext>
            </a:extLst>
          </p:cNvPr>
          <p:cNvGrpSpPr/>
          <p:nvPr/>
        </p:nvGrpSpPr>
        <p:grpSpPr>
          <a:xfrm>
            <a:off x="7061829" y="2827239"/>
            <a:ext cx="385763" cy="384176"/>
            <a:chOff x="7446963" y="1568450"/>
            <a:chExt cx="385763" cy="384176"/>
          </a:xfrm>
        </p:grpSpPr>
        <p:sp>
          <p:nvSpPr>
            <p:cNvPr id="113" name="Freeform 5">
              <a:extLst>
                <a:ext uri="{FF2B5EF4-FFF2-40B4-BE49-F238E27FC236}">
                  <a16:creationId xmlns:a16="http://schemas.microsoft.com/office/drawing/2014/main" id="{0E26D771-B4BA-F29D-CDF3-83AAD6821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150" y="1568450"/>
              <a:ext cx="12700" cy="68263"/>
            </a:xfrm>
            <a:custGeom>
              <a:avLst/>
              <a:gdLst>
                <a:gd name="T0" fmla="*/ 5 w 5"/>
                <a:gd name="T1" fmla="*/ 27 h 27"/>
                <a:gd name="T2" fmla="*/ 5 w 5"/>
                <a:gd name="T3" fmla="*/ 20 h 27"/>
                <a:gd name="T4" fmla="*/ 2 w 5"/>
                <a:gd name="T5" fmla="*/ 14 h 27"/>
                <a:gd name="T6" fmla="*/ 0 w 5"/>
                <a:gd name="T7" fmla="*/ 9 h 27"/>
                <a:gd name="T8" fmla="*/ 0 w 5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7">
                  <a:moveTo>
                    <a:pt x="5" y="27"/>
                  </a:moveTo>
                  <a:cubicBezTo>
                    <a:pt x="5" y="25"/>
                    <a:pt x="5" y="23"/>
                    <a:pt x="5" y="20"/>
                  </a:cubicBezTo>
                  <a:cubicBezTo>
                    <a:pt x="5" y="18"/>
                    <a:pt x="4" y="16"/>
                    <a:pt x="2" y="14"/>
                  </a:cubicBezTo>
                  <a:cubicBezTo>
                    <a:pt x="0" y="13"/>
                    <a:pt x="0" y="11"/>
                    <a:pt x="0" y="9"/>
                  </a:cubicBezTo>
                  <a:cubicBezTo>
                    <a:pt x="0" y="6"/>
                    <a:pt x="0" y="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6">
              <a:extLst>
                <a:ext uri="{FF2B5EF4-FFF2-40B4-BE49-F238E27FC236}">
                  <a16:creationId xmlns:a16="http://schemas.microsoft.com/office/drawing/2014/main" id="{8210B4BC-F616-FBA9-3EFA-7E6D820FC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827213"/>
              <a:ext cx="68263" cy="12700"/>
            </a:xfrm>
            <a:custGeom>
              <a:avLst/>
              <a:gdLst>
                <a:gd name="T0" fmla="*/ 0 w 27"/>
                <a:gd name="T1" fmla="*/ 0 h 5"/>
                <a:gd name="T2" fmla="*/ 11 w 27"/>
                <a:gd name="T3" fmla="*/ 0 h 5"/>
                <a:gd name="T4" fmla="*/ 14 w 27"/>
                <a:gd name="T5" fmla="*/ 2 h 5"/>
                <a:gd name="T6" fmla="*/ 22 w 27"/>
                <a:gd name="T7" fmla="*/ 5 h 5"/>
                <a:gd name="T8" fmla="*/ 27 w 2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">
                  <a:moveTo>
                    <a:pt x="0" y="0"/>
                  </a:moveTo>
                  <a:cubicBezTo>
                    <a:pt x="4" y="0"/>
                    <a:pt x="7" y="0"/>
                    <a:pt x="11" y="0"/>
                  </a:cubicBezTo>
                  <a:cubicBezTo>
                    <a:pt x="12" y="0"/>
                    <a:pt x="13" y="1"/>
                    <a:pt x="14" y="2"/>
                  </a:cubicBezTo>
                  <a:cubicBezTo>
                    <a:pt x="16" y="4"/>
                    <a:pt x="19" y="5"/>
                    <a:pt x="22" y="5"/>
                  </a:cubicBezTo>
                  <a:cubicBezTo>
                    <a:pt x="24" y="5"/>
                    <a:pt x="25" y="5"/>
                    <a:pt x="27" y="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7">
              <a:extLst>
                <a:ext uri="{FF2B5EF4-FFF2-40B4-BE49-F238E27FC236}">
                  <a16:creationId xmlns:a16="http://schemas.microsoft.com/office/drawing/2014/main" id="{35A6C7E2-14A1-C65D-56E0-56DF396CD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2375" y="1568450"/>
              <a:ext cx="15875" cy="68263"/>
            </a:xfrm>
            <a:custGeom>
              <a:avLst/>
              <a:gdLst>
                <a:gd name="T0" fmla="*/ 5 w 6"/>
                <a:gd name="T1" fmla="*/ 27 h 27"/>
                <a:gd name="T2" fmla="*/ 5 w 6"/>
                <a:gd name="T3" fmla="*/ 24 h 27"/>
                <a:gd name="T4" fmla="*/ 5 w 6"/>
                <a:gd name="T5" fmla="*/ 20 h 27"/>
                <a:gd name="T6" fmla="*/ 2 w 6"/>
                <a:gd name="T7" fmla="*/ 11 h 27"/>
                <a:gd name="T8" fmla="*/ 0 w 6"/>
                <a:gd name="T9" fmla="*/ 8 h 27"/>
                <a:gd name="T10" fmla="*/ 1 w 6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27">
                  <a:moveTo>
                    <a:pt x="5" y="27"/>
                  </a:moveTo>
                  <a:cubicBezTo>
                    <a:pt x="5" y="26"/>
                    <a:pt x="5" y="25"/>
                    <a:pt x="5" y="24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6" y="16"/>
                    <a:pt x="5" y="13"/>
                    <a:pt x="2" y="11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1" y="5"/>
                    <a:pt x="1" y="3"/>
                    <a:pt x="1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8">
              <a:extLst>
                <a:ext uri="{FF2B5EF4-FFF2-40B4-BE49-F238E27FC236}">
                  <a16:creationId xmlns:a16="http://schemas.microsoft.com/office/drawing/2014/main" id="{97B2F89A-5ED0-B3FA-61FD-D7F1E324D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9675" y="1882775"/>
              <a:ext cx="12700" cy="69850"/>
            </a:xfrm>
            <a:custGeom>
              <a:avLst/>
              <a:gdLst>
                <a:gd name="T0" fmla="*/ 5 w 5"/>
                <a:gd name="T1" fmla="*/ 0 h 27"/>
                <a:gd name="T2" fmla="*/ 5 w 5"/>
                <a:gd name="T3" fmla="*/ 5 h 27"/>
                <a:gd name="T4" fmla="*/ 5 w 5"/>
                <a:gd name="T5" fmla="*/ 10 h 27"/>
                <a:gd name="T6" fmla="*/ 4 w 5"/>
                <a:gd name="T7" fmla="*/ 13 h 27"/>
                <a:gd name="T8" fmla="*/ 2 w 5"/>
                <a:gd name="T9" fmla="*/ 15 h 27"/>
                <a:gd name="T10" fmla="*/ 0 w 5"/>
                <a:gd name="T11" fmla="*/ 19 h 27"/>
                <a:gd name="T12" fmla="*/ 0 w 5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7">
                  <a:moveTo>
                    <a:pt x="5" y="0"/>
                  </a:moveTo>
                  <a:cubicBezTo>
                    <a:pt x="5" y="1"/>
                    <a:pt x="5" y="3"/>
                    <a:pt x="5" y="5"/>
                  </a:cubicBezTo>
                  <a:cubicBezTo>
                    <a:pt x="5" y="6"/>
                    <a:pt x="5" y="8"/>
                    <a:pt x="5" y="10"/>
                  </a:cubicBezTo>
                  <a:cubicBezTo>
                    <a:pt x="5" y="11"/>
                    <a:pt x="5" y="12"/>
                    <a:pt x="4" y="13"/>
                  </a:cubicBezTo>
                  <a:cubicBezTo>
                    <a:pt x="3" y="14"/>
                    <a:pt x="3" y="14"/>
                    <a:pt x="2" y="15"/>
                  </a:cubicBezTo>
                  <a:cubicBezTo>
                    <a:pt x="1" y="16"/>
                    <a:pt x="0" y="17"/>
                    <a:pt x="0" y="19"/>
                  </a:cubicBezTo>
                  <a:cubicBezTo>
                    <a:pt x="1" y="22"/>
                    <a:pt x="0" y="24"/>
                    <a:pt x="0" y="27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9">
              <a:extLst>
                <a:ext uri="{FF2B5EF4-FFF2-40B4-BE49-F238E27FC236}">
                  <a16:creationId xmlns:a16="http://schemas.microsoft.com/office/drawing/2014/main" id="{E5D358DF-F9B5-A29A-4F88-014B0A40F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803400"/>
              <a:ext cx="68263" cy="12700"/>
            </a:xfrm>
            <a:custGeom>
              <a:avLst/>
              <a:gdLst>
                <a:gd name="T0" fmla="*/ 0 w 27"/>
                <a:gd name="T1" fmla="*/ 0 h 5"/>
                <a:gd name="T2" fmla="*/ 2 w 27"/>
                <a:gd name="T3" fmla="*/ 0 h 5"/>
                <a:gd name="T4" fmla="*/ 12 w 27"/>
                <a:gd name="T5" fmla="*/ 0 h 5"/>
                <a:gd name="T6" fmla="*/ 16 w 27"/>
                <a:gd name="T7" fmla="*/ 1 h 5"/>
                <a:gd name="T8" fmla="*/ 24 w 27"/>
                <a:gd name="T9" fmla="*/ 4 h 5"/>
                <a:gd name="T10" fmla="*/ 27 w 27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5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9" y="0"/>
                    <a:pt x="12" y="0"/>
                  </a:cubicBezTo>
                  <a:cubicBezTo>
                    <a:pt x="14" y="0"/>
                    <a:pt x="15" y="0"/>
                    <a:pt x="16" y="1"/>
                  </a:cubicBezTo>
                  <a:cubicBezTo>
                    <a:pt x="18" y="4"/>
                    <a:pt x="21" y="5"/>
                    <a:pt x="24" y="4"/>
                  </a:cubicBezTo>
                  <a:cubicBezTo>
                    <a:pt x="25" y="4"/>
                    <a:pt x="26" y="4"/>
                    <a:pt x="27" y="4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">
              <a:extLst>
                <a:ext uri="{FF2B5EF4-FFF2-40B4-BE49-F238E27FC236}">
                  <a16:creationId xmlns:a16="http://schemas.microsoft.com/office/drawing/2014/main" id="{AFF95577-E174-DEC3-C3A5-952461DCB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7300" y="1882775"/>
              <a:ext cx="14288" cy="69850"/>
            </a:xfrm>
            <a:custGeom>
              <a:avLst/>
              <a:gdLst>
                <a:gd name="T0" fmla="*/ 5 w 5"/>
                <a:gd name="T1" fmla="*/ 0 h 27"/>
                <a:gd name="T2" fmla="*/ 5 w 5"/>
                <a:gd name="T3" fmla="*/ 2 h 27"/>
                <a:gd name="T4" fmla="*/ 5 w 5"/>
                <a:gd name="T5" fmla="*/ 15 h 27"/>
                <a:gd name="T6" fmla="*/ 4 w 5"/>
                <a:gd name="T7" fmla="*/ 18 h 27"/>
                <a:gd name="T8" fmla="*/ 0 w 5"/>
                <a:gd name="T9" fmla="*/ 26 h 27"/>
                <a:gd name="T10" fmla="*/ 0 w 5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27">
                  <a:moveTo>
                    <a:pt x="5" y="0"/>
                  </a:moveTo>
                  <a:cubicBezTo>
                    <a:pt x="5" y="0"/>
                    <a:pt x="5" y="1"/>
                    <a:pt x="5" y="2"/>
                  </a:cubicBezTo>
                  <a:cubicBezTo>
                    <a:pt x="5" y="6"/>
                    <a:pt x="5" y="10"/>
                    <a:pt x="5" y="15"/>
                  </a:cubicBezTo>
                  <a:cubicBezTo>
                    <a:pt x="5" y="16"/>
                    <a:pt x="5" y="17"/>
                    <a:pt x="4" y="18"/>
                  </a:cubicBezTo>
                  <a:cubicBezTo>
                    <a:pt x="1" y="20"/>
                    <a:pt x="0" y="23"/>
                    <a:pt x="0" y="26"/>
                  </a:cubicBezTo>
                  <a:cubicBezTo>
                    <a:pt x="0" y="26"/>
                    <a:pt x="0" y="27"/>
                    <a:pt x="0" y="27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1">
              <a:extLst>
                <a:ext uri="{FF2B5EF4-FFF2-40B4-BE49-F238E27FC236}">
                  <a16:creationId xmlns:a16="http://schemas.microsoft.com/office/drawing/2014/main" id="{5EDEB9C5-F98F-05E8-FA94-F1740FD17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963" y="1836738"/>
              <a:ext cx="71438" cy="12700"/>
            </a:xfrm>
            <a:custGeom>
              <a:avLst/>
              <a:gdLst>
                <a:gd name="T0" fmla="*/ 28 w 28"/>
                <a:gd name="T1" fmla="*/ 0 h 5"/>
                <a:gd name="T2" fmla="*/ 20 w 28"/>
                <a:gd name="T3" fmla="*/ 0 h 5"/>
                <a:gd name="T4" fmla="*/ 15 w 28"/>
                <a:gd name="T5" fmla="*/ 2 h 5"/>
                <a:gd name="T6" fmla="*/ 13 w 28"/>
                <a:gd name="T7" fmla="*/ 4 h 5"/>
                <a:gd name="T8" fmla="*/ 11 w 28"/>
                <a:gd name="T9" fmla="*/ 5 h 5"/>
                <a:gd name="T10" fmla="*/ 0 w 28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5">
                  <a:moveTo>
                    <a:pt x="28" y="0"/>
                  </a:moveTo>
                  <a:cubicBezTo>
                    <a:pt x="25" y="0"/>
                    <a:pt x="22" y="1"/>
                    <a:pt x="20" y="0"/>
                  </a:cubicBezTo>
                  <a:cubicBezTo>
                    <a:pt x="18" y="0"/>
                    <a:pt x="17" y="1"/>
                    <a:pt x="15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3" y="5"/>
                    <a:pt x="12" y="5"/>
                    <a:pt x="11" y="5"/>
                  </a:cubicBezTo>
                  <a:cubicBezTo>
                    <a:pt x="8" y="5"/>
                    <a:pt x="4" y="5"/>
                    <a:pt x="0" y="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2">
              <a:extLst>
                <a:ext uri="{FF2B5EF4-FFF2-40B4-BE49-F238E27FC236}">
                  <a16:creationId xmlns:a16="http://schemas.microsoft.com/office/drawing/2014/main" id="{0660C7E6-54E1-6E60-D61E-D7C927BF2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1900" y="1882775"/>
              <a:ext cx="15875" cy="69850"/>
            </a:xfrm>
            <a:custGeom>
              <a:avLst/>
              <a:gdLst>
                <a:gd name="T0" fmla="*/ 5 w 6"/>
                <a:gd name="T1" fmla="*/ 0 h 27"/>
                <a:gd name="T2" fmla="*/ 6 w 6"/>
                <a:gd name="T3" fmla="*/ 2 h 27"/>
                <a:gd name="T4" fmla="*/ 6 w 6"/>
                <a:gd name="T5" fmla="*/ 12 h 27"/>
                <a:gd name="T6" fmla="*/ 4 w 6"/>
                <a:gd name="T7" fmla="*/ 16 h 27"/>
                <a:gd name="T8" fmla="*/ 1 w 6"/>
                <a:gd name="T9" fmla="*/ 24 h 27"/>
                <a:gd name="T10" fmla="*/ 1 w 6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27">
                  <a:moveTo>
                    <a:pt x="5" y="0"/>
                  </a:moveTo>
                  <a:cubicBezTo>
                    <a:pt x="5" y="0"/>
                    <a:pt x="6" y="1"/>
                    <a:pt x="6" y="2"/>
                  </a:cubicBezTo>
                  <a:cubicBezTo>
                    <a:pt x="6" y="5"/>
                    <a:pt x="6" y="9"/>
                    <a:pt x="6" y="12"/>
                  </a:cubicBezTo>
                  <a:cubicBezTo>
                    <a:pt x="6" y="14"/>
                    <a:pt x="5" y="15"/>
                    <a:pt x="4" y="16"/>
                  </a:cubicBezTo>
                  <a:cubicBezTo>
                    <a:pt x="1" y="18"/>
                    <a:pt x="0" y="21"/>
                    <a:pt x="1" y="24"/>
                  </a:cubicBezTo>
                  <a:cubicBezTo>
                    <a:pt x="1" y="25"/>
                    <a:pt x="1" y="26"/>
                    <a:pt x="1" y="27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3">
              <a:extLst>
                <a:ext uri="{FF2B5EF4-FFF2-40B4-BE49-F238E27FC236}">
                  <a16:creationId xmlns:a16="http://schemas.microsoft.com/office/drawing/2014/main" id="{197C77CB-4EF9-3563-2304-B3697BF09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963" y="1814513"/>
              <a:ext cx="71438" cy="12700"/>
            </a:xfrm>
            <a:custGeom>
              <a:avLst/>
              <a:gdLst>
                <a:gd name="T0" fmla="*/ 28 w 28"/>
                <a:gd name="T1" fmla="*/ 0 h 5"/>
                <a:gd name="T2" fmla="*/ 19 w 28"/>
                <a:gd name="T3" fmla="*/ 0 h 5"/>
                <a:gd name="T4" fmla="*/ 12 w 28"/>
                <a:gd name="T5" fmla="*/ 3 h 5"/>
                <a:gd name="T6" fmla="*/ 7 w 28"/>
                <a:gd name="T7" fmla="*/ 5 h 5"/>
                <a:gd name="T8" fmla="*/ 0 w 28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5">
                  <a:moveTo>
                    <a:pt x="28" y="0"/>
                  </a:moveTo>
                  <a:cubicBezTo>
                    <a:pt x="25" y="0"/>
                    <a:pt x="22" y="0"/>
                    <a:pt x="19" y="0"/>
                  </a:cubicBezTo>
                  <a:cubicBezTo>
                    <a:pt x="16" y="0"/>
                    <a:pt x="14" y="0"/>
                    <a:pt x="12" y="3"/>
                  </a:cubicBezTo>
                  <a:cubicBezTo>
                    <a:pt x="11" y="4"/>
                    <a:pt x="9" y="5"/>
                    <a:pt x="7" y="5"/>
                  </a:cubicBezTo>
                  <a:cubicBezTo>
                    <a:pt x="5" y="5"/>
                    <a:pt x="3" y="5"/>
                    <a:pt x="0" y="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4">
              <a:extLst>
                <a:ext uri="{FF2B5EF4-FFF2-40B4-BE49-F238E27FC236}">
                  <a16:creationId xmlns:a16="http://schemas.microsoft.com/office/drawing/2014/main" id="{97CAA3AF-8361-645A-1C40-B30080337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775" y="1568450"/>
              <a:ext cx="12700" cy="68263"/>
            </a:xfrm>
            <a:custGeom>
              <a:avLst/>
              <a:gdLst>
                <a:gd name="T0" fmla="*/ 5 w 5"/>
                <a:gd name="T1" fmla="*/ 27 h 27"/>
                <a:gd name="T2" fmla="*/ 5 w 5"/>
                <a:gd name="T3" fmla="*/ 25 h 27"/>
                <a:gd name="T4" fmla="*/ 5 w 5"/>
                <a:gd name="T5" fmla="*/ 15 h 27"/>
                <a:gd name="T6" fmla="*/ 3 w 5"/>
                <a:gd name="T7" fmla="*/ 10 h 27"/>
                <a:gd name="T8" fmla="*/ 2 w 5"/>
                <a:gd name="T9" fmla="*/ 9 h 27"/>
                <a:gd name="T10" fmla="*/ 0 w 5"/>
                <a:gd name="T11" fmla="*/ 5 h 27"/>
                <a:gd name="T12" fmla="*/ 0 w 5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7">
                  <a:moveTo>
                    <a:pt x="5" y="27"/>
                  </a:moveTo>
                  <a:cubicBezTo>
                    <a:pt x="5" y="27"/>
                    <a:pt x="5" y="26"/>
                    <a:pt x="5" y="25"/>
                  </a:cubicBezTo>
                  <a:cubicBezTo>
                    <a:pt x="5" y="22"/>
                    <a:pt x="5" y="18"/>
                    <a:pt x="5" y="15"/>
                  </a:cubicBezTo>
                  <a:cubicBezTo>
                    <a:pt x="5" y="13"/>
                    <a:pt x="4" y="11"/>
                    <a:pt x="3" y="10"/>
                  </a:cubicBezTo>
                  <a:cubicBezTo>
                    <a:pt x="2" y="10"/>
                    <a:pt x="2" y="9"/>
                    <a:pt x="2" y="9"/>
                  </a:cubicBezTo>
                  <a:cubicBezTo>
                    <a:pt x="0" y="8"/>
                    <a:pt x="0" y="7"/>
                    <a:pt x="0" y="5"/>
                  </a:cubicBezTo>
                  <a:cubicBezTo>
                    <a:pt x="0" y="3"/>
                    <a:pt x="0" y="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15">
              <a:extLst>
                <a:ext uri="{FF2B5EF4-FFF2-40B4-BE49-F238E27FC236}">
                  <a16:creationId xmlns:a16="http://schemas.microsoft.com/office/drawing/2014/main" id="{7F17FF03-F76D-19E1-E57B-B2F167605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8875" y="1627188"/>
              <a:ext cx="41275" cy="41275"/>
            </a:xfrm>
            <a:custGeom>
              <a:avLst/>
              <a:gdLst>
                <a:gd name="T0" fmla="*/ 0 w 16"/>
                <a:gd name="T1" fmla="*/ 16 h 16"/>
                <a:gd name="T2" fmla="*/ 0 w 16"/>
                <a:gd name="T3" fmla="*/ 0 h 16"/>
                <a:gd name="T4" fmla="*/ 16 w 16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16"/>
                  </a:moveTo>
                  <a:cubicBezTo>
                    <a:pt x="0" y="11"/>
                    <a:pt x="0" y="6"/>
                    <a:pt x="0" y="0"/>
                  </a:cubicBezTo>
                  <a:cubicBezTo>
                    <a:pt x="5" y="0"/>
                    <a:pt x="10" y="0"/>
                    <a:pt x="16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Freeform 16">
              <a:extLst>
                <a:ext uri="{FF2B5EF4-FFF2-40B4-BE49-F238E27FC236}">
                  <a16:creationId xmlns:a16="http://schemas.microsoft.com/office/drawing/2014/main" id="{0C580D5E-F8DF-D0BF-F83C-5C02814DE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5700" y="1852613"/>
              <a:ext cx="44450" cy="41275"/>
            </a:xfrm>
            <a:custGeom>
              <a:avLst/>
              <a:gdLst>
                <a:gd name="T0" fmla="*/ 17 w 17"/>
                <a:gd name="T1" fmla="*/ 16 h 16"/>
                <a:gd name="T2" fmla="*/ 1 w 17"/>
                <a:gd name="T3" fmla="*/ 16 h 16"/>
                <a:gd name="T4" fmla="*/ 1 w 17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17" y="16"/>
                  </a:moveTo>
                  <a:cubicBezTo>
                    <a:pt x="12" y="16"/>
                    <a:pt x="6" y="16"/>
                    <a:pt x="1" y="16"/>
                  </a:cubicBezTo>
                  <a:cubicBezTo>
                    <a:pt x="0" y="10"/>
                    <a:pt x="0" y="5"/>
                    <a:pt x="1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7">
              <a:extLst>
                <a:ext uri="{FF2B5EF4-FFF2-40B4-BE49-F238E27FC236}">
                  <a16:creationId xmlns:a16="http://schemas.microsoft.com/office/drawing/2014/main" id="{8A3F9B93-CCCA-B9F6-F2F2-B41A78435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963" y="1789113"/>
              <a:ext cx="71438" cy="14288"/>
            </a:xfrm>
            <a:custGeom>
              <a:avLst/>
              <a:gdLst>
                <a:gd name="T0" fmla="*/ 28 w 28"/>
                <a:gd name="T1" fmla="*/ 1 h 6"/>
                <a:gd name="T2" fmla="*/ 21 w 28"/>
                <a:gd name="T3" fmla="*/ 1 h 6"/>
                <a:gd name="T4" fmla="*/ 15 w 28"/>
                <a:gd name="T5" fmla="*/ 1 h 6"/>
                <a:gd name="T6" fmla="*/ 11 w 28"/>
                <a:gd name="T7" fmla="*/ 2 h 6"/>
                <a:gd name="T8" fmla="*/ 2 w 28"/>
                <a:gd name="T9" fmla="*/ 5 h 6"/>
                <a:gd name="T10" fmla="*/ 0 w 28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6">
                  <a:moveTo>
                    <a:pt x="28" y="1"/>
                  </a:moveTo>
                  <a:cubicBezTo>
                    <a:pt x="25" y="1"/>
                    <a:pt x="23" y="1"/>
                    <a:pt x="21" y="1"/>
                  </a:cubicBezTo>
                  <a:cubicBezTo>
                    <a:pt x="19" y="1"/>
                    <a:pt x="17" y="1"/>
                    <a:pt x="15" y="1"/>
                  </a:cubicBezTo>
                  <a:cubicBezTo>
                    <a:pt x="13" y="0"/>
                    <a:pt x="12" y="1"/>
                    <a:pt x="11" y="2"/>
                  </a:cubicBezTo>
                  <a:cubicBezTo>
                    <a:pt x="9" y="5"/>
                    <a:pt x="5" y="6"/>
                    <a:pt x="2" y="5"/>
                  </a:cubicBezTo>
                  <a:cubicBezTo>
                    <a:pt x="1" y="5"/>
                    <a:pt x="1" y="5"/>
                    <a:pt x="0" y="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Freeform 18">
              <a:extLst>
                <a:ext uri="{FF2B5EF4-FFF2-40B4-BE49-F238E27FC236}">
                  <a16:creationId xmlns:a16="http://schemas.microsoft.com/office/drawing/2014/main" id="{B5D6F5CB-264B-9743-A331-7749592DF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1125" y="1852613"/>
              <a:ext cx="39688" cy="41275"/>
            </a:xfrm>
            <a:custGeom>
              <a:avLst/>
              <a:gdLst>
                <a:gd name="T0" fmla="*/ 16 w 16"/>
                <a:gd name="T1" fmla="*/ 0 h 16"/>
                <a:gd name="T2" fmla="*/ 16 w 16"/>
                <a:gd name="T3" fmla="*/ 16 h 16"/>
                <a:gd name="T4" fmla="*/ 0 w 16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16" y="0"/>
                  </a:moveTo>
                  <a:cubicBezTo>
                    <a:pt x="16" y="2"/>
                    <a:pt x="16" y="12"/>
                    <a:pt x="16" y="16"/>
                  </a:cubicBezTo>
                  <a:cubicBezTo>
                    <a:pt x="11" y="16"/>
                    <a:pt x="5" y="16"/>
                    <a:pt x="0" y="16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Freeform 19">
              <a:extLst>
                <a:ext uri="{FF2B5EF4-FFF2-40B4-BE49-F238E27FC236}">
                  <a16:creationId xmlns:a16="http://schemas.microsoft.com/office/drawing/2014/main" id="{FB0FC38D-B953-EFBA-3E7C-5118F2C3C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778000"/>
              <a:ext cx="68263" cy="12700"/>
            </a:xfrm>
            <a:custGeom>
              <a:avLst/>
              <a:gdLst>
                <a:gd name="T0" fmla="*/ 0 w 27"/>
                <a:gd name="T1" fmla="*/ 1 h 5"/>
                <a:gd name="T2" fmla="*/ 2 w 27"/>
                <a:gd name="T3" fmla="*/ 0 h 5"/>
                <a:gd name="T4" fmla="*/ 15 w 27"/>
                <a:gd name="T5" fmla="*/ 0 h 5"/>
                <a:gd name="T6" fmla="*/ 18 w 27"/>
                <a:gd name="T7" fmla="*/ 2 h 5"/>
                <a:gd name="T8" fmla="*/ 20 w 27"/>
                <a:gd name="T9" fmla="*/ 3 h 5"/>
                <a:gd name="T10" fmla="*/ 24 w 27"/>
                <a:gd name="T11" fmla="*/ 5 h 5"/>
                <a:gd name="T12" fmla="*/ 27 w 27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5">
                  <a:moveTo>
                    <a:pt x="0" y="1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1" y="0"/>
                    <a:pt x="15" y="0"/>
                  </a:cubicBezTo>
                  <a:cubicBezTo>
                    <a:pt x="16" y="0"/>
                    <a:pt x="18" y="1"/>
                    <a:pt x="18" y="2"/>
                  </a:cubicBezTo>
                  <a:cubicBezTo>
                    <a:pt x="19" y="2"/>
                    <a:pt x="19" y="3"/>
                    <a:pt x="20" y="3"/>
                  </a:cubicBezTo>
                  <a:cubicBezTo>
                    <a:pt x="21" y="5"/>
                    <a:pt x="22" y="5"/>
                    <a:pt x="24" y="5"/>
                  </a:cubicBezTo>
                  <a:cubicBezTo>
                    <a:pt x="25" y="5"/>
                    <a:pt x="26" y="5"/>
                    <a:pt x="27" y="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Freeform 20">
              <a:extLst>
                <a:ext uri="{FF2B5EF4-FFF2-40B4-BE49-F238E27FC236}">
                  <a16:creationId xmlns:a16="http://schemas.microsoft.com/office/drawing/2014/main" id="{FF607919-768F-60A1-2DB9-56E6C6275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670050"/>
              <a:ext cx="71438" cy="14288"/>
            </a:xfrm>
            <a:custGeom>
              <a:avLst/>
              <a:gdLst>
                <a:gd name="T0" fmla="*/ 0 w 28"/>
                <a:gd name="T1" fmla="*/ 5 h 5"/>
                <a:gd name="T2" fmla="*/ 7 w 28"/>
                <a:gd name="T3" fmla="*/ 5 h 5"/>
                <a:gd name="T4" fmla="*/ 13 w 28"/>
                <a:gd name="T5" fmla="*/ 2 h 5"/>
                <a:gd name="T6" fmla="*/ 19 w 28"/>
                <a:gd name="T7" fmla="*/ 0 h 5"/>
                <a:gd name="T8" fmla="*/ 28 w 28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5">
                  <a:moveTo>
                    <a:pt x="0" y="5"/>
                  </a:moveTo>
                  <a:cubicBezTo>
                    <a:pt x="2" y="5"/>
                    <a:pt x="5" y="4"/>
                    <a:pt x="7" y="5"/>
                  </a:cubicBezTo>
                  <a:cubicBezTo>
                    <a:pt x="9" y="5"/>
                    <a:pt x="11" y="4"/>
                    <a:pt x="13" y="2"/>
                  </a:cubicBezTo>
                  <a:cubicBezTo>
                    <a:pt x="14" y="0"/>
                    <a:pt x="16" y="0"/>
                    <a:pt x="19" y="0"/>
                  </a:cubicBezTo>
                  <a:cubicBezTo>
                    <a:pt x="21" y="0"/>
                    <a:pt x="24" y="0"/>
                    <a:pt x="28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21">
              <a:extLst>
                <a:ext uri="{FF2B5EF4-FFF2-40B4-BE49-F238E27FC236}">
                  <a16:creationId xmlns:a16="http://schemas.microsoft.com/office/drawing/2014/main" id="{3E3E18C2-19F5-4305-5F2C-50BFB1DBB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1125" y="1627188"/>
              <a:ext cx="39688" cy="41275"/>
            </a:xfrm>
            <a:custGeom>
              <a:avLst/>
              <a:gdLst>
                <a:gd name="T0" fmla="*/ 0 w 16"/>
                <a:gd name="T1" fmla="*/ 0 h 16"/>
                <a:gd name="T2" fmla="*/ 16 w 16"/>
                <a:gd name="T3" fmla="*/ 0 h 16"/>
                <a:gd name="T4" fmla="*/ 16 w 16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6">
                  <a:moveTo>
                    <a:pt x="0" y="0"/>
                  </a:moveTo>
                  <a:cubicBezTo>
                    <a:pt x="5" y="0"/>
                    <a:pt x="10" y="0"/>
                    <a:pt x="16" y="0"/>
                  </a:cubicBezTo>
                  <a:cubicBezTo>
                    <a:pt x="16" y="2"/>
                    <a:pt x="16" y="12"/>
                    <a:pt x="16" y="16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22">
              <a:extLst>
                <a:ext uri="{FF2B5EF4-FFF2-40B4-BE49-F238E27FC236}">
                  <a16:creationId xmlns:a16="http://schemas.microsoft.com/office/drawing/2014/main" id="{F5821253-6E8F-CA52-C6E4-9D979C915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963" y="1668463"/>
              <a:ext cx="71438" cy="15875"/>
            </a:xfrm>
            <a:custGeom>
              <a:avLst/>
              <a:gdLst>
                <a:gd name="T0" fmla="*/ 0 w 28"/>
                <a:gd name="T1" fmla="*/ 1 h 6"/>
                <a:gd name="T2" fmla="*/ 4 w 28"/>
                <a:gd name="T3" fmla="*/ 1 h 6"/>
                <a:gd name="T4" fmla="*/ 8 w 28"/>
                <a:gd name="T5" fmla="*/ 1 h 6"/>
                <a:gd name="T6" fmla="*/ 16 w 28"/>
                <a:gd name="T7" fmla="*/ 4 h 6"/>
                <a:gd name="T8" fmla="*/ 19 w 28"/>
                <a:gd name="T9" fmla="*/ 6 h 6"/>
                <a:gd name="T10" fmla="*/ 28 w 2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6">
                  <a:moveTo>
                    <a:pt x="0" y="1"/>
                  </a:moveTo>
                  <a:cubicBezTo>
                    <a:pt x="1" y="1"/>
                    <a:pt x="3" y="1"/>
                    <a:pt x="4" y="1"/>
                  </a:cubicBezTo>
                  <a:cubicBezTo>
                    <a:pt x="5" y="1"/>
                    <a:pt x="6" y="1"/>
                    <a:pt x="8" y="1"/>
                  </a:cubicBezTo>
                  <a:cubicBezTo>
                    <a:pt x="11" y="0"/>
                    <a:pt x="14" y="1"/>
                    <a:pt x="16" y="4"/>
                  </a:cubicBezTo>
                  <a:cubicBezTo>
                    <a:pt x="17" y="5"/>
                    <a:pt x="18" y="6"/>
                    <a:pt x="19" y="6"/>
                  </a:cubicBezTo>
                  <a:cubicBezTo>
                    <a:pt x="22" y="5"/>
                    <a:pt x="25" y="6"/>
                    <a:pt x="28" y="6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Freeform 23">
              <a:extLst>
                <a:ext uri="{FF2B5EF4-FFF2-40B4-BE49-F238E27FC236}">
                  <a16:creationId xmlns:a16="http://schemas.microsoft.com/office/drawing/2014/main" id="{F675EF46-BD0F-7032-734C-5C8C4C286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963" y="1693863"/>
              <a:ext cx="71438" cy="12700"/>
            </a:xfrm>
            <a:custGeom>
              <a:avLst/>
              <a:gdLst>
                <a:gd name="T0" fmla="*/ 0 w 28"/>
                <a:gd name="T1" fmla="*/ 0 h 5"/>
                <a:gd name="T2" fmla="*/ 10 w 28"/>
                <a:gd name="T3" fmla="*/ 0 h 5"/>
                <a:gd name="T4" fmla="*/ 12 w 28"/>
                <a:gd name="T5" fmla="*/ 2 h 5"/>
                <a:gd name="T6" fmla="*/ 19 w 28"/>
                <a:gd name="T7" fmla="*/ 5 h 5"/>
                <a:gd name="T8" fmla="*/ 28 w 28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5">
                  <a:moveTo>
                    <a:pt x="0" y="0"/>
                  </a:moveTo>
                  <a:cubicBezTo>
                    <a:pt x="3" y="0"/>
                    <a:pt x="6" y="0"/>
                    <a:pt x="10" y="0"/>
                  </a:cubicBezTo>
                  <a:cubicBezTo>
                    <a:pt x="10" y="0"/>
                    <a:pt x="11" y="1"/>
                    <a:pt x="12" y="2"/>
                  </a:cubicBezTo>
                  <a:cubicBezTo>
                    <a:pt x="14" y="4"/>
                    <a:pt x="16" y="5"/>
                    <a:pt x="19" y="5"/>
                  </a:cubicBezTo>
                  <a:cubicBezTo>
                    <a:pt x="22" y="5"/>
                    <a:pt x="25" y="5"/>
                    <a:pt x="28" y="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Freeform 24">
              <a:extLst>
                <a:ext uri="{FF2B5EF4-FFF2-40B4-BE49-F238E27FC236}">
                  <a16:creationId xmlns:a16="http://schemas.microsoft.com/office/drawing/2014/main" id="{3E46FE2F-7CD6-12D1-AB3E-B0A1A91CC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9213" y="1882775"/>
              <a:ext cx="12700" cy="69850"/>
            </a:xfrm>
            <a:custGeom>
              <a:avLst/>
              <a:gdLst>
                <a:gd name="T0" fmla="*/ 0 w 5"/>
                <a:gd name="T1" fmla="*/ 0 h 27"/>
                <a:gd name="T2" fmla="*/ 0 w 5"/>
                <a:gd name="T3" fmla="*/ 2 h 27"/>
                <a:gd name="T4" fmla="*/ 0 w 5"/>
                <a:gd name="T5" fmla="*/ 13 h 27"/>
                <a:gd name="T6" fmla="*/ 1 w 5"/>
                <a:gd name="T7" fmla="*/ 16 h 27"/>
                <a:gd name="T8" fmla="*/ 4 w 5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7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6"/>
                    <a:pt x="0" y="9"/>
                    <a:pt x="0" y="13"/>
                  </a:cubicBezTo>
                  <a:cubicBezTo>
                    <a:pt x="0" y="14"/>
                    <a:pt x="0" y="15"/>
                    <a:pt x="1" y="16"/>
                  </a:cubicBezTo>
                  <a:cubicBezTo>
                    <a:pt x="5" y="19"/>
                    <a:pt x="5" y="23"/>
                    <a:pt x="4" y="27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Freeform 25">
              <a:extLst>
                <a:ext uri="{FF2B5EF4-FFF2-40B4-BE49-F238E27FC236}">
                  <a16:creationId xmlns:a16="http://schemas.microsoft.com/office/drawing/2014/main" id="{B7A0772E-10B9-58AC-CBA8-BB0EA541A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3025" y="1882775"/>
              <a:ext cx="12700" cy="69850"/>
            </a:xfrm>
            <a:custGeom>
              <a:avLst/>
              <a:gdLst>
                <a:gd name="T0" fmla="*/ 0 w 5"/>
                <a:gd name="T1" fmla="*/ 0 h 27"/>
                <a:gd name="T2" fmla="*/ 0 w 5"/>
                <a:gd name="T3" fmla="*/ 2 h 27"/>
                <a:gd name="T4" fmla="*/ 0 w 5"/>
                <a:gd name="T5" fmla="*/ 7 h 27"/>
                <a:gd name="T6" fmla="*/ 4 w 5"/>
                <a:gd name="T7" fmla="*/ 16 h 27"/>
                <a:gd name="T8" fmla="*/ 5 w 5"/>
                <a:gd name="T9" fmla="*/ 18 h 27"/>
                <a:gd name="T10" fmla="*/ 5 w 5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27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0" y="5"/>
                    <a:pt x="0" y="7"/>
                  </a:cubicBezTo>
                  <a:cubicBezTo>
                    <a:pt x="0" y="11"/>
                    <a:pt x="1" y="14"/>
                    <a:pt x="4" y="16"/>
                  </a:cubicBezTo>
                  <a:cubicBezTo>
                    <a:pt x="4" y="16"/>
                    <a:pt x="5" y="17"/>
                    <a:pt x="5" y="18"/>
                  </a:cubicBezTo>
                  <a:cubicBezTo>
                    <a:pt x="5" y="21"/>
                    <a:pt x="5" y="24"/>
                    <a:pt x="5" y="27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26">
              <a:extLst>
                <a:ext uri="{FF2B5EF4-FFF2-40B4-BE49-F238E27FC236}">
                  <a16:creationId xmlns:a16="http://schemas.microsoft.com/office/drawing/2014/main" id="{9FE690CA-6DE4-9EB0-5E27-F401143DE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963" y="1719263"/>
              <a:ext cx="71438" cy="12700"/>
            </a:xfrm>
            <a:custGeom>
              <a:avLst/>
              <a:gdLst>
                <a:gd name="T0" fmla="*/ 0 w 28"/>
                <a:gd name="T1" fmla="*/ 0 h 5"/>
                <a:gd name="T2" fmla="*/ 7 w 28"/>
                <a:gd name="T3" fmla="*/ 0 h 5"/>
                <a:gd name="T4" fmla="*/ 9 w 28"/>
                <a:gd name="T5" fmla="*/ 1 h 5"/>
                <a:gd name="T6" fmla="*/ 10 w 28"/>
                <a:gd name="T7" fmla="*/ 2 h 5"/>
                <a:gd name="T8" fmla="*/ 15 w 28"/>
                <a:gd name="T9" fmla="*/ 4 h 5"/>
                <a:gd name="T10" fmla="*/ 25 w 28"/>
                <a:gd name="T11" fmla="*/ 4 h 5"/>
                <a:gd name="T12" fmla="*/ 28 w 2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5">
                  <a:moveTo>
                    <a:pt x="0" y="0"/>
                  </a:moveTo>
                  <a:cubicBezTo>
                    <a:pt x="3" y="0"/>
                    <a:pt x="5" y="0"/>
                    <a:pt x="7" y="0"/>
                  </a:cubicBezTo>
                  <a:cubicBezTo>
                    <a:pt x="8" y="0"/>
                    <a:pt x="8" y="0"/>
                    <a:pt x="9" y="1"/>
                  </a:cubicBezTo>
                  <a:cubicBezTo>
                    <a:pt x="9" y="1"/>
                    <a:pt x="10" y="2"/>
                    <a:pt x="10" y="2"/>
                  </a:cubicBezTo>
                  <a:cubicBezTo>
                    <a:pt x="12" y="4"/>
                    <a:pt x="13" y="5"/>
                    <a:pt x="15" y="4"/>
                  </a:cubicBezTo>
                  <a:cubicBezTo>
                    <a:pt x="18" y="4"/>
                    <a:pt x="21" y="4"/>
                    <a:pt x="25" y="4"/>
                  </a:cubicBezTo>
                  <a:cubicBezTo>
                    <a:pt x="26" y="4"/>
                    <a:pt x="26" y="5"/>
                    <a:pt x="28" y="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27">
              <a:extLst>
                <a:ext uri="{FF2B5EF4-FFF2-40B4-BE49-F238E27FC236}">
                  <a16:creationId xmlns:a16="http://schemas.microsoft.com/office/drawing/2014/main" id="{55C5EB82-27A7-8685-60CE-11B23C46B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693863"/>
              <a:ext cx="68263" cy="12700"/>
            </a:xfrm>
            <a:custGeom>
              <a:avLst/>
              <a:gdLst>
                <a:gd name="T0" fmla="*/ 0 w 27"/>
                <a:gd name="T1" fmla="*/ 5 h 5"/>
                <a:gd name="T2" fmla="*/ 4 w 27"/>
                <a:gd name="T3" fmla="*/ 5 h 5"/>
                <a:gd name="T4" fmla="*/ 8 w 27"/>
                <a:gd name="T5" fmla="*/ 5 h 5"/>
                <a:gd name="T6" fmla="*/ 16 w 27"/>
                <a:gd name="T7" fmla="*/ 2 h 5"/>
                <a:gd name="T8" fmla="*/ 20 w 27"/>
                <a:gd name="T9" fmla="*/ 0 h 5"/>
                <a:gd name="T10" fmla="*/ 27 w 27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5">
                  <a:moveTo>
                    <a:pt x="0" y="5"/>
                  </a:moveTo>
                  <a:cubicBezTo>
                    <a:pt x="1" y="5"/>
                    <a:pt x="2" y="5"/>
                    <a:pt x="4" y="5"/>
                  </a:cubicBezTo>
                  <a:cubicBezTo>
                    <a:pt x="5" y="5"/>
                    <a:pt x="6" y="5"/>
                    <a:pt x="8" y="5"/>
                  </a:cubicBezTo>
                  <a:cubicBezTo>
                    <a:pt x="11" y="5"/>
                    <a:pt x="14" y="5"/>
                    <a:pt x="16" y="2"/>
                  </a:cubicBezTo>
                  <a:cubicBezTo>
                    <a:pt x="17" y="0"/>
                    <a:pt x="18" y="0"/>
                    <a:pt x="20" y="0"/>
                  </a:cubicBezTo>
                  <a:cubicBezTo>
                    <a:pt x="22" y="0"/>
                    <a:pt x="25" y="0"/>
                    <a:pt x="27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Line 28">
              <a:extLst>
                <a:ext uri="{FF2B5EF4-FFF2-40B4-BE49-F238E27FC236}">
                  <a16:creationId xmlns:a16="http://schemas.microsoft.com/office/drawing/2014/main" id="{6C73D31A-63BD-58EA-9D14-3542D08BD3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86688" y="1716088"/>
              <a:ext cx="0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Freeform 29">
              <a:extLst>
                <a:ext uri="{FF2B5EF4-FFF2-40B4-BE49-F238E27FC236}">
                  <a16:creationId xmlns:a16="http://schemas.microsoft.com/office/drawing/2014/main" id="{8AB1BE3A-F999-D233-E45B-45D5C04A9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725" y="1568450"/>
              <a:ext cx="12700" cy="68263"/>
            </a:xfrm>
            <a:custGeom>
              <a:avLst/>
              <a:gdLst>
                <a:gd name="T0" fmla="*/ 1 w 5"/>
                <a:gd name="T1" fmla="*/ 27 h 27"/>
                <a:gd name="T2" fmla="*/ 0 w 5"/>
                <a:gd name="T3" fmla="*/ 25 h 27"/>
                <a:gd name="T4" fmla="*/ 0 w 5"/>
                <a:gd name="T5" fmla="*/ 20 h 27"/>
                <a:gd name="T6" fmla="*/ 4 w 5"/>
                <a:gd name="T7" fmla="*/ 12 h 27"/>
                <a:gd name="T8" fmla="*/ 5 w 5"/>
                <a:gd name="T9" fmla="*/ 8 h 27"/>
                <a:gd name="T10" fmla="*/ 5 w 5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27">
                  <a:moveTo>
                    <a:pt x="1" y="27"/>
                  </a:moveTo>
                  <a:cubicBezTo>
                    <a:pt x="1" y="26"/>
                    <a:pt x="1" y="26"/>
                    <a:pt x="0" y="25"/>
                  </a:cubicBezTo>
                  <a:cubicBezTo>
                    <a:pt x="0" y="23"/>
                    <a:pt x="1" y="22"/>
                    <a:pt x="0" y="20"/>
                  </a:cubicBezTo>
                  <a:cubicBezTo>
                    <a:pt x="0" y="17"/>
                    <a:pt x="1" y="14"/>
                    <a:pt x="4" y="12"/>
                  </a:cubicBezTo>
                  <a:cubicBezTo>
                    <a:pt x="5" y="11"/>
                    <a:pt x="5" y="10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30">
              <a:extLst>
                <a:ext uri="{FF2B5EF4-FFF2-40B4-BE49-F238E27FC236}">
                  <a16:creationId xmlns:a16="http://schemas.microsoft.com/office/drawing/2014/main" id="{213F6426-EC7A-0AD7-26DF-0D00E42EA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882775"/>
              <a:ext cx="12700" cy="69850"/>
            </a:xfrm>
            <a:custGeom>
              <a:avLst/>
              <a:gdLst>
                <a:gd name="T0" fmla="*/ 0 w 5"/>
                <a:gd name="T1" fmla="*/ 0 h 27"/>
                <a:gd name="T2" fmla="*/ 0 w 5"/>
                <a:gd name="T3" fmla="*/ 7 h 27"/>
                <a:gd name="T4" fmla="*/ 2 w 5"/>
                <a:gd name="T5" fmla="*/ 12 h 27"/>
                <a:gd name="T6" fmla="*/ 5 w 5"/>
                <a:gd name="T7" fmla="*/ 19 h 27"/>
                <a:gd name="T8" fmla="*/ 5 w 5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7">
                  <a:moveTo>
                    <a:pt x="0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0" y="9"/>
                    <a:pt x="0" y="11"/>
                    <a:pt x="2" y="12"/>
                  </a:cubicBezTo>
                  <a:cubicBezTo>
                    <a:pt x="4" y="14"/>
                    <a:pt x="5" y="16"/>
                    <a:pt x="5" y="19"/>
                  </a:cubicBezTo>
                  <a:cubicBezTo>
                    <a:pt x="4" y="22"/>
                    <a:pt x="5" y="24"/>
                    <a:pt x="5" y="27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Freeform 31">
              <a:extLst>
                <a:ext uri="{FF2B5EF4-FFF2-40B4-BE49-F238E27FC236}">
                  <a16:creationId xmlns:a16="http://schemas.microsoft.com/office/drawing/2014/main" id="{67FEF763-E075-7887-9F30-78C08EF97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9688" y="1568450"/>
              <a:ext cx="12700" cy="68263"/>
            </a:xfrm>
            <a:custGeom>
              <a:avLst/>
              <a:gdLst>
                <a:gd name="T0" fmla="*/ 0 w 5"/>
                <a:gd name="T1" fmla="*/ 27 h 27"/>
                <a:gd name="T2" fmla="*/ 0 w 5"/>
                <a:gd name="T3" fmla="*/ 26 h 27"/>
                <a:gd name="T4" fmla="*/ 0 w 5"/>
                <a:gd name="T5" fmla="*/ 12 h 27"/>
                <a:gd name="T6" fmla="*/ 1 w 5"/>
                <a:gd name="T7" fmla="*/ 9 h 27"/>
                <a:gd name="T8" fmla="*/ 4 w 5"/>
                <a:gd name="T9" fmla="*/ 1 h 27"/>
                <a:gd name="T10" fmla="*/ 5 w 5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27">
                  <a:moveTo>
                    <a:pt x="0" y="27"/>
                  </a:moveTo>
                  <a:cubicBezTo>
                    <a:pt x="0" y="27"/>
                    <a:pt x="0" y="26"/>
                    <a:pt x="0" y="26"/>
                  </a:cubicBezTo>
                  <a:cubicBezTo>
                    <a:pt x="0" y="21"/>
                    <a:pt x="0" y="17"/>
                    <a:pt x="0" y="12"/>
                  </a:cubicBezTo>
                  <a:cubicBezTo>
                    <a:pt x="0" y="11"/>
                    <a:pt x="0" y="10"/>
                    <a:pt x="1" y="9"/>
                  </a:cubicBezTo>
                  <a:cubicBezTo>
                    <a:pt x="5" y="5"/>
                    <a:pt x="5" y="6"/>
                    <a:pt x="4" y="1"/>
                  </a:cubicBezTo>
                  <a:cubicBezTo>
                    <a:pt x="4" y="1"/>
                    <a:pt x="5" y="0"/>
                    <a:pt x="5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Freeform 32">
              <a:extLst>
                <a:ext uri="{FF2B5EF4-FFF2-40B4-BE49-F238E27FC236}">
                  <a16:creationId xmlns:a16="http://schemas.microsoft.com/office/drawing/2014/main" id="{FF2E7A6F-4F1D-7DCD-7B43-EFDBF9760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1913" y="1568450"/>
              <a:ext cx="12700" cy="68263"/>
            </a:xfrm>
            <a:custGeom>
              <a:avLst/>
              <a:gdLst>
                <a:gd name="T0" fmla="*/ 0 w 5"/>
                <a:gd name="T1" fmla="*/ 27 h 27"/>
                <a:gd name="T2" fmla="*/ 0 w 5"/>
                <a:gd name="T3" fmla="*/ 25 h 27"/>
                <a:gd name="T4" fmla="*/ 0 w 5"/>
                <a:gd name="T5" fmla="*/ 15 h 27"/>
                <a:gd name="T6" fmla="*/ 2 w 5"/>
                <a:gd name="T7" fmla="*/ 11 h 27"/>
                <a:gd name="T8" fmla="*/ 5 w 5"/>
                <a:gd name="T9" fmla="*/ 3 h 27"/>
                <a:gd name="T10" fmla="*/ 5 w 5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27">
                  <a:moveTo>
                    <a:pt x="0" y="27"/>
                  </a:moveTo>
                  <a:cubicBezTo>
                    <a:pt x="0" y="27"/>
                    <a:pt x="0" y="26"/>
                    <a:pt x="0" y="25"/>
                  </a:cubicBezTo>
                  <a:cubicBezTo>
                    <a:pt x="0" y="22"/>
                    <a:pt x="0" y="18"/>
                    <a:pt x="0" y="15"/>
                  </a:cubicBezTo>
                  <a:cubicBezTo>
                    <a:pt x="0" y="13"/>
                    <a:pt x="0" y="12"/>
                    <a:pt x="2" y="11"/>
                  </a:cubicBezTo>
                  <a:cubicBezTo>
                    <a:pt x="4" y="9"/>
                    <a:pt x="5" y="6"/>
                    <a:pt x="5" y="3"/>
                  </a:cubicBezTo>
                  <a:cubicBezTo>
                    <a:pt x="5" y="2"/>
                    <a:pt x="5" y="1"/>
                    <a:pt x="5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Freeform 33">
              <a:extLst>
                <a:ext uri="{FF2B5EF4-FFF2-40B4-BE49-F238E27FC236}">
                  <a16:creationId xmlns:a16="http://schemas.microsoft.com/office/drawing/2014/main" id="{AD9CF8EC-EFA2-DA4F-B967-51ADDF405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719263"/>
              <a:ext cx="68263" cy="12700"/>
            </a:xfrm>
            <a:custGeom>
              <a:avLst/>
              <a:gdLst>
                <a:gd name="T0" fmla="*/ 0 w 27"/>
                <a:gd name="T1" fmla="*/ 5 h 5"/>
                <a:gd name="T2" fmla="*/ 2 w 27"/>
                <a:gd name="T3" fmla="*/ 4 h 5"/>
                <a:gd name="T4" fmla="*/ 12 w 27"/>
                <a:gd name="T5" fmla="*/ 4 h 5"/>
                <a:gd name="T6" fmla="*/ 17 w 27"/>
                <a:gd name="T7" fmla="*/ 2 h 5"/>
                <a:gd name="T8" fmla="*/ 19 w 27"/>
                <a:gd name="T9" fmla="*/ 1 h 5"/>
                <a:gd name="T10" fmla="*/ 22 w 27"/>
                <a:gd name="T11" fmla="*/ 0 h 5"/>
                <a:gd name="T12" fmla="*/ 27 w 27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5">
                  <a:moveTo>
                    <a:pt x="0" y="5"/>
                  </a:moveTo>
                  <a:cubicBezTo>
                    <a:pt x="1" y="5"/>
                    <a:pt x="1" y="4"/>
                    <a:pt x="2" y="4"/>
                  </a:cubicBezTo>
                  <a:cubicBezTo>
                    <a:pt x="5" y="4"/>
                    <a:pt x="9" y="4"/>
                    <a:pt x="12" y="4"/>
                  </a:cubicBezTo>
                  <a:cubicBezTo>
                    <a:pt x="14" y="5"/>
                    <a:pt x="16" y="4"/>
                    <a:pt x="17" y="2"/>
                  </a:cubicBezTo>
                  <a:cubicBezTo>
                    <a:pt x="18" y="2"/>
                    <a:pt x="18" y="1"/>
                    <a:pt x="19" y="1"/>
                  </a:cubicBezTo>
                  <a:cubicBezTo>
                    <a:pt x="19" y="0"/>
                    <a:pt x="20" y="0"/>
                    <a:pt x="22" y="0"/>
                  </a:cubicBezTo>
                  <a:cubicBezTo>
                    <a:pt x="24" y="0"/>
                    <a:pt x="25" y="0"/>
                    <a:pt x="27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Freeform 34">
              <a:extLst>
                <a:ext uri="{FF2B5EF4-FFF2-40B4-BE49-F238E27FC236}">
                  <a16:creationId xmlns:a16="http://schemas.microsoft.com/office/drawing/2014/main" id="{9B2B848A-F437-59CC-FD00-E38B94B24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13" y="1881188"/>
              <a:ext cx="3175" cy="71438"/>
            </a:xfrm>
            <a:custGeom>
              <a:avLst/>
              <a:gdLst>
                <a:gd name="T0" fmla="*/ 0 w 1"/>
                <a:gd name="T1" fmla="*/ 0 h 28"/>
                <a:gd name="T2" fmla="*/ 0 w 1"/>
                <a:gd name="T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28">
                  <a:moveTo>
                    <a:pt x="0" y="0"/>
                  </a:moveTo>
                  <a:cubicBezTo>
                    <a:pt x="1" y="3"/>
                    <a:pt x="1" y="24"/>
                    <a:pt x="0" y="28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Freeform 35">
              <a:extLst>
                <a:ext uri="{FF2B5EF4-FFF2-40B4-BE49-F238E27FC236}">
                  <a16:creationId xmlns:a16="http://schemas.microsoft.com/office/drawing/2014/main" id="{52C7D70B-53C1-E440-373D-B8007504B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755775"/>
              <a:ext cx="68263" cy="0"/>
            </a:xfrm>
            <a:custGeom>
              <a:avLst/>
              <a:gdLst>
                <a:gd name="T0" fmla="*/ 0 w 27"/>
                <a:gd name="T1" fmla="*/ 27 w 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27">
                  <a:moveTo>
                    <a:pt x="0" y="0"/>
                  </a:moveTo>
                  <a:cubicBezTo>
                    <a:pt x="2" y="0"/>
                    <a:pt x="25" y="0"/>
                    <a:pt x="27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Freeform 36">
              <a:extLst>
                <a:ext uri="{FF2B5EF4-FFF2-40B4-BE49-F238E27FC236}">
                  <a16:creationId xmlns:a16="http://schemas.microsoft.com/office/drawing/2014/main" id="{C67CB713-39F1-FFA9-4EE5-E7EDF24AE2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963" y="1755775"/>
              <a:ext cx="71438" cy="0"/>
            </a:xfrm>
            <a:custGeom>
              <a:avLst/>
              <a:gdLst>
                <a:gd name="T0" fmla="*/ 0 w 28"/>
                <a:gd name="T1" fmla="*/ 28 w 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28">
                  <a:moveTo>
                    <a:pt x="0" y="0"/>
                  </a:moveTo>
                  <a:cubicBezTo>
                    <a:pt x="10" y="0"/>
                    <a:pt x="19" y="0"/>
                    <a:pt x="28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Freeform 37">
              <a:extLst>
                <a:ext uri="{FF2B5EF4-FFF2-40B4-BE49-F238E27FC236}">
                  <a16:creationId xmlns:a16="http://schemas.microsoft.com/office/drawing/2014/main" id="{1B314844-2B6E-1692-FE75-EB1BD2B586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4288" y="1568450"/>
              <a:ext cx="1588" cy="68263"/>
            </a:xfrm>
            <a:custGeom>
              <a:avLst/>
              <a:gdLst>
                <a:gd name="T0" fmla="*/ 1 w 1"/>
                <a:gd name="T1" fmla="*/ 27 h 27"/>
                <a:gd name="T2" fmla="*/ 1 w 1"/>
                <a:gd name="T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27">
                  <a:moveTo>
                    <a:pt x="1" y="27"/>
                  </a:moveTo>
                  <a:cubicBezTo>
                    <a:pt x="0" y="25"/>
                    <a:pt x="0" y="3"/>
                    <a:pt x="1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Freeform 38">
              <a:extLst>
                <a:ext uri="{FF2B5EF4-FFF2-40B4-BE49-F238E27FC236}">
                  <a16:creationId xmlns:a16="http://schemas.microsoft.com/office/drawing/2014/main" id="{36C2936A-6ADF-81C2-7BBF-D7DDD5D3A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13" y="1701800"/>
              <a:ext cx="68263" cy="0"/>
            </a:xfrm>
            <a:custGeom>
              <a:avLst/>
              <a:gdLst>
                <a:gd name="T0" fmla="*/ 0 w 27"/>
                <a:gd name="T1" fmla="*/ 27 w 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27">
                  <a:moveTo>
                    <a:pt x="0" y="0"/>
                  </a:moveTo>
                  <a:cubicBezTo>
                    <a:pt x="9" y="0"/>
                    <a:pt x="18" y="0"/>
                    <a:pt x="27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7" name="Freeform 39">
              <a:extLst>
                <a:ext uri="{FF2B5EF4-FFF2-40B4-BE49-F238E27FC236}">
                  <a16:creationId xmlns:a16="http://schemas.microsoft.com/office/drawing/2014/main" id="{F14AFD7B-2A2B-6CD6-DBFC-7FD531ABB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3338" y="1735138"/>
              <a:ext cx="57150" cy="0"/>
            </a:xfrm>
            <a:custGeom>
              <a:avLst/>
              <a:gdLst>
                <a:gd name="T0" fmla="*/ 22 w 22"/>
                <a:gd name="T1" fmla="*/ 0 w 2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22">
                  <a:moveTo>
                    <a:pt x="22" y="0"/>
                  </a:moveTo>
                  <a:cubicBezTo>
                    <a:pt x="15" y="0"/>
                    <a:pt x="7" y="0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8" name="Freeform 40">
              <a:extLst>
                <a:ext uri="{FF2B5EF4-FFF2-40B4-BE49-F238E27FC236}">
                  <a16:creationId xmlns:a16="http://schemas.microsoft.com/office/drawing/2014/main" id="{2A17C6AF-03FB-D5F7-CAB1-68652735A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13" y="1735138"/>
              <a:ext cx="58738" cy="0"/>
            </a:xfrm>
            <a:custGeom>
              <a:avLst/>
              <a:gdLst>
                <a:gd name="T0" fmla="*/ 23 w 23"/>
                <a:gd name="T1" fmla="*/ 0 w 2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23">
                  <a:moveTo>
                    <a:pt x="23" y="0"/>
                  </a:moveTo>
                  <a:cubicBezTo>
                    <a:pt x="15" y="0"/>
                    <a:pt x="8" y="0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9" name="Freeform 41">
              <a:extLst>
                <a:ext uri="{FF2B5EF4-FFF2-40B4-BE49-F238E27FC236}">
                  <a16:creationId xmlns:a16="http://schemas.microsoft.com/office/drawing/2014/main" id="{079F9A68-AA2B-1F07-6678-D046E140A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750" y="1701800"/>
              <a:ext cx="58738" cy="0"/>
            </a:xfrm>
            <a:custGeom>
              <a:avLst/>
              <a:gdLst>
                <a:gd name="T0" fmla="*/ 0 w 23"/>
                <a:gd name="T1" fmla="*/ 23 w 2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23">
                  <a:moveTo>
                    <a:pt x="0" y="0"/>
                  </a:moveTo>
                  <a:cubicBezTo>
                    <a:pt x="8" y="0"/>
                    <a:pt x="15" y="0"/>
                    <a:pt x="23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0" name="Freeform 42">
              <a:extLst>
                <a:ext uri="{FF2B5EF4-FFF2-40B4-BE49-F238E27FC236}">
                  <a16:creationId xmlns:a16="http://schemas.microsoft.com/office/drawing/2014/main" id="{0D2131A1-334E-6D9B-C252-EE8CC4E9F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6500" y="1844675"/>
              <a:ext cx="11113" cy="0"/>
            </a:xfrm>
            <a:custGeom>
              <a:avLst/>
              <a:gdLst>
                <a:gd name="T0" fmla="*/ 4 w 4"/>
                <a:gd name="T1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1" name="Freeform 43">
              <a:extLst>
                <a:ext uri="{FF2B5EF4-FFF2-40B4-BE49-F238E27FC236}">
                  <a16:creationId xmlns:a16="http://schemas.microsoft.com/office/drawing/2014/main" id="{37E9F769-1891-D68C-F05D-F1EA301C6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313" y="1844675"/>
              <a:ext cx="9525" cy="0"/>
            </a:xfrm>
            <a:custGeom>
              <a:avLst/>
              <a:gdLst>
                <a:gd name="T0" fmla="*/ 4 w 4"/>
                <a:gd name="T1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cubicBezTo>
                    <a:pt x="3" y="0"/>
                    <a:pt x="2" y="0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2" name="Freeform 44">
              <a:extLst>
                <a:ext uri="{FF2B5EF4-FFF2-40B4-BE49-F238E27FC236}">
                  <a16:creationId xmlns:a16="http://schemas.microsoft.com/office/drawing/2014/main" id="{4101BB80-E0CC-E459-8670-7BB9D053C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375" y="1844675"/>
              <a:ext cx="11113" cy="0"/>
            </a:xfrm>
            <a:custGeom>
              <a:avLst/>
              <a:gdLst>
                <a:gd name="T0" fmla="*/ 4 w 4"/>
                <a:gd name="T1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cubicBezTo>
                    <a:pt x="3" y="0"/>
                    <a:pt x="2" y="0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3" name="Freeform 45">
              <a:extLst>
                <a:ext uri="{FF2B5EF4-FFF2-40B4-BE49-F238E27FC236}">
                  <a16:creationId xmlns:a16="http://schemas.microsoft.com/office/drawing/2014/main" id="{9F935F76-19B3-864A-93F7-ED832C48A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150" y="1844675"/>
              <a:ext cx="9525" cy="0"/>
            </a:xfrm>
            <a:custGeom>
              <a:avLst/>
              <a:gdLst>
                <a:gd name="T0" fmla="*/ 4 w 4"/>
                <a:gd name="T1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4" name="Freeform 46">
              <a:extLst>
                <a:ext uri="{FF2B5EF4-FFF2-40B4-BE49-F238E27FC236}">
                  <a16:creationId xmlns:a16="http://schemas.microsoft.com/office/drawing/2014/main" id="{A13A97E3-7E19-ED7B-8936-D015C8075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3338" y="1844675"/>
              <a:ext cx="7938" cy="0"/>
            </a:xfrm>
            <a:custGeom>
              <a:avLst/>
              <a:gdLst>
                <a:gd name="T0" fmla="*/ 3 w 3"/>
                <a:gd name="T1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5" name="Freeform 47">
              <a:extLst>
                <a:ext uri="{FF2B5EF4-FFF2-40B4-BE49-F238E27FC236}">
                  <a16:creationId xmlns:a16="http://schemas.microsoft.com/office/drawing/2014/main" id="{3A835F70-A41B-2A41-8B10-8CBA6B4DD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5713" y="1844675"/>
              <a:ext cx="7938" cy="0"/>
            </a:xfrm>
            <a:custGeom>
              <a:avLst/>
              <a:gdLst>
                <a:gd name="T0" fmla="*/ 3 w 3"/>
                <a:gd name="T1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6" name="Freeform 48">
              <a:extLst>
                <a:ext uri="{FF2B5EF4-FFF2-40B4-BE49-F238E27FC236}">
                  <a16:creationId xmlns:a16="http://schemas.microsoft.com/office/drawing/2014/main" id="{0EDEB36E-5506-97B0-7533-26226384F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7938" y="1844675"/>
              <a:ext cx="11113" cy="0"/>
            </a:xfrm>
            <a:custGeom>
              <a:avLst/>
              <a:gdLst>
                <a:gd name="T0" fmla="*/ 4 w 4"/>
                <a:gd name="T1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cubicBezTo>
                    <a:pt x="3" y="0"/>
                    <a:pt x="2" y="0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7" name="Rectangle 49">
              <a:extLst>
                <a:ext uri="{FF2B5EF4-FFF2-40B4-BE49-F238E27FC236}">
                  <a16:creationId xmlns:a16="http://schemas.microsoft.com/office/drawing/2014/main" id="{AA3759E0-4776-3B35-E351-E9C77F377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6338" y="1647825"/>
              <a:ext cx="225425" cy="225425"/>
            </a:xfrm>
            <a:prstGeom prst="rect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628B0B1E-A9CE-7172-A53B-6B149534BC9A}"/>
              </a:ext>
            </a:extLst>
          </p:cNvPr>
          <p:cNvGrpSpPr/>
          <p:nvPr/>
        </p:nvGrpSpPr>
        <p:grpSpPr>
          <a:xfrm>
            <a:off x="7392458" y="4187161"/>
            <a:ext cx="390526" cy="284163"/>
            <a:chOff x="3565525" y="2570163"/>
            <a:chExt cx="390526" cy="284163"/>
          </a:xfrm>
        </p:grpSpPr>
        <p:sp>
          <p:nvSpPr>
            <p:cNvPr id="159" name="Freeform 135">
              <a:extLst>
                <a:ext uri="{FF2B5EF4-FFF2-40B4-BE49-F238E27FC236}">
                  <a16:creationId xmlns:a16="http://schemas.microsoft.com/office/drawing/2014/main" id="{D5C7A037-8F85-DA1E-704B-29C0E170A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2363" y="2800350"/>
              <a:ext cx="142875" cy="53975"/>
            </a:xfrm>
            <a:custGeom>
              <a:avLst/>
              <a:gdLst>
                <a:gd name="T0" fmla="*/ 28 w 56"/>
                <a:gd name="T1" fmla="*/ 0 h 21"/>
                <a:gd name="T2" fmla="*/ 47 w 56"/>
                <a:gd name="T3" fmla="*/ 0 h 21"/>
                <a:gd name="T4" fmla="*/ 48 w 56"/>
                <a:gd name="T5" fmla="*/ 10 h 21"/>
                <a:gd name="T6" fmla="*/ 55 w 56"/>
                <a:gd name="T7" fmla="*/ 19 h 21"/>
                <a:gd name="T8" fmla="*/ 55 w 56"/>
                <a:gd name="T9" fmla="*/ 19 h 21"/>
                <a:gd name="T10" fmla="*/ 54 w 56"/>
                <a:gd name="T11" fmla="*/ 21 h 21"/>
                <a:gd name="T12" fmla="*/ 28 w 56"/>
                <a:gd name="T13" fmla="*/ 21 h 21"/>
                <a:gd name="T14" fmla="*/ 1 w 56"/>
                <a:gd name="T15" fmla="*/ 21 h 21"/>
                <a:gd name="T16" fmla="*/ 1 w 56"/>
                <a:gd name="T17" fmla="*/ 19 h 21"/>
                <a:gd name="T18" fmla="*/ 1 w 56"/>
                <a:gd name="T19" fmla="*/ 19 h 21"/>
                <a:gd name="T20" fmla="*/ 8 w 56"/>
                <a:gd name="T21" fmla="*/ 10 h 21"/>
                <a:gd name="T22" fmla="*/ 9 w 56"/>
                <a:gd name="T23" fmla="*/ 0 h 21"/>
                <a:gd name="T24" fmla="*/ 28 w 56"/>
                <a:gd name="T2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" h="21">
                  <a:moveTo>
                    <a:pt x="28" y="0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7" y="5"/>
                    <a:pt x="48" y="10"/>
                  </a:cubicBezTo>
                  <a:cubicBezTo>
                    <a:pt x="48" y="14"/>
                    <a:pt x="51" y="17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6" y="20"/>
                    <a:pt x="56" y="21"/>
                    <a:pt x="54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0" y="20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5" y="17"/>
                    <a:pt x="7" y="14"/>
                    <a:pt x="8" y="10"/>
                  </a:cubicBezTo>
                  <a:cubicBezTo>
                    <a:pt x="9" y="5"/>
                    <a:pt x="9" y="0"/>
                    <a:pt x="9" y="0"/>
                  </a:cubicBezTo>
                  <a:lnTo>
                    <a:pt x="28" y="0"/>
                  </a:ln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0" name="Oval 136">
              <a:extLst>
                <a:ext uri="{FF2B5EF4-FFF2-40B4-BE49-F238E27FC236}">
                  <a16:creationId xmlns:a16="http://schemas.microsoft.com/office/drawing/2014/main" id="{13D4D3DB-DF25-CA3D-39B3-B138323AC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2213" y="2776538"/>
              <a:ext cx="4763" cy="7938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" name="Freeform 137">
              <a:extLst>
                <a:ext uri="{FF2B5EF4-FFF2-40B4-BE49-F238E27FC236}">
                  <a16:creationId xmlns:a16="http://schemas.microsoft.com/office/drawing/2014/main" id="{9BEEFE5E-E308-5AB7-13A7-93167E2B2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5525" y="2759075"/>
              <a:ext cx="280988" cy="41275"/>
            </a:xfrm>
            <a:custGeom>
              <a:avLst/>
              <a:gdLst>
                <a:gd name="T0" fmla="*/ 110 w 110"/>
                <a:gd name="T1" fmla="*/ 16 h 16"/>
                <a:gd name="T2" fmla="*/ 47 w 110"/>
                <a:gd name="T3" fmla="*/ 16 h 16"/>
                <a:gd name="T4" fmla="*/ 6 w 110"/>
                <a:gd name="T5" fmla="*/ 16 h 16"/>
                <a:gd name="T6" fmla="*/ 0 w 110"/>
                <a:gd name="T7" fmla="*/ 10 h 16"/>
                <a:gd name="T8" fmla="*/ 0 w 110"/>
                <a:gd name="T9" fmla="*/ 0 h 16"/>
                <a:gd name="T10" fmla="*/ 26 w 110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0" h="16">
                  <a:moveTo>
                    <a:pt x="110" y="16"/>
                  </a:moveTo>
                  <a:cubicBezTo>
                    <a:pt x="47" y="16"/>
                    <a:pt x="47" y="16"/>
                    <a:pt x="47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3" y="16"/>
                    <a:pt x="0" y="13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" name="Freeform 138">
              <a:extLst>
                <a:ext uri="{FF2B5EF4-FFF2-40B4-BE49-F238E27FC236}">
                  <a16:creationId xmlns:a16="http://schemas.microsoft.com/office/drawing/2014/main" id="{A9ED811B-9FD6-3412-40F8-CBBBF93FF5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5525" y="2570163"/>
              <a:ext cx="336550" cy="188913"/>
            </a:xfrm>
            <a:custGeom>
              <a:avLst/>
              <a:gdLst>
                <a:gd name="T0" fmla="*/ 110 w 132"/>
                <a:gd name="T1" fmla="*/ 74 h 74"/>
                <a:gd name="T2" fmla="*/ 0 w 132"/>
                <a:gd name="T3" fmla="*/ 74 h 74"/>
                <a:gd name="T4" fmla="*/ 0 w 132"/>
                <a:gd name="T5" fmla="*/ 57 h 74"/>
                <a:gd name="T6" fmla="*/ 0 w 132"/>
                <a:gd name="T7" fmla="*/ 7 h 74"/>
                <a:gd name="T8" fmla="*/ 7 w 132"/>
                <a:gd name="T9" fmla="*/ 0 h 74"/>
                <a:gd name="T10" fmla="*/ 125 w 132"/>
                <a:gd name="T11" fmla="*/ 0 h 74"/>
                <a:gd name="T12" fmla="*/ 132 w 132"/>
                <a:gd name="T13" fmla="*/ 7 h 74"/>
                <a:gd name="T14" fmla="*/ 132 w 132"/>
                <a:gd name="T15" fmla="*/ 4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74">
                  <a:moveTo>
                    <a:pt x="110" y="74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9" y="0"/>
                    <a:pt x="132" y="3"/>
                    <a:pt x="132" y="7"/>
                  </a:cubicBezTo>
                  <a:cubicBezTo>
                    <a:pt x="132" y="40"/>
                    <a:pt x="132" y="40"/>
                    <a:pt x="132" y="40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" name="Line 139">
              <a:extLst>
                <a:ext uri="{FF2B5EF4-FFF2-40B4-BE49-F238E27FC236}">
                  <a16:creationId xmlns:a16="http://schemas.microsoft.com/office/drawing/2014/main" id="{54DEA90A-3D64-2F98-CE85-7240837C49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59213" y="2817813"/>
              <a:ext cx="87313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" name="Freeform 140">
              <a:extLst>
                <a:ext uri="{FF2B5EF4-FFF2-40B4-BE49-F238E27FC236}">
                  <a16:creationId xmlns:a16="http://schemas.microsoft.com/office/drawing/2014/main" id="{CD6C2659-BE49-60B4-95FD-AA1A4C41F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6513" y="2671763"/>
              <a:ext cx="109538" cy="182563"/>
            </a:xfrm>
            <a:custGeom>
              <a:avLst/>
              <a:gdLst>
                <a:gd name="T0" fmla="*/ 40 w 43"/>
                <a:gd name="T1" fmla="*/ 71 h 71"/>
                <a:gd name="T2" fmla="*/ 4 w 43"/>
                <a:gd name="T3" fmla="*/ 71 h 71"/>
                <a:gd name="T4" fmla="*/ 0 w 43"/>
                <a:gd name="T5" fmla="*/ 68 h 71"/>
                <a:gd name="T6" fmla="*/ 0 w 43"/>
                <a:gd name="T7" fmla="*/ 34 h 71"/>
                <a:gd name="T8" fmla="*/ 0 w 43"/>
                <a:gd name="T9" fmla="*/ 3 h 71"/>
                <a:gd name="T10" fmla="*/ 4 w 43"/>
                <a:gd name="T11" fmla="*/ 0 h 71"/>
                <a:gd name="T12" fmla="*/ 22 w 43"/>
                <a:gd name="T13" fmla="*/ 0 h 71"/>
                <a:gd name="T14" fmla="*/ 40 w 43"/>
                <a:gd name="T15" fmla="*/ 0 h 71"/>
                <a:gd name="T16" fmla="*/ 43 w 43"/>
                <a:gd name="T17" fmla="*/ 3 h 71"/>
                <a:gd name="T18" fmla="*/ 43 w 43"/>
                <a:gd name="T19" fmla="*/ 68 h 71"/>
                <a:gd name="T20" fmla="*/ 40 w 43"/>
                <a:gd name="T2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71">
                  <a:moveTo>
                    <a:pt x="40" y="71"/>
                  </a:moveTo>
                  <a:cubicBezTo>
                    <a:pt x="4" y="71"/>
                    <a:pt x="4" y="71"/>
                    <a:pt x="4" y="71"/>
                  </a:cubicBezTo>
                  <a:cubicBezTo>
                    <a:pt x="2" y="71"/>
                    <a:pt x="0" y="70"/>
                    <a:pt x="0" y="68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3" y="2"/>
                    <a:pt x="43" y="3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3" y="70"/>
                    <a:pt x="42" y="71"/>
                    <a:pt x="40" y="71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Oval 141">
              <a:extLst>
                <a:ext uri="{FF2B5EF4-FFF2-40B4-BE49-F238E27FC236}">
                  <a16:creationId xmlns:a16="http://schemas.microsoft.com/office/drawing/2014/main" id="{0096ADC4-5819-1EEA-5DA1-3315D16BEB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0488" y="2833688"/>
              <a:ext cx="4763" cy="4763"/>
            </a:xfrm>
            <a:prstGeom prst="ellips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142">
              <a:extLst>
                <a:ext uri="{FF2B5EF4-FFF2-40B4-BE49-F238E27FC236}">
                  <a16:creationId xmlns:a16="http://schemas.microsoft.com/office/drawing/2014/main" id="{6635D232-0BDE-0003-DEFD-FBDB9AA99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550" y="2689225"/>
              <a:ext cx="20638" cy="0"/>
            </a:xfrm>
            <a:custGeom>
              <a:avLst/>
              <a:gdLst>
                <a:gd name="T0" fmla="*/ 0 w 13"/>
                <a:gd name="T1" fmla="*/ 6 w 13"/>
                <a:gd name="T2" fmla="*/ 13 w 1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3">
                  <a:moveTo>
                    <a:pt x="0" y="0"/>
                  </a:moveTo>
                  <a:lnTo>
                    <a:pt x="6" y="0"/>
                  </a:lnTo>
                  <a:lnTo>
                    <a:pt x="13" y="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" name="Line 143">
              <a:extLst>
                <a:ext uri="{FF2B5EF4-FFF2-40B4-BE49-F238E27FC236}">
                  <a16:creationId xmlns:a16="http://schemas.microsoft.com/office/drawing/2014/main" id="{A575E335-9BD4-A405-1BC3-2BE36D775F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9838" y="2663825"/>
              <a:ext cx="0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" name="Line 144">
              <a:extLst>
                <a:ext uri="{FF2B5EF4-FFF2-40B4-BE49-F238E27FC236}">
                  <a16:creationId xmlns:a16="http://schemas.microsoft.com/office/drawing/2014/main" id="{33C36ACC-8D39-4FDC-F473-7BF0806F2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03650" y="2663825"/>
              <a:ext cx="9525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" name="Line 145">
              <a:extLst>
                <a:ext uri="{FF2B5EF4-FFF2-40B4-BE49-F238E27FC236}">
                  <a16:creationId xmlns:a16="http://schemas.microsoft.com/office/drawing/2014/main" id="{8BBD7E3B-2B54-4739-8AFD-34CC23E2C9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25875" y="2663825"/>
              <a:ext cx="0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" name="Line 146">
              <a:extLst>
                <a:ext uri="{FF2B5EF4-FFF2-40B4-BE49-F238E27FC236}">
                  <a16:creationId xmlns:a16="http://schemas.microsoft.com/office/drawing/2014/main" id="{CA19EAF4-96E5-4809-BBA3-F79B669FE1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1725" y="2663825"/>
              <a:ext cx="0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" name="Line 147">
              <a:extLst>
                <a:ext uri="{FF2B5EF4-FFF2-40B4-BE49-F238E27FC236}">
                  <a16:creationId xmlns:a16="http://schemas.microsoft.com/office/drawing/2014/main" id="{64A9CBEE-98A9-D20B-DDBC-3AB40BD6FF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65538" y="2663825"/>
              <a:ext cx="12700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" name="Line 148">
              <a:extLst>
                <a:ext uri="{FF2B5EF4-FFF2-40B4-BE49-F238E27FC236}">
                  <a16:creationId xmlns:a16="http://schemas.microsoft.com/office/drawing/2014/main" id="{92FB0F13-CDD2-DB11-1931-CDB2952C65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87763" y="2663825"/>
              <a:ext cx="0" cy="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" name="Freeform 149">
              <a:extLst>
                <a:ext uri="{FF2B5EF4-FFF2-40B4-BE49-F238E27FC236}">
                  <a16:creationId xmlns:a16="http://schemas.microsoft.com/office/drawing/2014/main" id="{5655D928-86C8-94DB-C206-C0D5645D5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400" y="2620963"/>
              <a:ext cx="57150" cy="84138"/>
            </a:xfrm>
            <a:custGeom>
              <a:avLst/>
              <a:gdLst>
                <a:gd name="T0" fmla="*/ 18 w 22"/>
                <a:gd name="T1" fmla="*/ 6 h 33"/>
                <a:gd name="T2" fmla="*/ 10 w 22"/>
                <a:gd name="T3" fmla="*/ 0 h 33"/>
                <a:gd name="T4" fmla="*/ 1 w 22"/>
                <a:gd name="T5" fmla="*/ 8 h 33"/>
                <a:gd name="T6" fmla="*/ 10 w 22"/>
                <a:gd name="T7" fmla="*/ 16 h 33"/>
                <a:gd name="T8" fmla="*/ 18 w 22"/>
                <a:gd name="T9" fmla="*/ 28 h 33"/>
                <a:gd name="T10" fmla="*/ 10 w 22"/>
                <a:gd name="T11" fmla="*/ 33 h 33"/>
                <a:gd name="T12" fmla="*/ 0 w 22"/>
                <a:gd name="T13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3">
                  <a:moveTo>
                    <a:pt x="18" y="6"/>
                  </a:moveTo>
                  <a:cubicBezTo>
                    <a:pt x="18" y="6"/>
                    <a:pt x="17" y="0"/>
                    <a:pt x="10" y="0"/>
                  </a:cubicBezTo>
                  <a:cubicBezTo>
                    <a:pt x="2" y="0"/>
                    <a:pt x="1" y="5"/>
                    <a:pt x="1" y="8"/>
                  </a:cubicBezTo>
                  <a:cubicBezTo>
                    <a:pt x="1" y="12"/>
                    <a:pt x="4" y="16"/>
                    <a:pt x="10" y="16"/>
                  </a:cubicBezTo>
                  <a:cubicBezTo>
                    <a:pt x="15" y="17"/>
                    <a:pt x="22" y="20"/>
                    <a:pt x="18" y="28"/>
                  </a:cubicBezTo>
                  <a:cubicBezTo>
                    <a:pt x="17" y="30"/>
                    <a:pt x="16" y="33"/>
                    <a:pt x="10" y="33"/>
                  </a:cubicBezTo>
                  <a:cubicBezTo>
                    <a:pt x="6" y="33"/>
                    <a:pt x="2" y="31"/>
                    <a:pt x="0" y="2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Line 150">
              <a:extLst>
                <a:ext uri="{FF2B5EF4-FFF2-40B4-BE49-F238E27FC236}">
                  <a16:creationId xmlns:a16="http://schemas.microsoft.com/office/drawing/2014/main" id="{44C1A548-0B44-1C81-4815-45D253A2CD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3800" y="2608263"/>
              <a:ext cx="0" cy="114300"/>
            </a:xfrm>
            <a:prstGeom prst="line">
              <a:avLst/>
            </a:pr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0617399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143EB26-7111-90AE-0B3D-BC3B78C7D9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887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143EB26-7111-90AE-0B3D-BC3B78C7D9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hank yo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896FD6-DE2D-48FF-A87A-D11F4C230992}"/>
              </a:ext>
            </a:extLst>
          </p:cNvPr>
          <p:cNvSpPr txBox="1"/>
          <p:nvPr/>
        </p:nvSpPr>
        <p:spPr>
          <a:xfrm>
            <a:off x="838202" y="4282006"/>
            <a:ext cx="59129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Source Sans Pro" panose="020B0503030403020204" pitchFamily="34" charset="0"/>
              </a:rPr>
              <a:t>Please contact: </a:t>
            </a:r>
          </a:p>
          <a:p>
            <a:endParaRPr lang="en-US" sz="1400" dirty="0">
              <a:solidFill>
                <a:schemeClr val="bg1"/>
              </a:solidFill>
              <a:latin typeface="Source Sans Pro" panose="020B0503030403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7048EB-126C-92ED-F719-9C8AC02F516E}"/>
              </a:ext>
            </a:extLst>
          </p:cNvPr>
          <p:cNvSpPr/>
          <p:nvPr/>
        </p:nvSpPr>
        <p:spPr>
          <a:xfrm>
            <a:off x="838201" y="4904271"/>
            <a:ext cx="270149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ource Sans Pro" panose="020B0503030403020204" pitchFamily="34" charset="0"/>
              </a:rPr>
              <a:t>Khutso Sekgota</a:t>
            </a:r>
          </a:p>
          <a:p>
            <a:pPr fontAlgn="t"/>
            <a:r>
              <a:rPr lang="en-US" sz="1400" dirty="0">
                <a:solidFill>
                  <a:schemeClr val="bg1"/>
                </a:solidFill>
                <a:latin typeface="Source Sans Pro" panose="020B0503030403020204" pitchFamily="34" charset="0"/>
              </a:rPr>
              <a:t>Senior Principal, Hatch Advisory</a:t>
            </a:r>
          </a:p>
          <a:p>
            <a:pPr fontAlgn="t"/>
            <a:r>
              <a:rPr lang="en-US" sz="1400" dirty="0">
                <a:solidFill>
                  <a:schemeClr val="bg1"/>
                </a:solidFill>
                <a:latin typeface="Source Sans Pro" panose="020B0503030403020204" pitchFamily="34" charset="0"/>
              </a:rPr>
              <a:t>khutso.sekgota@hatch.com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383C42-558A-2E1C-36AF-5EFD8F16245C}"/>
              </a:ext>
            </a:extLst>
          </p:cNvPr>
          <p:cNvSpPr/>
          <p:nvPr/>
        </p:nvSpPr>
        <p:spPr>
          <a:xfrm>
            <a:off x="8375689" y="4899085"/>
            <a:ext cx="297811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Source Sans Pro" panose="020B0503030403020204" pitchFamily="34" charset="0"/>
              </a:rPr>
              <a:t>Taona Chagwedera</a:t>
            </a:r>
          </a:p>
          <a:p>
            <a:pPr fontAlgn="t"/>
            <a:r>
              <a:rPr lang="en-US" sz="1400" dirty="0">
                <a:solidFill>
                  <a:schemeClr val="bg1"/>
                </a:solidFill>
                <a:latin typeface="Source Sans Pro" panose="020B0503030403020204" pitchFamily="34" charset="0"/>
              </a:rPr>
              <a:t>Senior Consultant, Hatch Advisory</a:t>
            </a:r>
          </a:p>
          <a:p>
            <a:pPr fontAlgn="t"/>
            <a:r>
              <a:rPr lang="en-US" sz="1400" dirty="0">
                <a:solidFill>
                  <a:schemeClr val="bg1"/>
                </a:solidFill>
                <a:latin typeface="Source Sans Pro" panose="020B0503030403020204" pitchFamily="34" charset="0"/>
              </a:rPr>
              <a:t>taona.chagwedera@hatch.com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E4B607-DDE9-4B23-21A1-3DC25F134E97}"/>
              </a:ext>
            </a:extLst>
          </p:cNvPr>
          <p:cNvSpPr txBox="1"/>
          <p:nvPr/>
        </p:nvSpPr>
        <p:spPr>
          <a:xfrm>
            <a:off x="479424" y="6575039"/>
            <a:ext cx="2093522" cy="1958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lvl="0" indent="0" algn="r">
              <a:lnSpc>
                <a:spcPct val="100000"/>
              </a:lnSpc>
              <a:spcBef>
                <a:spcPts val="600"/>
              </a:spcBef>
              <a:buFont typeface="Arial"/>
              <a:buNone/>
              <a:defRPr sz="800"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l"/>
            <a:r>
              <a:rPr lang="en-US" dirty="0">
                <a:solidFill>
                  <a:schemeClr val="bg1"/>
                </a:solidFill>
              </a:rPr>
              <a:t>Copyright © Hatch 2023.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9D2757-0557-F2E8-397E-9E7CE208ED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E5A361-5B70-4BBB-A346-64AB7E0DA36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389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AgendaSlid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ndoor, engineering&#10;&#10;Description automatically generated">
            <a:extLst>
              <a:ext uri="{FF2B5EF4-FFF2-40B4-BE49-F238E27FC236}">
                <a16:creationId xmlns:a16="http://schemas.microsoft.com/office/drawing/2014/main" id="{B2DD3250-60E9-72D2-8F49-CC2C003A3D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157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57687C7-6E23-FE90-E753-B2C152D9E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genda</a:t>
            </a:r>
          </a:p>
        </p:txBody>
      </p:sp>
      <p:grpSp>
        <p:nvGrpSpPr>
          <p:cNvPr id="5" name="Google Shape;979;p12">
            <a:extLst>
              <a:ext uri="{FF2B5EF4-FFF2-40B4-BE49-F238E27FC236}">
                <a16:creationId xmlns:a16="http://schemas.microsoft.com/office/drawing/2014/main" id="{4D2F9135-320F-F9FA-09C9-9C1BB25DAC74}"/>
              </a:ext>
            </a:extLst>
          </p:cNvPr>
          <p:cNvGrpSpPr/>
          <p:nvPr/>
        </p:nvGrpSpPr>
        <p:grpSpPr>
          <a:xfrm>
            <a:off x="536574" y="1421614"/>
            <a:ext cx="4023307" cy="1060507"/>
            <a:chOff x="4564420" y="1108738"/>
            <a:chExt cx="3017480" cy="795381"/>
          </a:xfrm>
        </p:grpSpPr>
        <p:sp>
          <p:nvSpPr>
            <p:cNvPr id="6" name="Google Shape;980;p12">
              <a:extLst>
                <a:ext uri="{FF2B5EF4-FFF2-40B4-BE49-F238E27FC236}">
                  <a16:creationId xmlns:a16="http://schemas.microsoft.com/office/drawing/2014/main" id="{37D17443-871A-C93D-2FD1-9DFA011B3E5D}"/>
                </a:ext>
              </a:extLst>
            </p:cNvPr>
            <p:cNvSpPr txBox="1"/>
            <p:nvPr/>
          </p:nvSpPr>
          <p:spPr>
            <a:xfrm>
              <a:off x="4564420" y="1696370"/>
              <a:ext cx="3017480" cy="207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 i="0" u="none" strike="noStrike" cap="none" dirty="0">
                  <a:solidFill>
                    <a:schemeClr val="accent2"/>
                  </a:solidFill>
                  <a:latin typeface="Arial"/>
                  <a:ea typeface="Arial"/>
                  <a:cs typeface="Arial"/>
                  <a:sym typeface="Arial"/>
                </a:rPr>
                <a:t>Growth and Constraints</a:t>
              </a:r>
            </a:p>
          </p:txBody>
        </p:sp>
        <p:sp>
          <p:nvSpPr>
            <p:cNvPr id="7" name="Google Shape;981;p12">
              <a:extLst>
                <a:ext uri="{FF2B5EF4-FFF2-40B4-BE49-F238E27FC236}">
                  <a16:creationId xmlns:a16="http://schemas.microsoft.com/office/drawing/2014/main" id="{86E49E70-1238-95FB-EB4C-C088DD48AAA1}"/>
                </a:ext>
              </a:extLst>
            </p:cNvPr>
            <p:cNvSpPr txBox="1"/>
            <p:nvPr/>
          </p:nvSpPr>
          <p:spPr>
            <a:xfrm>
              <a:off x="4564420" y="1108738"/>
              <a:ext cx="1828800" cy="6155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333" b="1" i="0" u="none" strike="noStrike" cap="none" dirty="0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01</a:t>
              </a:r>
              <a:endParaRPr sz="5333" b="1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" name="Google Shape;982;p12">
              <a:extLst>
                <a:ext uri="{FF2B5EF4-FFF2-40B4-BE49-F238E27FC236}">
                  <a16:creationId xmlns:a16="http://schemas.microsoft.com/office/drawing/2014/main" id="{FC085609-0292-B6CB-D069-323986F79325}"/>
                </a:ext>
              </a:extLst>
            </p:cNvPr>
            <p:cNvCxnSpPr/>
            <p:nvPr/>
          </p:nvCxnSpPr>
          <p:spPr>
            <a:xfrm>
              <a:off x="4572000" y="1654146"/>
              <a:ext cx="49784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1" name="Google Shape;979;p12">
            <a:extLst>
              <a:ext uri="{FF2B5EF4-FFF2-40B4-BE49-F238E27FC236}">
                <a16:creationId xmlns:a16="http://schemas.microsoft.com/office/drawing/2014/main" id="{EC48630B-BD23-70AF-1C50-1295F654B63F}"/>
              </a:ext>
            </a:extLst>
          </p:cNvPr>
          <p:cNvGrpSpPr/>
          <p:nvPr/>
        </p:nvGrpSpPr>
        <p:grpSpPr>
          <a:xfrm>
            <a:off x="536574" y="2855191"/>
            <a:ext cx="6758155" cy="1060505"/>
            <a:chOff x="4564420" y="1108738"/>
            <a:chExt cx="5068616" cy="795381"/>
          </a:xfrm>
        </p:grpSpPr>
        <p:sp>
          <p:nvSpPr>
            <p:cNvPr id="12" name="Google Shape;980;p12">
              <a:extLst>
                <a:ext uri="{FF2B5EF4-FFF2-40B4-BE49-F238E27FC236}">
                  <a16:creationId xmlns:a16="http://schemas.microsoft.com/office/drawing/2014/main" id="{29AEAA47-D94E-C091-1912-C9FAE0FBDDFC}"/>
                </a:ext>
              </a:extLst>
            </p:cNvPr>
            <p:cNvSpPr txBox="1"/>
            <p:nvPr/>
          </p:nvSpPr>
          <p:spPr>
            <a:xfrm>
              <a:off x="4564420" y="1696370"/>
              <a:ext cx="5068616" cy="207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i="0" u="none" strike="noStrike" cap="none" dirty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Reimagining the </a:t>
              </a:r>
              <a:r>
                <a:rPr lang="en-US" dirty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Battery Minerals  Value Chain</a:t>
              </a:r>
              <a:endParaRPr lang="en-US" i="0" u="none" strike="noStrike" cap="none" dirty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981;p12">
              <a:extLst>
                <a:ext uri="{FF2B5EF4-FFF2-40B4-BE49-F238E27FC236}">
                  <a16:creationId xmlns:a16="http://schemas.microsoft.com/office/drawing/2014/main" id="{6D6567B3-FE8B-95DE-F8AD-B4B4D2E8B254}"/>
                </a:ext>
              </a:extLst>
            </p:cNvPr>
            <p:cNvSpPr txBox="1"/>
            <p:nvPr/>
          </p:nvSpPr>
          <p:spPr>
            <a:xfrm>
              <a:off x="4564420" y="1108738"/>
              <a:ext cx="1828800" cy="6155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333" b="0" i="0" u="none" strike="noStrike" cap="none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02</a:t>
              </a:r>
              <a:endParaRPr sz="5333" b="0" i="0" u="none" strike="noStrike" cap="none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4" name="Google Shape;982;p12">
              <a:extLst>
                <a:ext uri="{FF2B5EF4-FFF2-40B4-BE49-F238E27FC236}">
                  <a16:creationId xmlns:a16="http://schemas.microsoft.com/office/drawing/2014/main" id="{2BEC18DE-BEF3-A500-3660-840B40B4E203}"/>
                </a:ext>
              </a:extLst>
            </p:cNvPr>
            <p:cNvCxnSpPr/>
            <p:nvPr/>
          </p:nvCxnSpPr>
          <p:spPr>
            <a:xfrm>
              <a:off x="4572000" y="1654146"/>
              <a:ext cx="497840" cy="0"/>
            </a:xfrm>
            <a:prstGeom prst="straightConnector1">
              <a:avLst/>
            </a:prstGeom>
            <a:noFill/>
            <a:ln w="127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5" name="Google Shape;979;p12">
            <a:extLst>
              <a:ext uri="{FF2B5EF4-FFF2-40B4-BE49-F238E27FC236}">
                <a16:creationId xmlns:a16="http://schemas.microsoft.com/office/drawing/2014/main" id="{03E3304C-0485-50F4-9447-22552EDBDB42}"/>
              </a:ext>
            </a:extLst>
          </p:cNvPr>
          <p:cNvGrpSpPr/>
          <p:nvPr/>
        </p:nvGrpSpPr>
        <p:grpSpPr>
          <a:xfrm>
            <a:off x="536573" y="4288774"/>
            <a:ext cx="4023307" cy="1060507"/>
            <a:chOff x="4564419" y="1108738"/>
            <a:chExt cx="3017480" cy="795381"/>
          </a:xfrm>
        </p:grpSpPr>
        <p:sp>
          <p:nvSpPr>
            <p:cNvPr id="16" name="Google Shape;980;p12">
              <a:extLst>
                <a:ext uri="{FF2B5EF4-FFF2-40B4-BE49-F238E27FC236}">
                  <a16:creationId xmlns:a16="http://schemas.microsoft.com/office/drawing/2014/main" id="{039748ED-CBA2-2961-FE47-414E902CA5CA}"/>
                </a:ext>
              </a:extLst>
            </p:cNvPr>
            <p:cNvSpPr txBox="1"/>
            <p:nvPr/>
          </p:nvSpPr>
          <p:spPr>
            <a:xfrm>
              <a:off x="4564419" y="1696370"/>
              <a:ext cx="3017480" cy="207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Key Success Factors</a:t>
              </a:r>
            </a:p>
          </p:txBody>
        </p:sp>
        <p:sp>
          <p:nvSpPr>
            <p:cNvPr id="17" name="Google Shape;981;p12">
              <a:extLst>
                <a:ext uri="{FF2B5EF4-FFF2-40B4-BE49-F238E27FC236}">
                  <a16:creationId xmlns:a16="http://schemas.microsoft.com/office/drawing/2014/main" id="{A1E46A45-C808-C9DC-0EAD-66BF4A28BF06}"/>
                </a:ext>
              </a:extLst>
            </p:cNvPr>
            <p:cNvSpPr txBox="1"/>
            <p:nvPr/>
          </p:nvSpPr>
          <p:spPr>
            <a:xfrm>
              <a:off x="4564420" y="1108738"/>
              <a:ext cx="1828800" cy="6155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sz="5333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03</a:t>
              </a:r>
              <a:endParaRPr sz="5333" dirty="0">
                <a:solidFill>
                  <a:schemeClr val="accent5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18" name="Google Shape;982;p12">
              <a:extLst>
                <a:ext uri="{FF2B5EF4-FFF2-40B4-BE49-F238E27FC236}">
                  <a16:creationId xmlns:a16="http://schemas.microsoft.com/office/drawing/2014/main" id="{14A790FE-AC25-699F-152C-1505A6E86722}"/>
                </a:ext>
              </a:extLst>
            </p:cNvPr>
            <p:cNvCxnSpPr/>
            <p:nvPr/>
          </p:nvCxnSpPr>
          <p:spPr>
            <a:xfrm>
              <a:off x="4572000" y="1654146"/>
              <a:ext cx="497840" cy="0"/>
            </a:xfrm>
            <a:prstGeom prst="straightConnector1">
              <a:avLst/>
            </a:prstGeom>
            <a:noFill/>
            <a:ln w="127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923F8B48-86B7-7821-A6BD-BDA6EA561AF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3604" y="6456691"/>
            <a:ext cx="1686713" cy="3241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2D669E9-B5C1-4035-AAA2-126742E9E7CF}"/>
              </a:ext>
            </a:extLst>
          </p:cNvPr>
          <p:cNvSpPr txBox="1"/>
          <p:nvPr/>
        </p:nvSpPr>
        <p:spPr>
          <a:xfrm>
            <a:off x="479424" y="6575039"/>
            <a:ext cx="2093522" cy="1958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lvl="0" indent="0" algn="r">
              <a:lnSpc>
                <a:spcPct val="100000"/>
              </a:lnSpc>
              <a:spcBef>
                <a:spcPts val="600"/>
              </a:spcBef>
              <a:buFont typeface="Arial"/>
              <a:buNone/>
              <a:defRPr sz="800"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l"/>
            <a:r>
              <a:rPr lang="en-US" dirty="0"/>
              <a:t>Copyright © Hatch 2023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1888C6-C765-0582-A50A-90CDA5A33C4B}"/>
              </a:ext>
            </a:extLst>
          </p:cNvPr>
          <p:cNvSpPr txBox="1"/>
          <p:nvPr/>
        </p:nvSpPr>
        <p:spPr>
          <a:xfrm>
            <a:off x="11318507" y="6575039"/>
            <a:ext cx="322631" cy="177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Font typeface="Arial"/>
              <a:buNone/>
              <a:defRPr sz="900"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r"/>
            <a:fld id="{2C47FC89-94BB-4EAC-8CC1-5DD1CE33A36E}" type="slidenum">
              <a:rPr lang="en-AU" sz="1000" smtClean="0">
                <a:solidFill>
                  <a:schemeClr val="bg1"/>
                </a:solidFill>
                <a:latin typeface="+mn-lt"/>
              </a:rPr>
              <a:pPr lvl="0" algn="r"/>
              <a:t>2</a:t>
            </a:fld>
            <a:endParaRPr lang="en-AU" sz="10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6402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5498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3" imgW="395" imgH="394" progId="TCLayout.ActiveDocument.1">
                  <p:embed/>
                </p:oleObj>
              </mc:Choice>
              <mc:Fallback>
                <p:oleObj name="think-cell Slide" r:id="rId9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dirty="0"/>
              <a:t>Electric vehicle sales are forecast to grow faster than internal </a:t>
            </a:r>
            <a:br>
              <a:rPr lang="en-ZA" dirty="0"/>
            </a:br>
            <a:r>
              <a:rPr lang="en-ZA" dirty="0"/>
              <a:t>combustion engine vehicles</a:t>
            </a:r>
          </a:p>
        </p:txBody>
      </p:sp>
      <p:sp>
        <p:nvSpPr>
          <p:cNvPr id="657" name="TextBox 656">
            <a:extLst>
              <a:ext uri="{FF2B5EF4-FFF2-40B4-BE49-F238E27FC236}">
                <a16:creationId xmlns:a16="http://schemas.microsoft.com/office/drawing/2014/main" id="{1D8EB6D3-2E92-E291-7E62-52D66284ABF5}"/>
              </a:ext>
            </a:extLst>
          </p:cNvPr>
          <p:cNvSpPr txBox="1"/>
          <p:nvPr/>
        </p:nvSpPr>
        <p:spPr>
          <a:xfrm>
            <a:off x="1227485" y="1540565"/>
            <a:ext cx="360746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Electric vehicle sales forecast (million vehicles)</a:t>
            </a:r>
            <a:r>
              <a:rPr lang="en-US" sz="1200" b="1" baseline="30000" dirty="0">
                <a:solidFill>
                  <a:schemeClr val="tx2"/>
                </a:solidFill>
              </a:rPr>
              <a:t>1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45" name="TextBox 844">
            <a:extLst>
              <a:ext uri="{FF2B5EF4-FFF2-40B4-BE49-F238E27FC236}">
                <a16:creationId xmlns:a16="http://schemas.microsoft.com/office/drawing/2014/main" id="{9220C71B-BDE7-90F6-205A-F6EC21148830}"/>
              </a:ext>
            </a:extLst>
          </p:cNvPr>
          <p:cNvSpPr txBox="1"/>
          <p:nvPr/>
        </p:nvSpPr>
        <p:spPr>
          <a:xfrm>
            <a:off x="7173751" y="1560028"/>
            <a:ext cx="4797748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Internal combustion engine vehicle sales forecast </a:t>
            </a:r>
            <a:br>
              <a:rPr lang="en-US" sz="1200" b="1" dirty="0">
                <a:solidFill>
                  <a:schemeClr val="tx2"/>
                </a:solidFill>
              </a:rPr>
            </a:br>
            <a:r>
              <a:rPr lang="en-US" sz="1200" b="1" dirty="0">
                <a:solidFill>
                  <a:schemeClr val="tx2"/>
                </a:solidFill>
              </a:rPr>
              <a:t>(million vehicles)</a:t>
            </a:r>
            <a:r>
              <a:rPr lang="en-US" sz="1200" b="1" baseline="30000" dirty="0">
                <a:solidFill>
                  <a:schemeClr val="tx2"/>
                </a:solidFill>
              </a:rPr>
              <a:t>2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851" name="Rectangle 51">
            <a:extLst>
              <a:ext uri="{FF2B5EF4-FFF2-40B4-BE49-F238E27FC236}">
                <a16:creationId xmlns:a16="http://schemas.microsoft.com/office/drawing/2014/main" id="{563FAB2D-FEBE-4580-9236-50ED126D8D3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0943" y="6331454"/>
            <a:ext cx="7886152" cy="170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/>
          <a:lstStyle/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Sources: 1. </a:t>
            </a:r>
            <a:r>
              <a:rPr lang="en-US" sz="800" err="1">
                <a:solidFill>
                  <a:schemeClr val="tx2"/>
                </a:solidFill>
                <a:latin typeface="+mj-lt"/>
              </a:rPr>
              <a:t>BloombergNEF</a:t>
            </a:r>
            <a:r>
              <a:rPr lang="en-US" sz="800" dirty="0">
                <a:solidFill>
                  <a:schemeClr val="tx2"/>
                </a:solidFill>
                <a:latin typeface="+mj-lt"/>
              </a:rPr>
              <a:t>, 2. </a:t>
            </a:r>
            <a:r>
              <a:rPr lang="en-US" sz="800">
                <a:solidFill>
                  <a:schemeClr val="tx2"/>
                </a:solidFill>
                <a:latin typeface="+mj-lt"/>
              </a:rPr>
              <a:t>Woodmackenzie 3. Hatch Analysis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3" name="Title 646">
            <a:extLst>
              <a:ext uri="{FF2B5EF4-FFF2-40B4-BE49-F238E27FC236}">
                <a16:creationId xmlns:a16="http://schemas.microsoft.com/office/drawing/2014/main" id="{36B439D5-ECB2-1A23-FD66-6E2186F274CF}"/>
              </a:ext>
            </a:extLst>
          </p:cNvPr>
          <p:cNvSpPr txBox="1">
            <a:spLocks/>
          </p:cNvSpPr>
          <p:nvPr/>
        </p:nvSpPr>
        <p:spPr>
          <a:xfrm>
            <a:off x="459801" y="5768428"/>
            <a:ext cx="4727546" cy="439063"/>
          </a:xfrm>
          <a:prstGeom prst="rect">
            <a:avLst/>
          </a:prstGeom>
        </p:spPr>
        <p:txBody>
          <a:bodyPr vert="horz" lIns="0" tIns="36000" rIns="0" bIns="36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sz="1200" dirty="0">
                <a:solidFill>
                  <a:schemeClr val="tx2"/>
                </a:solidFill>
                <a:latin typeface="+mn-lt"/>
              </a:rPr>
              <a:t>Rapid compounded annual growth of 10% for electric vehicle sales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94C28E7-DDB9-811E-BD5E-DF0B6A15865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015489"/>
              </p:ext>
            </p:extLst>
          </p:nvPr>
        </p:nvGraphicFramePr>
        <p:xfrm>
          <a:off x="363538" y="2456341"/>
          <a:ext cx="5473700" cy="3217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5"/>
          </a:graphicData>
        </a:graphic>
      </p:graphicFrame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F5B36CC6-0B6E-07E5-3A34-F5F2DEBB449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82638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3C172CD-33CE-4E8B-AA95-0C04028D16D0}" type="datetime'''''’''''''''''''''''''''''''''''2''''''4'''">
              <a:rPr lang="en-ZA" altLang="en-US" sz="1200" smtClean="0">
                <a:solidFill>
                  <a:schemeClr val="accent2"/>
                </a:solidFill>
              </a:rPr>
              <a:pPr/>
              <a:t>’2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F3B38BC6-39A8-A11B-C678-1FFF0F6D350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76325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D5EB4A-232B-4271-A624-4714D0055384}" type="datetime'''''''’''2''5''''''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’25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56CD839D-5CA3-72B4-8FDD-81322E6E08F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71600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6EEA5DD-2770-4BE4-B443-67E8812CB214}" type="datetime'''''’''''''''''''''''''''''''''''''2''''''''''''''6'''''">
              <a:rPr lang="en-ZA" altLang="en-US" sz="1200" smtClean="0">
                <a:solidFill>
                  <a:schemeClr val="accent2"/>
                </a:solidFill>
              </a:rPr>
              <a:pPr/>
              <a:t>’26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EF553E9-6D13-3256-DF0D-CDC9133979B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66875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BAAF7C-5D66-4DED-83DD-C80FDCE10C28}" type="datetime'''’''''''''''''''''''''''2''''''''''''7'''''''''''''''''''">
              <a:rPr lang="en-ZA" altLang="en-US" sz="1200" smtClean="0">
                <a:solidFill>
                  <a:schemeClr val="accent2"/>
                </a:solidFill>
              </a:rPr>
              <a:pPr/>
              <a:t>’2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45874AD4-8C31-C0F3-823D-862045AA66F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962150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B881AB-9CE3-4788-B2EC-314874CB7B39}" type="datetime'''''''''''''''''''''’2''''''''''''''''8'''">
              <a:rPr lang="en-ZA" altLang="en-US" sz="1200" smtClean="0">
                <a:solidFill>
                  <a:schemeClr val="accent2"/>
                </a:solidFill>
              </a:rPr>
              <a:pPr/>
              <a:t>’28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3D8D5F9D-2750-FD24-1F5E-595E585B1F4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255838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1CD280-8891-4B24-8A46-DD247919F022}" type="datetime'''''''''''''''’''''''29'''''''''''''''''''''">
              <a:rPr lang="en-ZA" altLang="en-US" sz="1200" smtClean="0">
                <a:solidFill>
                  <a:schemeClr val="accent2"/>
                </a:solidFill>
              </a:rPr>
              <a:pPr/>
              <a:t>’29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459EDDCF-E918-4F44-D6E7-BF02DDF8737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51113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29450D-F080-4AA9-92C2-82ABA7D39212}" type="datetime'''''''''''''''''''''''''''''''’''''''''''''''''''3''''''''0'''">
              <a:rPr lang="en-ZA" altLang="en-US" sz="1200" smtClean="0">
                <a:solidFill>
                  <a:schemeClr val="accent2"/>
                </a:solidFill>
              </a:rPr>
              <a:pPr/>
              <a:t>’30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0463EADF-FC71-B335-9E22-66685EA53AD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846388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DC8408-3BF9-4E7B-9906-F09DCA98AE3B}" type="datetime'''’''''''''''''3''''''''''1'''''''''''''''''''">
              <a:rPr lang="en-ZA" altLang="en-US" sz="1200" smtClean="0">
                <a:solidFill>
                  <a:schemeClr val="accent2"/>
                </a:solidFill>
              </a:rPr>
              <a:pPr/>
              <a:t>’31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5B74D44-B109-9948-A79A-DDA8935839A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141663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379BAB-AD9C-4F88-8361-701ECACDCE43}" type="datetime'''''''''’''''3''''''''''''''''2'''''''''''''''''''''">
              <a:rPr lang="en-ZA" altLang="en-US" sz="1200" smtClean="0">
                <a:solidFill>
                  <a:schemeClr val="accent2"/>
                </a:solidFill>
              </a:rPr>
              <a:pPr/>
              <a:t>’32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8C370FA4-75A7-D534-67BE-D6FB41DE3CE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36938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7EE006-6E1C-4509-93E3-EADC8D41D248}" type="datetime'''''''''''''''''''''''''''''''’33'''''''''''''''">
              <a:rPr lang="en-ZA" altLang="en-US" sz="1200" smtClean="0">
                <a:solidFill>
                  <a:schemeClr val="accent2"/>
                </a:solidFill>
              </a:rPr>
              <a:pPr/>
              <a:t>’33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D9A1C24-984E-40EA-B796-CE804EAAF1C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730625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399C32-5AA4-4000-A7B7-075B50025387}" type="datetime'''''''''''’''''''''''''''3''''''''4'''''''''''''''''''''''">
              <a:rPr lang="en-ZA" altLang="en-US" sz="1200" smtClean="0">
                <a:solidFill>
                  <a:schemeClr val="accent2"/>
                </a:solidFill>
              </a:rPr>
              <a:pPr/>
              <a:t>’3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72C27B46-5F1D-3CD7-3F26-D55884966BF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025900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D827D1-0E38-4453-8C93-B67B63EE6243}" type="datetime'’3''''''''5'''''''''''''''''''''''">
              <a:rPr lang="en-ZA" altLang="en-US" sz="1200" smtClean="0">
                <a:solidFill>
                  <a:schemeClr val="accent2"/>
                </a:solidFill>
              </a:rPr>
              <a:pPr/>
              <a:t>’35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F8DBF303-5BE6-EFF1-7603-98C2D23E3BB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321175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8BFB49-9B7C-4052-B37B-C66E86D4529A}" type="datetime'''’''''''''''''''''''''''''''3''6'''''''">
              <a:rPr lang="en-ZA" altLang="en-US" sz="1200" smtClean="0">
                <a:solidFill>
                  <a:schemeClr val="accent2"/>
                </a:solidFill>
              </a:rPr>
              <a:pPr/>
              <a:t>’36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0A4086DC-1157-E52E-B50E-C1AEE766F01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616450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FDC8945-E257-4C2F-86C1-FE55E8A335C9}" type="datetime'''’''''''''''3''''''''''''7'">
              <a:rPr lang="en-ZA" altLang="en-US" sz="1200" smtClean="0">
                <a:solidFill>
                  <a:schemeClr val="accent2"/>
                </a:solidFill>
              </a:rPr>
              <a:pPr/>
              <a:t>’3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5470225C-B174-878A-421B-8E705BEDB01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910138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1A46B3-7CC4-4B3E-A20F-C4F949B6A5A9}" type="datetime'''''''''’''''''''''''''''''''''''''''3''''''''''''8'''">
              <a:rPr lang="en-ZA" altLang="en-US" sz="1200" smtClean="0">
                <a:solidFill>
                  <a:schemeClr val="accent2"/>
                </a:solidFill>
              </a:rPr>
              <a:pPr/>
              <a:t>’38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063251A2-D962-43D6-1A43-CF4BEDACB81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205413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C7F3F5-4B49-49B2-9256-1B00225D9B55}" type="datetime'''''''''''''''''''’''''''''''''''''''''''''39'''''">
              <a:rPr lang="en-ZA" altLang="en-US" sz="1200" smtClean="0">
                <a:solidFill>
                  <a:schemeClr val="accent2"/>
                </a:solidFill>
              </a:rPr>
              <a:pPr/>
              <a:t>’39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65B96C05-D304-66A7-EE6A-DFA6173CC99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500688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EE85C4B-11B8-43C6-82F1-F1AD0F488621}" type="datetime'''''''''''''''’4''''''''''''''''''''''''''''''''''0'''''''''''">
              <a:rPr lang="en-ZA" altLang="en-US" sz="1200" smtClean="0">
                <a:solidFill>
                  <a:schemeClr val="accent2"/>
                </a:solidFill>
              </a:rPr>
              <a:pPr/>
              <a:t>’40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364093A3-EA48-5152-BA73-686EE778F03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87363" y="5600883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5A07DC-8778-4DB1-9D67-4B3BF48888A7}" type="datetime'''’''''2''''''''''''3'''''''''''''''''''''''">
              <a:rPr lang="en-ZA" altLang="en-US" sz="1200" smtClean="0">
                <a:solidFill>
                  <a:schemeClr val="accent2"/>
                </a:solidFill>
              </a:rPr>
              <a:pPr/>
              <a:t>’23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7C9FA899-F635-DBAA-8D6A-ADC6B5B9682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82638" y="4649971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317C31-D0BE-4709-BBC8-940C4294D408}" type="datetime'''''''''''''''''1''''''''''''''7'''''''''''''''''''''''''''">
              <a:rPr lang="en-ZA" altLang="en-US" sz="1200" smtClean="0">
                <a:solidFill>
                  <a:schemeClr val="accent2"/>
                </a:solidFill>
              </a:rPr>
              <a:pPr/>
              <a:t>1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EB77272B-8986-A01C-1F88-742E2146636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76325" y="4472171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C90D92-B406-40AC-AA72-11242F5E9ACA}" type="datetime'''''''''''''''''''''''''''''2''''''''''''''''''''''1'''">
              <a:rPr lang="en-ZA" altLang="en-US" sz="1200" smtClean="0">
                <a:solidFill>
                  <a:schemeClr val="accent2"/>
                </a:solidFill>
              </a:rPr>
              <a:pPr/>
              <a:t>21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BDA60C4B-7E86-B5D9-94E6-26102361E62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371600" y="432135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4D35AE-7DD9-4BF8-AF6B-9E196A43C5E7}" type="datetime'''''''''''''''''''''''''''''2''''''''''''''''4'''''''''">
              <a:rPr lang="en-ZA" altLang="en-US" sz="1200" smtClean="0">
                <a:solidFill>
                  <a:schemeClr val="accent2"/>
                </a:solidFill>
              </a:rPr>
              <a:pPr/>
              <a:t>2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F8E27192-0430-B55D-C7FE-322462D5BE9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666875" y="4195946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AD21B5-DF8C-4CF6-8D1D-41B1A35B9289}" type="datetime'''''''''''''2''''''''''''''''''''''''7'''''''''''''">
              <a:rPr lang="en-ZA" altLang="en-US" sz="1200" smtClean="0">
                <a:solidFill>
                  <a:schemeClr val="accent2"/>
                </a:solidFill>
              </a:rPr>
              <a:pPr/>
              <a:t>2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FB56EC68-FCE2-D24F-22E3-E489B39BF8D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962150" y="4018146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5416A30-0C5F-4079-B216-92C5EDD818A2}" type="datetime'''''''''''''''''''''''''''3''''''''''''''''''''''''2'''''''">
              <a:rPr lang="en-ZA" altLang="en-US" sz="1200" smtClean="0">
                <a:solidFill>
                  <a:schemeClr val="accent2"/>
                </a:solidFill>
              </a:rPr>
              <a:pPr/>
              <a:t>32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4D9334D2-28F5-41E5-04E7-EFC3195E2B7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255838" y="3846696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A87736-45A9-43D2-9D90-204E2F1D013E}" type="datetime'''''''''''''''''''''''''''''''''''''''''''''3''6'''''''''''''">
              <a:rPr lang="en-ZA" altLang="en-US" sz="1200" smtClean="0">
                <a:solidFill>
                  <a:schemeClr val="accent2"/>
                </a:solidFill>
              </a:rPr>
              <a:pPr/>
              <a:t>36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77ABAF1F-D060-6126-5263-F5FE0AAE21E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551113" y="3675246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1D4165B-A620-4B91-8D7A-E11F60F91112}" type="datetime'''''''''''4''''''''''''''0'''''''''''''''''''''">
              <a:rPr lang="en-ZA" altLang="en-US" sz="1200" smtClean="0">
                <a:solidFill>
                  <a:schemeClr val="accent2"/>
                </a:solidFill>
              </a:rPr>
              <a:pPr/>
              <a:t>40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6A42A4A5-F0E0-F5C4-E747-8CC8EEA0537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846388" y="3513321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74FBB1-39D8-4F5D-BE61-4C6061653047}" type="datetime'''''4''''''''''''''''''''''''''''''4'''''''''''''''''''''''">
              <a:rPr lang="en-ZA" altLang="en-US" sz="1200" smtClean="0">
                <a:solidFill>
                  <a:schemeClr val="accent2"/>
                </a:solidFill>
              </a:rPr>
              <a:pPr/>
              <a:t>4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D2B5E7FD-0432-C55C-5DF2-6E614A6B113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141663" y="333710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10A7C0-B3B0-4B1F-8CD1-0E0A88606358}" type="datetime'''''''''''''''''4''''''''''''''''8'''''''''''''''''''''">
              <a:rPr lang="en-ZA" altLang="en-US" sz="1200" smtClean="0">
                <a:solidFill>
                  <a:schemeClr val="accent2"/>
                </a:solidFill>
              </a:rPr>
              <a:pPr/>
              <a:t>48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6776636C-5202-78EA-4570-734A0593A44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436938" y="318470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097D91B-B2FF-4DBB-A314-532B630DEF42}" type="datetime'''''''''''5''''''''''''''''1'''''''''''''''''''''''">
              <a:rPr lang="en-ZA" altLang="en-US" sz="1200" smtClean="0">
                <a:solidFill>
                  <a:schemeClr val="accent2"/>
                </a:solidFill>
              </a:rPr>
              <a:pPr/>
              <a:t>51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22921E6E-63E9-5910-C571-8C204C9A0CB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730625" y="3040246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A0A411B-755D-44EE-AB64-00DBADC36C1B}" type="datetime'''''''''''''''''5''''''''''''''''''''''''''''''''5'''''''">
              <a:rPr lang="en-ZA" altLang="en-US" sz="1200" smtClean="0">
                <a:solidFill>
                  <a:schemeClr val="accent2"/>
                </a:solidFill>
              </a:rPr>
              <a:pPr/>
              <a:t>55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C4D42924-E3B9-3553-8942-6F559FFB21A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25900" y="289895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6F88C3-3506-4D92-9F6B-81BAAC6BCFBF}" type="datetime'''''''''''''''''''''''''''''''''''5''''''''''''8'''''''''''">
              <a:rPr lang="en-ZA" altLang="en-US" sz="1200" smtClean="0">
                <a:solidFill>
                  <a:schemeClr val="accent2"/>
                </a:solidFill>
              </a:rPr>
              <a:pPr/>
              <a:t>58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8C9B0F16-6F35-73C3-0F7E-7CFC271BF4E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321175" y="2764021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D141FA0-3D08-47A3-BD36-2F8B302869BB}" type="datetime'''''6''''''''''''''''''''''''''''''''''''''''1'''''''''">
              <a:rPr lang="en-ZA" altLang="en-US" sz="1200" smtClean="0">
                <a:solidFill>
                  <a:schemeClr val="accent2"/>
                </a:solidFill>
              </a:rPr>
              <a:pPr/>
              <a:t>61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026CB72A-15ED-B88B-D335-FDDFCA3B81C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616450" y="2648133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9AF638-642B-4FDD-8D0E-2E44B5FC13AC}" type="datetime'''''''''''''''''''''''''''''''''6''''''''''''''''''4'''''">
              <a:rPr lang="en-ZA" altLang="en-US" sz="1200" smtClean="0">
                <a:solidFill>
                  <a:schemeClr val="accent2"/>
                </a:solidFill>
              </a:rPr>
              <a:pPr/>
              <a:t>6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993EA8F5-34E6-7DDE-E1F4-75EC98227FA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910138" y="252430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EFC62D-6060-4BDA-9278-E484A1F6A0AC}" type="datetime'''6''''''''''7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6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24544941-FB10-87F4-971C-BEAB4D5204E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205413" y="240365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29F69E-4BC0-4EF3-B403-89B2C5B65F02}" type="datetime'''''''''''''''7''''''''''''''''''''''''''''0'''''">
              <a:rPr lang="en-ZA" altLang="en-US" sz="1200" smtClean="0">
                <a:solidFill>
                  <a:schemeClr val="accent2"/>
                </a:solidFill>
              </a:rPr>
              <a:pPr/>
              <a:t>70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0FC7DFEB-4564-D7FC-6954-EF7DE0521EC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500688" y="228935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D122AB-FF2A-48B8-9A6E-873221E38EDD}" type="datetime'''7''3''''''''''''''''''''''''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73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D5A72A7C-C8D8-BBBE-4637-07EE7C4E86B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87363" y="4773796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66A79E2-D27B-4BC6-A75D-70077D18476D}" type="datetime'''''''''''''''''''''''''''''''''''''''1''''''''''''''''''4'''">
              <a:rPr lang="en-ZA" altLang="en-US" sz="1200" smtClean="0">
                <a:solidFill>
                  <a:schemeClr val="accent2"/>
                </a:solidFill>
              </a:rPr>
              <a:pPr/>
              <a:t>1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31DBECCC-56E6-2D17-A977-D2DF0656C8AA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506413" y="2160771"/>
            <a:ext cx="214313" cy="1603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BC1EEB80-1B7C-F905-0FF9-A5E6A9E7C59E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506413" y="2394133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AF68D793-C237-8F11-53C5-7F5562FB9F0E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506413" y="2627496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BADEB305-965A-BFA2-60FA-977DB23F3043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506413" y="286085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AAEDB265-A465-2DD2-69F5-117D46CC166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71525" y="2156008"/>
            <a:ext cx="211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33E2008-5233-42AC-8FCD-818DDCD52D52}" type="datetime'U''''''''''S''''''''''''''''''''''''''''''''''''''''''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47A323EA-76B2-48E2-C069-AC28832C8F4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71525" y="2389371"/>
            <a:ext cx="488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AE917CB-BF21-4341-BA2C-0E86C756A87D}" type="datetime'E''u''''''''''r''''''''''o''''''p''''''''''''''''''''e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Europe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D3A22A4B-08F5-7862-2A24-6F2E0779918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71525" y="2622733"/>
            <a:ext cx="3952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C1F3E70-4946-4CA3-9202-16CD8F6EB9F8}" type="datetime'''''''''''''''C''h''i''''''''''''''n''''''''a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China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03882C58-F7E7-11FB-7814-F294777BE793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71525" y="2856096"/>
            <a:ext cx="11731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60558DA-F74E-496C-B064-82B7229BA6E8}" type="datetime'''Re''st'' ''''of'' ''''t''''he'' ''''''''''''''''Wo''rld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st of the World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A4DA5958-0499-DEFB-28F9-7678DDDB4AC7}"/>
              </a:ext>
            </a:extLst>
          </p:cNvPr>
          <p:cNvGraphicFramePr/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4009581704"/>
              </p:ext>
            </p:extLst>
          </p:nvPr>
        </p:nvGraphicFramePr>
        <p:xfrm>
          <a:off x="6184900" y="2414588"/>
          <a:ext cx="5621338" cy="3217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6"/>
          </a:graphicData>
        </a:graphic>
      </p:graphicFrame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191042BE-DDBC-1192-20E7-151F6D7171F5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615114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D8A2ED-41C1-4B7A-B02D-76212A6F926C}" type="datetime'’''''''''''2''''''''''''''''''''''''''''''4'''''''''''''''">
              <a:rPr lang="en-ZA" altLang="en-US" sz="1200" smtClean="0">
                <a:solidFill>
                  <a:schemeClr val="accent2"/>
                </a:solidFill>
              </a:rPr>
              <a:pPr/>
              <a:t>’2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960901D6-6EF3-D9F5-F977-B469B9D60DC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918326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54C9DE-D615-416E-B36C-FC52EE04BB62}" type="datetime'''''''''''''''''''''''''''''’''''''''''25'">
              <a:rPr lang="en-ZA" altLang="en-US" sz="1200" smtClean="0">
                <a:solidFill>
                  <a:schemeClr val="accent2"/>
                </a:solidFill>
              </a:rPr>
              <a:pPr/>
              <a:t>’25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4C27A52A-685E-8E07-F86B-2CB7E9C9A18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221539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09A0E8-35E9-4455-BE80-76F64E3D1CBC}" type="datetime'''''''’''''''''''''''''''''2''''''''''''6'''">
              <a:rPr lang="en-ZA" altLang="en-US" sz="1200" smtClean="0">
                <a:solidFill>
                  <a:schemeClr val="accent2"/>
                </a:solidFill>
              </a:rPr>
              <a:pPr/>
              <a:t>’26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9F8DA8E5-40D1-CF7E-36D7-6AD9C5922E9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524751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66FDD4-D0C4-4FB7-8D45-AE40F1B19D82}" type="datetime'''''''''’''''''''''''2''''''''''''7'''''''''''''''''''''''''">
              <a:rPr lang="en-ZA" altLang="en-US" sz="1200" smtClean="0">
                <a:solidFill>
                  <a:schemeClr val="accent2"/>
                </a:solidFill>
              </a:rPr>
              <a:pPr/>
              <a:t>’2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A8225A0D-4D4E-2DC0-5027-8AEAAFA9880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827964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1B9235-45AE-4D07-9CCE-2FB32B162CDB}" type="datetime'''''''''''''’''''''''''''''''''''''''2''''''''''''''''''''8'''">
              <a:rPr lang="en-ZA" altLang="en-US" sz="1200" smtClean="0">
                <a:solidFill>
                  <a:schemeClr val="accent2"/>
                </a:solidFill>
              </a:rPr>
              <a:pPr/>
              <a:t>’28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C2408929-5C6D-5321-50B0-893BAE27A59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131176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F84C3E-3BBD-406F-9512-81F9923B0BE7}" type="datetime'’''''''''''''''2''''''''''''''9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’29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0898E5D1-B629-3BE9-CCCC-0414480A9573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434389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A05FF1-1115-40CA-AE64-AC5CB6AAAA73}" type="datetime'''''''’''''''''''''''''''''''''''''''''30'''''''''">
              <a:rPr lang="en-ZA" altLang="en-US" sz="1200" smtClean="0">
                <a:solidFill>
                  <a:schemeClr val="accent2"/>
                </a:solidFill>
              </a:rPr>
              <a:pPr/>
              <a:t>’30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60458A80-0821-A2F4-BA45-BBB8F545C76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737601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1A6760B-6FF3-4D46-9C18-E34846FE4A80}" type="datetime'''’''''''''''''''3''''''''''1'''''''''''''''''''''">
              <a:rPr lang="en-ZA" altLang="en-US" sz="1200" smtClean="0">
                <a:solidFill>
                  <a:schemeClr val="accent2"/>
                </a:solidFill>
              </a:rPr>
              <a:pPr/>
              <a:t>’31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1" name="Text Placeholder 2">
            <a:extLst>
              <a:ext uri="{FF2B5EF4-FFF2-40B4-BE49-F238E27FC236}">
                <a16:creationId xmlns:a16="http://schemas.microsoft.com/office/drawing/2014/main" id="{71EC4755-5BCC-19ED-E10B-BE0B65DA004E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040814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F77F0D-8460-4A83-A632-50D37518EED5}" type="datetime'''''’''3''''''''''''2'''''">
              <a:rPr lang="en-ZA" altLang="en-US" sz="1200" smtClean="0">
                <a:solidFill>
                  <a:schemeClr val="accent2"/>
                </a:solidFill>
              </a:rPr>
              <a:pPr/>
              <a:t>’32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0D9835ED-7431-D29A-353E-4030EECED81C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342439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B939577-E213-4DAF-ACE9-5C69B0579946}" type="datetime'''''’33''''''''''''''''''''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’33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A325BB60-75C6-72C8-0069-9127E484B6C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645651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84BA0E-1DD5-49AD-A5AB-A03181BC94F9}" type="datetime'''''''''’34''''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’3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1431435A-2EB8-DFEA-CC65-E7648E4956C1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948864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D26050C-5BE7-4E56-9EEE-EAD7144B58D5}" type="datetime'''''''''''''''’''''3''5'''''''''''''">
              <a:rPr lang="en-ZA" altLang="en-US" sz="1200" smtClean="0">
                <a:solidFill>
                  <a:schemeClr val="accent2"/>
                </a:solidFill>
              </a:rPr>
              <a:pPr/>
              <a:t>’35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CB5FC521-F5A2-0DA8-9407-43231C34D05A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0252076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83143A1-CBC5-4573-9105-47220AD8D831}" type="datetime'''''''''''’''''''''3''''''''6'">
              <a:rPr lang="en-ZA" altLang="en-US" sz="1200" smtClean="0">
                <a:solidFill>
                  <a:schemeClr val="accent2"/>
                </a:solidFill>
              </a:rPr>
              <a:pPr/>
              <a:t>’36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0D47E42D-DD05-34BC-E711-9674192719AE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555289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14F4DC-B592-4294-98D0-7F1E23D1E5C7}" type="datetime'''''''''''’3''''7''''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’3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7" name="Text Placeholder 2">
            <a:extLst>
              <a:ext uri="{FF2B5EF4-FFF2-40B4-BE49-F238E27FC236}">
                <a16:creationId xmlns:a16="http://schemas.microsoft.com/office/drawing/2014/main" id="{6FF14BAE-558E-D5E2-D8CA-FD180A7E6513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0858501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1AEAED-ABE1-4FE4-A1E8-5905FE8D7AE2}" type="datetime'''''''''''''’''''''''''''''''''''''''''3''''''8'''''''">
              <a:rPr lang="en-ZA" altLang="en-US" sz="1200" smtClean="0">
                <a:solidFill>
                  <a:schemeClr val="accent2"/>
                </a:solidFill>
              </a:rPr>
              <a:pPr/>
              <a:t>’38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62FC055C-C1AC-4CDE-EC1B-27CC21E250FA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1161714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E6BF51-7F86-4000-A851-6CD0703571EC}" type="datetime'''''''''''''''''''''''’''''''''''''''''''''''''''3''''9'''''''">
              <a:rPr lang="en-ZA" altLang="en-US" sz="1200" smtClean="0">
                <a:solidFill>
                  <a:schemeClr val="accent2"/>
                </a:solidFill>
              </a:rPr>
              <a:pPr/>
              <a:t>’39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E5526003-CEBF-04A0-159B-78F3696D4558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1464926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CD266F3-3039-4644-AB8C-461360164A3F}" type="datetime'''’''''''''''''''4''''''''''''''''''''''''''0'''''''''''''''">
              <a:rPr lang="en-ZA" altLang="en-US" sz="1200" smtClean="0">
                <a:solidFill>
                  <a:schemeClr val="accent2"/>
                </a:solidFill>
              </a:rPr>
              <a:pPr/>
              <a:t>’40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0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6311901" y="5600700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5E511A-FED7-4BC6-833A-9376F7F8437F}" type="datetime'’''''''''''''''2''''''''3'''''''''''''''''">
              <a:rPr lang="en-ZA" altLang="en-US" sz="1200" smtClean="0">
                <a:solidFill>
                  <a:schemeClr val="accent2"/>
                </a:solidFill>
              </a:rPr>
              <a:pPr/>
              <a:t>’23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615114" y="22891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D34F5D9-45C6-447A-9638-BD5A0903751F}" type="datetime'''''''''''''''''''''''''''''''8''''''''''''''3'''''''''">
              <a:rPr lang="en-ZA" altLang="en-US" sz="1200" smtClean="0">
                <a:solidFill>
                  <a:schemeClr val="accent2"/>
                </a:solidFill>
              </a:rPr>
              <a:pPr/>
              <a:t>83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6918326" y="23780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95AD97-C7E6-4234-80CB-0E65B6F46678}" type="datetime'''''''''''8''''''''0''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80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3" name="Text Placeholder 2">
            <a:extLst>
              <a:ext uri="{FF2B5EF4-FFF2-40B4-BE49-F238E27FC236}">
                <a16:creationId xmlns:a16="http://schemas.microsoft.com/office/drawing/2014/main" id="{1FF34187-AE23-CDD6-29EB-F91F0E085B8F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7221539" y="24352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416445-59CE-49D4-B77A-43FD9F3A0A51}" type="datetime'7''''''''''9''''''''''''''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79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4" name="Text Placeholder 2">
            <a:extLst>
              <a:ext uri="{FF2B5EF4-FFF2-40B4-BE49-F238E27FC236}">
                <a16:creationId xmlns:a16="http://schemas.microsoft.com/office/drawing/2014/main" id="{35D1EF3B-0E32-DC08-814B-76C6CC47E81A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7524751" y="2513013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632765-ACF9-4DDB-BA63-904F01016336}" type="datetime'''''''''''''''''''''''''''''''''7''''7'''''''''''''">
              <a:rPr lang="en-ZA" altLang="en-US" sz="1200" smtClean="0">
                <a:solidFill>
                  <a:schemeClr val="accent2"/>
                </a:solidFill>
              </a:rPr>
              <a:pPr/>
              <a:t>7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6B6B0409-D71C-AC19-06C6-15FF893AE995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7827964" y="261778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6FA7A1D-DD56-4667-8B57-609A47B3CD97}" type="datetime'''''7''''''''''''''''''''''4'''''''''">
              <a:rPr lang="en-ZA" altLang="en-US" sz="1200" smtClean="0">
                <a:solidFill>
                  <a:schemeClr val="accent2"/>
                </a:solidFill>
              </a:rPr>
              <a:pPr/>
              <a:t>7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3D1FE5B8-55C5-CCEC-4A22-8FFFBDEB293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8131176" y="27432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0E029AA-77B0-44C5-8DA0-144C2E997D13}" type="datetime'''''''''''''''7''''''''''0'''''''''''''''''''''''''">
              <a:rPr lang="en-ZA" altLang="en-US" sz="1200" smtClean="0">
                <a:solidFill>
                  <a:schemeClr val="accent2"/>
                </a:solidFill>
              </a:rPr>
              <a:pPr/>
              <a:t>70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F5150845-8D07-F010-AA68-30CE969ED116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8434389" y="28956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1F8E94-2A86-4B2C-884F-FC4DDCDDC7C3}" type="datetime'''''''''''''''''''''''''''''''6''''''6'''''''">
              <a:rPr lang="en-ZA" altLang="en-US" sz="1200" smtClean="0">
                <a:solidFill>
                  <a:schemeClr val="accent2"/>
                </a:solidFill>
              </a:rPr>
              <a:pPr/>
              <a:t>66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52DE6241-947F-DD59-41BD-7448BC8452A1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8737601" y="30067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7DBAFE-4C9C-4076-8E90-422058809B6C}" type="datetime'''''''''6''''''''''''''''''''''''''''''''''''''''''3'''''''">
              <a:rPr lang="en-ZA" altLang="en-US" sz="1200" smtClean="0">
                <a:solidFill>
                  <a:schemeClr val="accent2"/>
                </a:solidFill>
              </a:rPr>
              <a:pPr/>
              <a:t>63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F422387E-D88D-D8A2-1EE5-31614B8C842A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9040814" y="3109913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75F526-EBFD-4E97-ADBE-15B436509C2A}" type="datetime'''''6''''''''''''''''''''''''''''0'''''''''''''">
              <a:rPr lang="en-ZA" altLang="en-US" sz="1200" smtClean="0">
                <a:solidFill>
                  <a:schemeClr val="accent2"/>
                </a:solidFill>
              </a:rPr>
              <a:pPr/>
              <a:t>60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0" name="Text Placeholder 2">
            <a:extLst>
              <a:ext uri="{FF2B5EF4-FFF2-40B4-BE49-F238E27FC236}">
                <a16:creationId xmlns:a16="http://schemas.microsoft.com/office/drawing/2014/main" id="{0968CE51-9092-C9B4-2462-AFF784902550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9342439" y="32258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691B683-B5FB-44B7-8646-CCBF3724B1AF}" type="datetime'''5''''''''''''''''''''''''''7'''''''''''''''''''''''''">
              <a:rPr lang="en-ZA" altLang="en-US" sz="1200" smtClean="0">
                <a:solidFill>
                  <a:schemeClr val="accent2"/>
                </a:solidFill>
              </a:rPr>
              <a:pPr/>
              <a:t>5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5093406F-D624-478D-CCEE-6DA63CB41895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9645651" y="333533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FF0FCB-02AD-49F8-9A94-72B5E8926B56}" type="datetime'''''''''''''''''''''''''''''5''''''''''''''''''''''''''''''4'">
              <a:rPr lang="en-ZA" altLang="en-US" sz="1200" smtClean="0">
                <a:solidFill>
                  <a:schemeClr val="accent2"/>
                </a:solidFill>
              </a:rPr>
              <a:pPr/>
              <a:t>54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EF2AB822-D879-76FD-F988-D6D1B13A595B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9948864" y="344328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8607E9-7B84-4686-A005-CD187A98F8E5}" type="datetime'''''5''''''''''''1'">
              <a:rPr lang="en-ZA" altLang="en-US" sz="1200" smtClean="0">
                <a:solidFill>
                  <a:schemeClr val="accent2"/>
                </a:solidFill>
              </a:rPr>
              <a:pPr/>
              <a:t>51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0D3E9196-52C3-8112-8B99-C2BE0295128A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10252076" y="35306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CB2A78-853E-4DF0-B00F-0D35693BD0DA}" type="datetime'''4''''''''''''''''9'''''''''''''''''''''''''''''''''''''''''">
              <a:rPr lang="en-ZA" altLang="en-US" sz="1200" smtClean="0">
                <a:solidFill>
                  <a:schemeClr val="accent2"/>
                </a:solidFill>
              </a:rPr>
              <a:pPr/>
              <a:t>49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D3FAE7CC-BC10-C694-6067-BD16129F4E34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10555289" y="359568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8C97EA-2433-49B7-8AEB-62EC27815491}" type="datetime'''''''''''''''''''''''''''''''''''''''''''''''''''4''7'''''''">
              <a:rPr lang="en-ZA" altLang="en-US" sz="1200" smtClean="0">
                <a:solidFill>
                  <a:schemeClr val="accent2"/>
                </a:solidFill>
              </a:rPr>
              <a:pPr/>
              <a:t>47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9D1474D7-DDDC-48A8-D9DC-015DAE3DFDE9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10858501" y="36449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7B209A-6B85-4943-9E51-616EEF02A983}" type="datetime'''''''''''''4''''''''''''''''6'">
              <a:rPr lang="en-ZA" altLang="en-US" sz="1200" smtClean="0">
                <a:solidFill>
                  <a:schemeClr val="accent2"/>
                </a:solidFill>
              </a:rPr>
              <a:pPr/>
              <a:t>46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6" name="Text Placeholder 2">
            <a:extLst>
              <a:ext uri="{FF2B5EF4-FFF2-40B4-BE49-F238E27FC236}">
                <a16:creationId xmlns:a16="http://schemas.microsoft.com/office/drawing/2014/main" id="{C04066B7-CC32-602B-3D6D-F7CA45763BCA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11161714" y="36957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7DBA639-DDA3-4417-811C-919B18118078}" type="datetime'''''''''''''''''''''''''''''''4''''5'''''''''''''''''''">
              <a:rPr lang="en-ZA" altLang="en-US" sz="1200" smtClean="0">
                <a:solidFill>
                  <a:schemeClr val="accent2"/>
                </a:solidFill>
              </a:rPr>
              <a:pPr/>
              <a:t>45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222354AB-ECBD-4905-7774-48C81B330CBD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11464926" y="373538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8E5DB9-F810-40C0-8F23-CB7ECDD762AA}" type="datetime'''''''''''''''''''''''''''''''''''4''''''''''''3'''">
              <a:rPr lang="en-ZA" altLang="en-US" sz="1200" smtClean="0">
                <a:solidFill>
                  <a:schemeClr val="accent2"/>
                </a:solidFill>
              </a:rPr>
              <a:pPr/>
              <a:t>43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6311901" y="230663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F933F4-A883-466B-9BAD-9E4D7FAE417C}" type="datetime'''''''8''''''''''2'''''''''''''">
              <a:rPr lang="en-ZA" altLang="en-US" sz="1200" smtClean="0">
                <a:solidFill>
                  <a:schemeClr val="accent2"/>
                </a:solidFill>
              </a:rPr>
              <a:pPr/>
              <a:t>82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DE2163EA-2D98-9405-25CF-AC63701ECA90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10225088" y="2160771"/>
            <a:ext cx="214313" cy="1603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schemeClr val="bg1"/>
              </a:solidFill>
            </a:endParaRP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A2F54580-1C44-D6A9-EB47-CFF3C4F68037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10225088" y="2394133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schemeClr val="bg1"/>
              </a:solidFill>
            </a:endParaRP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3BDEB857-BD5E-D197-2426-24659E11ABB9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10225088" y="2627496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schemeClr val="bg1"/>
              </a:solidFill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772A5B8A-D5FC-953E-8D71-BE948CFB6C14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10225088" y="286085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schemeClr val="bg1"/>
              </a:solidFill>
            </a:endParaRPr>
          </a:p>
        </p:txBody>
      </p:sp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10490200" y="2156008"/>
            <a:ext cx="211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7C3C660-836E-4814-8D63-998A98335DDA}" type="datetime'''''''''''''''''''''''''''''''''''U''''''''S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US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10490200" y="2389371"/>
            <a:ext cx="488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4267B7E-9380-45F8-B919-6C1451E8DAB4}" type="datetime'''Eu''''''''''''''''''''''''''''''''''''''''ro''''''''p''''e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Europe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10490200" y="2622733"/>
            <a:ext cx="3952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613D17E-AA5D-49A6-A3DD-5853BC7A456E}" type="datetime'''''C''''''''''h''''''''''i''n''''''''''''a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China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10490200" y="2856096"/>
            <a:ext cx="11731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0BE0BF9-ED51-4009-B1AE-C98BE24DE3E9}" type="datetime'''Res''''''t'' o''''''''''''f th''''e'' W''o''''''r''l''d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st of the World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583A4BD-FD6C-EF2B-555F-23CF10303102}"/>
              </a:ext>
            </a:extLst>
          </p:cNvPr>
          <p:cNvGrpSpPr/>
          <p:nvPr/>
        </p:nvGrpSpPr>
        <p:grpSpPr>
          <a:xfrm>
            <a:off x="523195" y="1456199"/>
            <a:ext cx="500493" cy="434735"/>
            <a:chOff x="6983412" y="1244601"/>
            <a:chExt cx="652463" cy="56673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5BE27ADB-688E-CD1A-CCCC-1B8AF4134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3412" y="1244601"/>
              <a:ext cx="652463" cy="566738"/>
            </a:xfrm>
            <a:custGeom>
              <a:avLst/>
              <a:gdLst>
                <a:gd name="T0" fmla="*/ 900 w 1800"/>
                <a:gd name="T1" fmla="*/ 1200 h 1560"/>
                <a:gd name="T2" fmla="*/ 780 w 1800"/>
                <a:gd name="T3" fmla="*/ 1320 h 1560"/>
                <a:gd name="T4" fmla="*/ 360 w 1800"/>
                <a:gd name="T5" fmla="*/ 1320 h 1560"/>
                <a:gd name="T6" fmla="*/ 360 w 1800"/>
                <a:gd name="T7" fmla="*/ 1500 h 1560"/>
                <a:gd name="T8" fmla="*/ 300 w 1800"/>
                <a:gd name="T9" fmla="*/ 1560 h 1560"/>
                <a:gd name="T10" fmla="*/ 60 w 1800"/>
                <a:gd name="T11" fmla="*/ 1560 h 1560"/>
                <a:gd name="T12" fmla="*/ 0 w 1800"/>
                <a:gd name="T13" fmla="*/ 1500 h 1560"/>
                <a:gd name="T14" fmla="*/ 0 w 1800"/>
                <a:gd name="T15" fmla="*/ 1080 h 1560"/>
                <a:gd name="T16" fmla="*/ 120 w 1800"/>
                <a:gd name="T17" fmla="*/ 726 h 1560"/>
                <a:gd name="T18" fmla="*/ 120 w 1800"/>
                <a:gd name="T19" fmla="*/ 720 h 1560"/>
                <a:gd name="T20" fmla="*/ 0 w 1800"/>
                <a:gd name="T21" fmla="*/ 600 h 1560"/>
                <a:gd name="T22" fmla="*/ 0 w 1800"/>
                <a:gd name="T23" fmla="*/ 540 h 1560"/>
                <a:gd name="T24" fmla="*/ 60 w 1800"/>
                <a:gd name="T25" fmla="*/ 480 h 1560"/>
                <a:gd name="T26" fmla="*/ 240 w 1800"/>
                <a:gd name="T27" fmla="*/ 480 h 1560"/>
                <a:gd name="T28" fmla="*/ 360 w 1800"/>
                <a:gd name="T29" fmla="*/ 120 h 1560"/>
                <a:gd name="T30" fmla="*/ 900 w 1800"/>
                <a:gd name="T31" fmla="*/ 0 h 1560"/>
                <a:gd name="T32" fmla="*/ 1440 w 1800"/>
                <a:gd name="T33" fmla="*/ 120 h 1560"/>
                <a:gd name="T34" fmla="*/ 1560 w 1800"/>
                <a:gd name="T35" fmla="*/ 480 h 1560"/>
                <a:gd name="T36" fmla="*/ 1740 w 1800"/>
                <a:gd name="T37" fmla="*/ 480 h 1560"/>
                <a:gd name="T38" fmla="*/ 1800 w 1800"/>
                <a:gd name="T39" fmla="*/ 540 h 1560"/>
                <a:gd name="T40" fmla="*/ 1800 w 1800"/>
                <a:gd name="T41" fmla="*/ 600 h 1560"/>
                <a:gd name="T42" fmla="*/ 1680 w 1800"/>
                <a:gd name="T43" fmla="*/ 720 h 1560"/>
                <a:gd name="T44" fmla="*/ 1680 w 1800"/>
                <a:gd name="T45" fmla="*/ 726 h 1560"/>
                <a:gd name="T46" fmla="*/ 1800 w 1800"/>
                <a:gd name="T47" fmla="*/ 1080 h 1560"/>
                <a:gd name="T48" fmla="*/ 1800 w 1800"/>
                <a:gd name="T49" fmla="*/ 1500 h 1560"/>
                <a:gd name="T50" fmla="*/ 1740 w 1800"/>
                <a:gd name="T51" fmla="*/ 1560 h 1560"/>
                <a:gd name="T52" fmla="*/ 1500 w 1800"/>
                <a:gd name="T53" fmla="*/ 1560 h 1560"/>
                <a:gd name="T54" fmla="*/ 1440 w 1800"/>
                <a:gd name="T55" fmla="*/ 1500 h 1560"/>
                <a:gd name="T56" fmla="*/ 1440 w 1800"/>
                <a:gd name="T57" fmla="*/ 1320 h 1560"/>
                <a:gd name="T58" fmla="*/ 1080 w 1800"/>
                <a:gd name="T59" fmla="*/ 132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00" h="1560">
                  <a:moveTo>
                    <a:pt x="900" y="1200"/>
                  </a:moveTo>
                  <a:cubicBezTo>
                    <a:pt x="900" y="1266"/>
                    <a:pt x="846" y="1320"/>
                    <a:pt x="780" y="1320"/>
                  </a:cubicBezTo>
                  <a:cubicBezTo>
                    <a:pt x="360" y="1320"/>
                    <a:pt x="360" y="1320"/>
                    <a:pt x="360" y="1320"/>
                  </a:cubicBezTo>
                  <a:cubicBezTo>
                    <a:pt x="360" y="1500"/>
                    <a:pt x="360" y="1500"/>
                    <a:pt x="360" y="1500"/>
                  </a:cubicBezTo>
                  <a:cubicBezTo>
                    <a:pt x="360" y="1533"/>
                    <a:pt x="333" y="1560"/>
                    <a:pt x="300" y="1560"/>
                  </a:cubicBezTo>
                  <a:cubicBezTo>
                    <a:pt x="60" y="1560"/>
                    <a:pt x="60" y="1560"/>
                    <a:pt x="60" y="1560"/>
                  </a:cubicBezTo>
                  <a:cubicBezTo>
                    <a:pt x="27" y="1560"/>
                    <a:pt x="0" y="1533"/>
                    <a:pt x="0" y="1500"/>
                  </a:cubicBezTo>
                  <a:cubicBezTo>
                    <a:pt x="0" y="1080"/>
                    <a:pt x="0" y="1080"/>
                    <a:pt x="0" y="1080"/>
                  </a:cubicBezTo>
                  <a:cubicBezTo>
                    <a:pt x="0" y="960"/>
                    <a:pt x="0" y="846"/>
                    <a:pt x="120" y="726"/>
                  </a:cubicBezTo>
                  <a:cubicBezTo>
                    <a:pt x="120" y="720"/>
                    <a:pt x="120" y="720"/>
                    <a:pt x="120" y="720"/>
                  </a:cubicBezTo>
                  <a:cubicBezTo>
                    <a:pt x="54" y="720"/>
                    <a:pt x="0" y="666"/>
                    <a:pt x="0" y="600"/>
                  </a:cubicBezTo>
                  <a:cubicBezTo>
                    <a:pt x="0" y="540"/>
                    <a:pt x="0" y="540"/>
                    <a:pt x="0" y="540"/>
                  </a:cubicBezTo>
                  <a:cubicBezTo>
                    <a:pt x="0" y="507"/>
                    <a:pt x="27" y="480"/>
                    <a:pt x="60" y="480"/>
                  </a:cubicBezTo>
                  <a:cubicBezTo>
                    <a:pt x="240" y="480"/>
                    <a:pt x="240" y="480"/>
                    <a:pt x="240" y="480"/>
                  </a:cubicBezTo>
                  <a:cubicBezTo>
                    <a:pt x="360" y="120"/>
                    <a:pt x="360" y="120"/>
                    <a:pt x="360" y="120"/>
                  </a:cubicBezTo>
                  <a:cubicBezTo>
                    <a:pt x="377" y="65"/>
                    <a:pt x="602" y="0"/>
                    <a:pt x="900" y="0"/>
                  </a:cubicBezTo>
                  <a:cubicBezTo>
                    <a:pt x="1198" y="0"/>
                    <a:pt x="1423" y="65"/>
                    <a:pt x="1440" y="120"/>
                  </a:cubicBezTo>
                  <a:cubicBezTo>
                    <a:pt x="1560" y="480"/>
                    <a:pt x="1560" y="480"/>
                    <a:pt x="1560" y="480"/>
                  </a:cubicBezTo>
                  <a:cubicBezTo>
                    <a:pt x="1740" y="480"/>
                    <a:pt x="1740" y="480"/>
                    <a:pt x="1740" y="480"/>
                  </a:cubicBezTo>
                  <a:cubicBezTo>
                    <a:pt x="1773" y="480"/>
                    <a:pt x="1800" y="507"/>
                    <a:pt x="1800" y="540"/>
                  </a:cubicBezTo>
                  <a:cubicBezTo>
                    <a:pt x="1800" y="600"/>
                    <a:pt x="1800" y="600"/>
                    <a:pt x="1800" y="600"/>
                  </a:cubicBezTo>
                  <a:cubicBezTo>
                    <a:pt x="1800" y="666"/>
                    <a:pt x="1746" y="720"/>
                    <a:pt x="1680" y="720"/>
                  </a:cubicBezTo>
                  <a:cubicBezTo>
                    <a:pt x="1680" y="726"/>
                    <a:pt x="1680" y="726"/>
                    <a:pt x="1680" y="726"/>
                  </a:cubicBezTo>
                  <a:cubicBezTo>
                    <a:pt x="1800" y="846"/>
                    <a:pt x="1800" y="960"/>
                    <a:pt x="1800" y="1080"/>
                  </a:cubicBezTo>
                  <a:cubicBezTo>
                    <a:pt x="1800" y="1500"/>
                    <a:pt x="1800" y="1500"/>
                    <a:pt x="1800" y="1500"/>
                  </a:cubicBezTo>
                  <a:cubicBezTo>
                    <a:pt x="1800" y="1533"/>
                    <a:pt x="1773" y="1560"/>
                    <a:pt x="1740" y="1560"/>
                  </a:cubicBezTo>
                  <a:cubicBezTo>
                    <a:pt x="1500" y="1560"/>
                    <a:pt x="1500" y="1560"/>
                    <a:pt x="1500" y="1560"/>
                  </a:cubicBezTo>
                  <a:cubicBezTo>
                    <a:pt x="1467" y="1560"/>
                    <a:pt x="1440" y="1533"/>
                    <a:pt x="1440" y="1500"/>
                  </a:cubicBezTo>
                  <a:cubicBezTo>
                    <a:pt x="1440" y="1320"/>
                    <a:pt x="1440" y="1320"/>
                    <a:pt x="1440" y="1320"/>
                  </a:cubicBezTo>
                  <a:cubicBezTo>
                    <a:pt x="1080" y="1320"/>
                    <a:pt x="1080" y="1320"/>
                    <a:pt x="1080" y="132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" name="Line 6">
              <a:extLst>
                <a:ext uri="{FF2B5EF4-FFF2-40B4-BE49-F238E27FC236}">
                  <a16:creationId xmlns:a16="http://schemas.microsoft.com/office/drawing/2014/main" id="{6B2D720F-8481-49E0-DC2A-C97B38E8BF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308850" y="1549401"/>
              <a:ext cx="0" cy="131763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7275620C-06B7-1533-D1D3-EC986F4D0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2650" y="1506538"/>
              <a:ext cx="44450" cy="42863"/>
            </a:xfrm>
            <a:custGeom>
              <a:avLst/>
              <a:gdLst>
                <a:gd name="T0" fmla="*/ 0 w 120"/>
                <a:gd name="T1" fmla="*/ 0 h 120"/>
                <a:gd name="T2" fmla="*/ 120 w 120"/>
                <a:gd name="T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0" h="120">
                  <a:moveTo>
                    <a:pt x="0" y="0"/>
                  </a:moveTo>
                  <a:cubicBezTo>
                    <a:pt x="0" y="66"/>
                    <a:pt x="54" y="120"/>
                    <a:pt x="120" y="12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2AE93BA-857B-8D05-AF33-67DDA6D5E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2187" y="1506538"/>
              <a:ext cx="42863" cy="42863"/>
            </a:xfrm>
            <a:custGeom>
              <a:avLst/>
              <a:gdLst>
                <a:gd name="T0" fmla="*/ 120 w 120"/>
                <a:gd name="T1" fmla="*/ 0 h 120"/>
                <a:gd name="T2" fmla="*/ 0 w 120"/>
                <a:gd name="T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0" h="120">
                  <a:moveTo>
                    <a:pt x="120" y="0"/>
                  </a:moveTo>
                  <a:cubicBezTo>
                    <a:pt x="120" y="66"/>
                    <a:pt x="66" y="120"/>
                    <a:pt x="0" y="12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Line 9">
              <a:extLst>
                <a:ext uri="{FF2B5EF4-FFF2-40B4-BE49-F238E27FC236}">
                  <a16:creationId xmlns:a16="http://schemas.microsoft.com/office/drawing/2014/main" id="{750E615D-07A6-3565-C84A-E1BF66AF5A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77100" y="1549401"/>
              <a:ext cx="65088" cy="0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Line 10">
              <a:extLst>
                <a:ext uri="{FF2B5EF4-FFF2-40B4-BE49-F238E27FC236}">
                  <a16:creationId xmlns:a16="http://schemas.microsoft.com/office/drawing/2014/main" id="{7A750673-C4C1-A751-1B73-BE036685B4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32650" y="1419226"/>
              <a:ext cx="0" cy="87313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Line 11">
              <a:extLst>
                <a:ext uri="{FF2B5EF4-FFF2-40B4-BE49-F238E27FC236}">
                  <a16:creationId xmlns:a16="http://schemas.microsoft.com/office/drawing/2014/main" id="{FC8313C9-460D-A0C3-96EF-6EDF174C6D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85050" y="1419226"/>
              <a:ext cx="0" cy="87313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Line 12">
              <a:extLst>
                <a:ext uri="{FF2B5EF4-FFF2-40B4-BE49-F238E27FC236}">
                  <a16:creationId xmlns:a16="http://schemas.microsoft.com/office/drawing/2014/main" id="{4E3563E1-3FA2-82D3-FB1F-458F86F8E5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32650" y="1419226"/>
              <a:ext cx="152400" cy="0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Line 13">
              <a:extLst>
                <a:ext uri="{FF2B5EF4-FFF2-40B4-BE49-F238E27FC236}">
                  <a16:creationId xmlns:a16="http://schemas.microsoft.com/office/drawing/2014/main" id="{56D0E342-C9A1-7CE1-BCB2-C963A725E1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65987" y="1331913"/>
              <a:ext cx="0" cy="87313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id="{21FFD9FB-7366-804B-524F-04BB55ECD3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1712" y="1331913"/>
              <a:ext cx="0" cy="87313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0D266EA-F606-B685-4B0D-CF1FBEF8DBA4}"/>
              </a:ext>
            </a:extLst>
          </p:cNvPr>
          <p:cNvGrpSpPr/>
          <p:nvPr/>
        </p:nvGrpSpPr>
        <p:grpSpPr>
          <a:xfrm>
            <a:off x="6294438" y="1569149"/>
            <a:ext cx="715019" cy="340460"/>
            <a:chOff x="256520" y="2407960"/>
            <a:chExt cx="1445657" cy="688357"/>
          </a:xfrm>
        </p:grpSpPr>
        <p:sp>
          <p:nvSpPr>
            <p:cNvPr id="18" name="Freeform 52">
              <a:extLst>
                <a:ext uri="{FF2B5EF4-FFF2-40B4-BE49-F238E27FC236}">
                  <a16:creationId xmlns:a16="http://schemas.microsoft.com/office/drawing/2014/main" id="{727329BA-331B-4C38-91C9-0A26EDAB6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114" y="2499256"/>
              <a:ext cx="445170" cy="181515"/>
            </a:xfrm>
            <a:custGeom>
              <a:avLst/>
              <a:gdLst>
                <a:gd name="T0" fmla="*/ 428 w 697"/>
                <a:gd name="T1" fmla="*/ 17 h 284"/>
                <a:gd name="T2" fmla="*/ 462 w 697"/>
                <a:gd name="T3" fmla="*/ 29 h 284"/>
                <a:gd name="T4" fmla="*/ 683 w 697"/>
                <a:gd name="T5" fmla="*/ 214 h 284"/>
                <a:gd name="T6" fmla="*/ 667 w 697"/>
                <a:gd name="T7" fmla="*/ 283 h 284"/>
                <a:gd name="T8" fmla="*/ 192 w 697"/>
                <a:gd name="T9" fmla="*/ 268 h 284"/>
                <a:gd name="T10" fmla="*/ 0 w 697"/>
                <a:gd name="T11" fmla="*/ 199 h 284"/>
                <a:gd name="T12" fmla="*/ 244 w 697"/>
                <a:gd name="T13" fmla="*/ 5 h 284"/>
                <a:gd name="T14" fmla="*/ 428 w 697"/>
                <a:gd name="T15" fmla="*/ 1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7" h="284">
                  <a:moveTo>
                    <a:pt x="428" y="17"/>
                  </a:moveTo>
                  <a:cubicBezTo>
                    <a:pt x="440" y="20"/>
                    <a:pt x="451" y="24"/>
                    <a:pt x="462" y="29"/>
                  </a:cubicBezTo>
                  <a:cubicBezTo>
                    <a:pt x="558" y="73"/>
                    <a:pt x="643" y="149"/>
                    <a:pt x="683" y="214"/>
                  </a:cubicBezTo>
                  <a:cubicBezTo>
                    <a:pt x="697" y="239"/>
                    <a:pt x="687" y="283"/>
                    <a:pt x="667" y="283"/>
                  </a:cubicBezTo>
                  <a:cubicBezTo>
                    <a:pt x="572" y="284"/>
                    <a:pt x="350" y="284"/>
                    <a:pt x="192" y="268"/>
                  </a:cubicBezTo>
                  <a:cubicBezTo>
                    <a:pt x="77" y="257"/>
                    <a:pt x="0" y="199"/>
                    <a:pt x="0" y="199"/>
                  </a:cubicBezTo>
                  <a:cubicBezTo>
                    <a:pt x="0" y="199"/>
                    <a:pt x="70" y="13"/>
                    <a:pt x="244" y="5"/>
                  </a:cubicBezTo>
                  <a:cubicBezTo>
                    <a:pt x="341" y="0"/>
                    <a:pt x="397" y="11"/>
                    <a:pt x="428" y="17"/>
                  </a:cubicBezTo>
                  <a:close/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Line 53">
              <a:extLst>
                <a:ext uri="{FF2B5EF4-FFF2-40B4-BE49-F238E27FC236}">
                  <a16:creationId xmlns:a16="http://schemas.microsoft.com/office/drawing/2014/main" id="{ED9E3DE9-A00C-1150-01F5-BCBD2540C3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7822" y="3000442"/>
              <a:ext cx="476410" cy="0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54">
              <a:extLst>
                <a:ext uri="{FF2B5EF4-FFF2-40B4-BE49-F238E27FC236}">
                  <a16:creationId xmlns:a16="http://schemas.microsoft.com/office/drawing/2014/main" id="{935DA243-0479-8A67-A2DF-985B1AB1C0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4231" y="2828083"/>
              <a:ext cx="185824" cy="268233"/>
            </a:xfrm>
            <a:prstGeom prst="ellips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55">
              <a:extLst>
                <a:ext uri="{FF2B5EF4-FFF2-40B4-BE49-F238E27FC236}">
                  <a16:creationId xmlns:a16="http://schemas.microsoft.com/office/drawing/2014/main" id="{1B4ABCF3-E922-1381-B8C4-46CF521D3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38" y="2828083"/>
              <a:ext cx="185555" cy="268233"/>
            </a:xfrm>
            <a:prstGeom prst="ellips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56">
              <a:extLst>
                <a:ext uri="{FF2B5EF4-FFF2-40B4-BE49-F238E27FC236}">
                  <a16:creationId xmlns:a16="http://schemas.microsoft.com/office/drawing/2014/main" id="{96DB3953-E569-81FE-5CE5-1288CFB41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20" y="2412538"/>
              <a:ext cx="430357" cy="587904"/>
            </a:xfrm>
            <a:custGeom>
              <a:avLst/>
              <a:gdLst>
                <a:gd name="T0" fmla="*/ 93 w 674"/>
                <a:gd name="T1" fmla="*/ 921 h 921"/>
                <a:gd name="T2" fmla="*/ 88 w 674"/>
                <a:gd name="T3" fmla="*/ 921 h 921"/>
                <a:gd name="T4" fmla="*/ 0 w 674"/>
                <a:gd name="T5" fmla="*/ 832 h 921"/>
                <a:gd name="T6" fmla="*/ 4 w 674"/>
                <a:gd name="T7" fmla="*/ 437 h 921"/>
                <a:gd name="T8" fmla="*/ 89 w 674"/>
                <a:gd name="T9" fmla="*/ 324 h 921"/>
                <a:gd name="T10" fmla="*/ 304 w 674"/>
                <a:gd name="T11" fmla="*/ 95 h 921"/>
                <a:gd name="T12" fmla="*/ 637 w 674"/>
                <a:gd name="T13" fmla="*/ 0 h 921"/>
                <a:gd name="T14" fmla="*/ 674 w 674"/>
                <a:gd name="T15" fmla="*/ 0 h 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4" h="921">
                  <a:moveTo>
                    <a:pt x="93" y="921"/>
                  </a:moveTo>
                  <a:cubicBezTo>
                    <a:pt x="88" y="921"/>
                    <a:pt x="88" y="921"/>
                    <a:pt x="88" y="921"/>
                  </a:cubicBezTo>
                  <a:cubicBezTo>
                    <a:pt x="39" y="921"/>
                    <a:pt x="0" y="881"/>
                    <a:pt x="0" y="832"/>
                  </a:cubicBezTo>
                  <a:cubicBezTo>
                    <a:pt x="4" y="437"/>
                    <a:pt x="4" y="437"/>
                    <a:pt x="4" y="437"/>
                  </a:cubicBezTo>
                  <a:cubicBezTo>
                    <a:pt x="13" y="387"/>
                    <a:pt x="44" y="346"/>
                    <a:pt x="89" y="324"/>
                  </a:cubicBezTo>
                  <a:cubicBezTo>
                    <a:pt x="194" y="272"/>
                    <a:pt x="238" y="146"/>
                    <a:pt x="304" y="95"/>
                  </a:cubicBezTo>
                  <a:cubicBezTo>
                    <a:pt x="394" y="26"/>
                    <a:pt x="445" y="4"/>
                    <a:pt x="637" y="0"/>
                  </a:cubicBezTo>
                  <a:cubicBezTo>
                    <a:pt x="674" y="0"/>
                    <a:pt x="674" y="0"/>
                    <a:pt x="674" y="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57">
              <a:extLst>
                <a:ext uri="{FF2B5EF4-FFF2-40B4-BE49-F238E27FC236}">
                  <a16:creationId xmlns:a16="http://schemas.microsoft.com/office/drawing/2014/main" id="{F296309F-C83E-D5D0-2622-B3756F46A9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877" y="2407960"/>
              <a:ext cx="821126" cy="240763"/>
            </a:xfrm>
            <a:custGeom>
              <a:avLst/>
              <a:gdLst>
                <a:gd name="T0" fmla="*/ 1286 w 1286"/>
                <a:gd name="T1" fmla="*/ 377 h 377"/>
                <a:gd name="T2" fmla="*/ 741 w 1286"/>
                <a:gd name="T3" fmla="*/ 7 h 377"/>
                <a:gd name="T4" fmla="*/ 0 w 1286"/>
                <a:gd name="T5" fmla="*/ 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6" h="377">
                  <a:moveTo>
                    <a:pt x="1286" y="377"/>
                  </a:moveTo>
                  <a:cubicBezTo>
                    <a:pt x="1143" y="249"/>
                    <a:pt x="981" y="7"/>
                    <a:pt x="741" y="7"/>
                  </a:cubicBezTo>
                  <a:cubicBezTo>
                    <a:pt x="466" y="0"/>
                    <a:pt x="0" y="7"/>
                    <a:pt x="0" y="7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58">
              <a:extLst>
                <a:ext uri="{FF2B5EF4-FFF2-40B4-BE49-F238E27FC236}">
                  <a16:creationId xmlns:a16="http://schemas.microsoft.com/office/drawing/2014/main" id="{8D241A7C-090E-69AC-E9FB-94B22BBCA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877" y="2412538"/>
              <a:ext cx="821126" cy="236185"/>
            </a:xfrm>
            <a:custGeom>
              <a:avLst/>
              <a:gdLst>
                <a:gd name="T0" fmla="*/ 0 w 1286"/>
                <a:gd name="T1" fmla="*/ 0 h 370"/>
                <a:gd name="T2" fmla="*/ 520 w 1286"/>
                <a:gd name="T3" fmla="*/ 347 h 370"/>
                <a:gd name="T4" fmla="*/ 579 w 1286"/>
                <a:gd name="T5" fmla="*/ 370 h 370"/>
                <a:gd name="T6" fmla="*/ 1286 w 1286"/>
                <a:gd name="T7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6" h="370">
                  <a:moveTo>
                    <a:pt x="0" y="0"/>
                  </a:moveTo>
                  <a:cubicBezTo>
                    <a:pt x="226" y="0"/>
                    <a:pt x="383" y="215"/>
                    <a:pt x="520" y="347"/>
                  </a:cubicBezTo>
                  <a:cubicBezTo>
                    <a:pt x="536" y="362"/>
                    <a:pt x="557" y="370"/>
                    <a:pt x="579" y="370"/>
                  </a:cubicBezTo>
                  <a:cubicBezTo>
                    <a:pt x="1286" y="370"/>
                    <a:pt x="1286" y="370"/>
                    <a:pt x="1286" y="37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59">
              <a:extLst>
                <a:ext uri="{FF2B5EF4-FFF2-40B4-BE49-F238E27FC236}">
                  <a16:creationId xmlns:a16="http://schemas.microsoft.com/office/drawing/2014/main" id="{B1EA70CF-0E4F-A48B-994A-FF3640013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285" y="2648723"/>
              <a:ext cx="545892" cy="351719"/>
            </a:xfrm>
            <a:custGeom>
              <a:avLst/>
              <a:gdLst>
                <a:gd name="T0" fmla="*/ 551 w 855"/>
                <a:gd name="T1" fmla="*/ 0 h 551"/>
                <a:gd name="T2" fmla="*/ 710 w 855"/>
                <a:gd name="T3" fmla="*/ 52 h 551"/>
                <a:gd name="T4" fmla="*/ 840 w 855"/>
                <a:gd name="T5" fmla="*/ 196 h 551"/>
                <a:gd name="T6" fmla="*/ 854 w 855"/>
                <a:gd name="T7" fmla="*/ 317 h 551"/>
                <a:gd name="T8" fmla="*/ 854 w 855"/>
                <a:gd name="T9" fmla="*/ 482 h 551"/>
                <a:gd name="T10" fmla="*/ 791 w 855"/>
                <a:gd name="T11" fmla="*/ 551 h 551"/>
                <a:gd name="T12" fmla="*/ 0 w 855"/>
                <a:gd name="T13" fmla="*/ 551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5" h="551">
                  <a:moveTo>
                    <a:pt x="551" y="0"/>
                  </a:moveTo>
                  <a:cubicBezTo>
                    <a:pt x="551" y="0"/>
                    <a:pt x="663" y="31"/>
                    <a:pt x="710" y="52"/>
                  </a:cubicBezTo>
                  <a:cubicBezTo>
                    <a:pt x="779" y="82"/>
                    <a:pt x="827" y="121"/>
                    <a:pt x="840" y="196"/>
                  </a:cubicBezTo>
                  <a:cubicBezTo>
                    <a:pt x="847" y="235"/>
                    <a:pt x="852" y="272"/>
                    <a:pt x="854" y="317"/>
                  </a:cubicBezTo>
                  <a:cubicBezTo>
                    <a:pt x="855" y="345"/>
                    <a:pt x="853" y="423"/>
                    <a:pt x="854" y="482"/>
                  </a:cubicBezTo>
                  <a:cubicBezTo>
                    <a:pt x="854" y="520"/>
                    <a:pt x="829" y="551"/>
                    <a:pt x="791" y="551"/>
                  </a:cubicBezTo>
                  <a:cubicBezTo>
                    <a:pt x="0" y="551"/>
                    <a:pt x="0" y="551"/>
                    <a:pt x="0" y="551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Line 60">
              <a:extLst>
                <a:ext uri="{FF2B5EF4-FFF2-40B4-BE49-F238E27FC236}">
                  <a16:creationId xmlns:a16="http://schemas.microsoft.com/office/drawing/2014/main" id="{D29004CA-D5CC-777C-142E-1D95CB53B2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75761" y="3096316"/>
              <a:ext cx="89411" cy="0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61">
              <a:extLst>
                <a:ext uri="{FF2B5EF4-FFF2-40B4-BE49-F238E27FC236}">
                  <a16:creationId xmlns:a16="http://schemas.microsoft.com/office/drawing/2014/main" id="{4E33F356-FCB8-01B4-D320-8AB07FD4A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172" y="3000442"/>
              <a:ext cx="88872" cy="95874"/>
            </a:xfrm>
            <a:custGeom>
              <a:avLst/>
              <a:gdLst>
                <a:gd name="T0" fmla="*/ 139 w 139"/>
                <a:gd name="T1" fmla="*/ 0 h 150"/>
                <a:gd name="T2" fmla="*/ 0 w 139"/>
                <a:gd name="T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9" h="150">
                  <a:moveTo>
                    <a:pt x="139" y="0"/>
                  </a:moveTo>
                  <a:cubicBezTo>
                    <a:pt x="121" y="87"/>
                    <a:pt x="65" y="150"/>
                    <a:pt x="0" y="15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62">
              <a:extLst>
                <a:ext uri="{FF2B5EF4-FFF2-40B4-BE49-F238E27FC236}">
                  <a16:creationId xmlns:a16="http://schemas.microsoft.com/office/drawing/2014/main" id="{8F810D30-A6EE-CED4-3A96-FFE26072F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468" y="3000442"/>
              <a:ext cx="88872" cy="95874"/>
            </a:xfrm>
            <a:custGeom>
              <a:avLst/>
              <a:gdLst>
                <a:gd name="T0" fmla="*/ 139 w 139"/>
                <a:gd name="T1" fmla="*/ 150 h 150"/>
                <a:gd name="T2" fmla="*/ 0 w 139"/>
                <a:gd name="T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9" h="150">
                  <a:moveTo>
                    <a:pt x="139" y="150"/>
                  </a:moveTo>
                  <a:cubicBezTo>
                    <a:pt x="73" y="150"/>
                    <a:pt x="18" y="87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Line 63">
              <a:extLst>
                <a:ext uri="{FF2B5EF4-FFF2-40B4-BE49-F238E27FC236}">
                  <a16:creationId xmlns:a16="http://schemas.microsoft.com/office/drawing/2014/main" id="{7DC38C3F-374A-7DC5-615C-8F16C57FB3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4340" y="3096316"/>
              <a:ext cx="97490" cy="0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64">
              <a:extLst>
                <a:ext uri="{FF2B5EF4-FFF2-40B4-BE49-F238E27FC236}">
                  <a16:creationId xmlns:a16="http://schemas.microsoft.com/office/drawing/2014/main" id="{220FED63-431B-2E0B-2BBA-2DF773708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1830" y="3000442"/>
              <a:ext cx="88872" cy="95874"/>
            </a:xfrm>
            <a:custGeom>
              <a:avLst/>
              <a:gdLst>
                <a:gd name="T0" fmla="*/ 139 w 139"/>
                <a:gd name="T1" fmla="*/ 0 h 150"/>
                <a:gd name="T2" fmla="*/ 0 w 139"/>
                <a:gd name="T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9" h="150">
                  <a:moveTo>
                    <a:pt x="139" y="0"/>
                  </a:moveTo>
                  <a:cubicBezTo>
                    <a:pt x="121" y="87"/>
                    <a:pt x="66" y="150"/>
                    <a:pt x="0" y="15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65">
              <a:extLst>
                <a:ext uri="{FF2B5EF4-FFF2-40B4-BE49-F238E27FC236}">
                  <a16:creationId xmlns:a16="http://schemas.microsoft.com/office/drawing/2014/main" id="{27B8A932-DB11-6BEE-1880-40520E2E4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466" y="3000442"/>
              <a:ext cx="89411" cy="95874"/>
            </a:xfrm>
            <a:custGeom>
              <a:avLst/>
              <a:gdLst>
                <a:gd name="T0" fmla="*/ 140 w 140"/>
                <a:gd name="T1" fmla="*/ 150 h 150"/>
                <a:gd name="T2" fmla="*/ 0 w 140"/>
                <a:gd name="T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0" h="150">
                  <a:moveTo>
                    <a:pt x="140" y="150"/>
                  </a:moveTo>
                  <a:cubicBezTo>
                    <a:pt x="74" y="150"/>
                    <a:pt x="18" y="87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Line 66">
              <a:extLst>
                <a:ext uri="{FF2B5EF4-FFF2-40B4-BE49-F238E27FC236}">
                  <a16:creationId xmlns:a16="http://schemas.microsoft.com/office/drawing/2014/main" id="{DE6519B4-C1AB-7A62-9245-4BD69EAEE6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5877" y="3096316"/>
              <a:ext cx="97760" cy="0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67">
              <a:extLst>
                <a:ext uri="{FF2B5EF4-FFF2-40B4-BE49-F238E27FC236}">
                  <a16:creationId xmlns:a16="http://schemas.microsoft.com/office/drawing/2014/main" id="{7760D70D-7F61-4D4C-EB7E-A50F0A55E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637" y="3037607"/>
              <a:ext cx="76484" cy="58710"/>
            </a:xfrm>
            <a:custGeom>
              <a:avLst/>
              <a:gdLst>
                <a:gd name="T0" fmla="*/ 120 w 120"/>
                <a:gd name="T1" fmla="*/ 0 h 92"/>
                <a:gd name="T2" fmla="*/ 0 w 120"/>
                <a:gd name="T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0" h="92">
                  <a:moveTo>
                    <a:pt x="120" y="0"/>
                  </a:moveTo>
                  <a:cubicBezTo>
                    <a:pt x="94" y="55"/>
                    <a:pt x="50" y="92"/>
                    <a:pt x="0" y="92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Line 68">
              <a:extLst>
                <a:ext uri="{FF2B5EF4-FFF2-40B4-BE49-F238E27FC236}">
                  <a16:creationId xmlns:a16="http://schemas.microsoft.com/office/drawing/2014/main" id="{CA281BD2-235C-3F0D-1434-9AD9E85460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7567" y="3096316"/>
              <a:ext cx="88603" cy="0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69">
              <a:extLst>
                <a:ext uri="{FF2B5EF4-FFF2-40B4-BE49-F238E27FC236}">
                  <a16:creationId xmlns:a16="http://schemas.microsoft.com/office/drawing/2014/main" id="{9B2C183E-5761-DB11-F4E8-E3EC28402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170" y="3000442"/>
              <a:ext cx="89411" cy="95874"/>
            </a:xfrm>
            <a:custGeom>
              <a:avLst/>
              <a:gdLst>
                <a:gd name="T0" fmla="*/ 140 w 140"/>
                <a:gd name="T1" fmla="*/ 0 h 150"/>
                <a:gd name="T2" fmla="*/ 0 w 140"/>
                <a:gd name="T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0" h="150">
                  <a:moveTo>
                    <a:pt x="140" y="0"/>
                  </a:moveTo>
                  <a:cubicBezTo>
                    <a:pt x="122" y="87"/>
                    <a:pt x="66" y="150"/>
                    <a:pt x="0" y="15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Line 70">
              <a:extLst>
                <a:ext uri="{FF2B5EF4-FFF2-40B4-BE49-F238E27FC236}">
                  <a16:creationId xmlns:a16="http://schemas.microsoft.com/office/drawing/2014/main" id="{AF7E26B0-D614-CCC1-A264-0573C704CD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89238" y="2881676"/>
              <a:ext cx="155123" cy="0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71">
              <a:extLst>
                <a:ext uri="{FF2B5EF4-FFF2-40B4-BE49-F238E27FC236}">
                  <a16:creationId xmlns:a16="http://schemas.microsoft.com/office/drawing/2014/main" id="{5E41FBEC-6870-9908-4B3D-0609A54B9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457" y="2784725"/>
              <a:ext cx="86179" cy="47937"/>
            </a:xfrm>
            <a:custGeom>
              <a:avLst/>
              <a:gdLst>
                <a:gd name="T0" fmla="*/ 0 w 135"/>
                <a:gd name="T1" fmla="*/ 66 h 75"/>
                <a:gd name="T2" fmla="*/ 135 w 135"/>
                <a:gd name="T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5" h="75">
                  <a:moveTo>
                    <a:pt x="0" y="66"/>
                  </a:moveTo>
                  <a:cubicBezTo>
                    <a:pt x="27" y="66"/>
                    <a:pt x="94" y="75"/>
                    <a:pt x="135" y="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72">
              <a:extLst>
                <a:ext uri="{FF2B5EF4-FFF2-40B4-BE49-F238E27FC236}">
                  <a16:creationId xmlns:a16="http://schemas.microsoft.com/office/drawing/2014/main" id="{FDA2BF50-F633-EEFB-72FD-8784C2B4A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178" y="2774491"/>
              <a:ext cx="123883" cy="59518"/>
            </a:xfrm>
            <a:custGeom>
              <a:avLst/>
              <a:gdLst>
                <a:gd name="T0" fmla="*/ 194 w 194"/>
                <a:gd name="T1" fmla="*/ 82 h 93"/>
                <a:gd name="T2" fmla="*/ 0 w 194"/>
                <a:gd name="T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4" h="93">
                  <a:moveTo>
                    <a:pt x="194" y="82"/>
                  </a:moveTo>
                  <a:cubicBezTo>
                    <a:pt x="155" y="82"/>
                    <a:pt x="54" y="93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Line 73">
              <a:extLst>
                <a:ext uri="{FF2B5EF4-FFF2-40B4-BE49-F238E27FC236}">
                  <a16:creationId xmlns:a16="http://schemas.microsoft.com/office/drawing/2014/main" id="{F15171C7-EE1F-E7E8-42CC-F28394A686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0216" y="2502488"/>
              <a:ext cx="0" cy="174244"/>
            </a:xfrm>
            <a:prstGeom prst="line">
              <a:avLst/>
            </a:prstGeom>
            <a:noFill/>
            <a:ln w="9525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41B8E970-2B49-9578-5D71-133FAD65C495}"/>
              </a:ext>
            </a:extLst>
          </p:cNvPr>
          <p:cNvCxnSpPr/>
          <p:nvPr/>
        </p:nvCxnSpPr>
        <p:spPr>
          <a:xfrm>
            <a:off x="6095424" y="1929360"/>
            <a:ext cx="0" cy="439524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5316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1364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395" imgH="394" progId="TCLayout.ActiveDocument.1">
                  <p:embed/>
                </p:oleObj>
              </mc:Choice>
              <mc:Fallback>
                <p:oleObj name="think-cell Slide" r:id="rId45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dirty="0"/>
              <a:t>This pattern triggers a demand in lithium-ion batteries projected </a:t>
            </a:r>
            <a:br>
              <a:rPr lang="en-ZA" dirty="0"/>
            </a:br>
            <a:r>
              <a:rPr lang="en-ZA" dirty="0"/>
              <a:t>to grow at a CAGR of 14% </a:t>
            </a: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77DB5DB8-3734-AC69-12D5-5B17EE788D5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6995496"/>
              </p:ext>
            </p:extLst>
          </p:nvPr>
        </p:nvGraphicFramePr>
        <p:xfrm>
          <a:off x="2540000" y="1955800"/>
          <a:ext cx="9253538" cy="415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1077" name="Straight Connector 1076">
            <a:extLst>
              <a:ext uri="{FF2B5EF4-FFF2-40B4-BE49-F238E27FC236}">
                <a16:creationId xmlns:a16="http://schemas.microsoft.com/office/drawing/2014/main" id="{6CF429B7-40AA-0140-1CB5-69C3AC5BEB4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 flipV="1">
            <a:off x="2970213" y="1625601"/>
            <a:ext cx="8389938" cy="3197225"/>
          </a:xfrm>
          <a:prstGeom prst="line">
            <a:avLst/>
          </a:prstGeom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1" name="Text Placeholder 2">
            <a:extLst>
              <a:ext uri="{FF2B5EF4-FFF2-40B4-BE49-F238E27FC236}">
                <a16:creationId xmlns:a16="http://schemas.microsoft.com/office/drawing/2014/main" id="{AF67DAD8-03A2-C9E4-D0B2-692079752C0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795588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02C7952-8F99-434B-B476-8E11B3A6B0AE}" type="datetime'2''0''''''''''''''''''''''''''''''''''''2''''3''''''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23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2" name="Text Placeholder 2">
            <a:extLst>
              <a:ext uri="{FF2B5EF4-FFF2-40B4-BE49-F238E27FC236}">
                <a16:creationId xmlns:a16="http://schemas.microsoft.com/office/drawing/2014/main" id="{5D3E5768-E2F5-3520-4099-71BE216EAAE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495675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8B656D-85E9-494D-AFB9-F980447B833C}" type="datetime'''''''''''''''''''2''''''''''0''''''24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24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3" name="Text Placeholder 2">
            <a:extLst>
              <a:ext uri="{FF2B5EF4-FFF2-40B4-BE49-F238E27FC236}">
                <a16:creationId xmlns:a16="http://schemas.microsoft.com/office/drawing/2014/main" id="{655B83E0-D1D1-CCD4-8CA1-2CB84B7A566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194175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F8303E-8D46-47AF-9603-FD64FFDD0669}" type="datetime'''''''2''''''''''''0''''''2''''''''''5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25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4" name="Text Placeholder 2">
            <a:extLst>
              <a:ext uri="{FF2B5EF4-FFF2-40B4-BE49-F238E27FC236}">
                <a16:creationId xmlns:a16="http://schemas.microsoft.com/office/drawing/2014/main" id="{6A9338FD-B894-CA41-8592-A048EA7EF3F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894263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46D557-EECF-423E-9E08-A213B368701E}" type="datetime'2''''''''''''02''''''''''''''''''''6''''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26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5" name="Text Placeholder 2">
            <a:extLst>
              <a:ext uri="{FF2B5EF4-FFF2-40B4-BE49-F238E27FC236}">
                <a16:creationId xmlns:a16="http://schemas.microsoft.com/office/drawing/2014/main" id="{5B0E84D1-5DDD-718D-6F78-11FCC87D59A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92763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B9549C-C0AC-4D96-B11F-C1B471A8BA63}" type="datetime'''''''''20''''''''''''''''27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27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6" name="Text Placeholder 2">
            <a:extLst>
              <a:ext uri="{FF2B5EF4-FFF2-40B4-BE49-F238E27FC236}">
                <a16:creationId xmlns:a16="http://schemas.microsoft.com/office/drawing/2014/main" id="{91162CE8-5D23-0209-E5E5-7086BEB7097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91263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AE9605-5643-411A-8C57-200B4C122D74}" type="datetime'''''''''''''20''2''''''''''''''''''''8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28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7" name="Text Placeholder 2">
            <a:extLst>
              <a:ext uri="{FF2B5EF4-FFF2-40B4-BE49-F238E27FC236}">
                <a16:creationId xmlns:a16="http://schemas.microsoft.com/office/drawing/2014/main" id="{FCFC7220-8B6C-38D1-DAF2-56E00E8D06F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991350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AF2363-5378-4339-A62D-3B92D5713404}" type="datetime'''2''''''''0''''''''''''''''29''''''''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29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8" name="Text Placeholder 2">
            <a:extLst>
              <a:ext uri="{FF2B5EF4-FFF2-40B4-BE49-F238E27FC236}">
                <a16:creationId xmlns:a16="http://schemas.microsoft.com/office/drawing/2014/main" id="{06F14F06-245F-142E-C53F-C2F9B60215F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89850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CB9003-664A-41A9-8CA2-4673B1C8E7F6}" type="datetime'''''''''''''''''''''''''''''''2''0''''30''''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30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9" name="Text Placeholder 2">
            <a:extLst>
              <a:ext uri="{FF2B5EF4-FFF2-40B4-BE49-F238E27FC236}">
                <a16:creationId xmlns:a16="http://schemas.microsoft.com/office/drawing/2014/main" id="{210D5AA3-545D-C2F6-13F4-2B8E52967A7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388350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5A19C31-D807-4927-B76E-3D595333DAD2}" type="datetime'''''''''2''''''0''''''''''''''''''''3''1''''''''''''''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31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40" name="Text Placeholder 2">
            <a:extLst>
              <a:ext uri="{FF2B5EF4-FFF2-40B4-BE49-F238E27FC236}">
                <a16:creationId xmlns:a16="http://schemas.microsoft.com/office/drawing/2014/main" id="{EF279803-85EF-B43D-372C-6A10BCBDEA1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088438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BF420E-71E2-4A03-85CD-24FD2A4957FB}" type="datetime'''''''''20''3''''''''''''''''''''''2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32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41" name="Text Placeholder 2">
            <a:extLst>
              <a:ext uri="{FF2B5EF4-FFF2-40B4-BE49-F238E27FC236}">
                <a16:creationId xmlns:a16="http://schemas.microsoft.com/office/drawing/2014/main" id="{73823493-BA19-4C00-932C-EFF698CFAF7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786938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AD5D0E-A4A2-4E6A-A562-60E76A409225}" type="datetime'''''2''''''''0''''''''''''3''''''''3''''''''''''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33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42" name="Text Placeholder 2">
            <a:extLst>
              <a:ext uri="{FF2B5EF4-FFF2-40B4-BE49-F238E27FC236}">
                <a16:creationId xmlns:a16="http://schemas.microsoft.com/office/drawing/2014/main" id="{77D2C73E-8988-D1EC-5946-AB28AE93367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487025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200BD1-8458-4CA1-9178-B6E4A7CDD736}" type="datetime'''2''''''''''''''''''''03''4''''''''''''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34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43" name="Text Placeholder 2">
            <a:extLst>
              <a:ext uri="{FF2B5EF4-FFF2-40B4-BE49-F238E27FC236}">
                <a16:creationId xmlns:a16="http://schemas.microsoft.com/office/drawing/2014/main" id="{0D2D5E86-50AD-DD66-AA28-F159FB32D94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185525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57037A-D835-41FF-90BB-B5100D1E530F}" type="datetime'''''''''2''''''''''''''''''''0''''''''''''3''5'''''">
              <a:rPr lang="en-ZA" altLang="en-US" sz="1200" smtClean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pPr/>
              <a:t>2035</a:t>
            </a:fld>
            <a:endParaRPr lang="en-ZA" sz="12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D6DE53A0-D4F8-0CCE-7566-862DA354FDF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759075" y="50276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FBA1CF-585C-4A92-B5CE-4ED8E29C47FA}" type="datetime'''''''1'''''''''''''''',''''''0''''''''''59''''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1,059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48" name="Text Placeholder 2">
            <a:extLst>
              <a:ext uri="{FF2B5EF4-FFF2-40B4-BE49-F238E27FC236}">
                <a16:creationId xmlns:a16="http://schemas.microsoft.com/office/drawing/2014/main" id="{430205D3-3FD3-858B-E6DA-F19A662F644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459163" y="497998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9EFEB8-82FE-4A0A-801D-3C55648D11AB}" type="datetime'''''''''1'',1''''''''''''''''''''''''''''22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1,122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49" name="Text Placeholder 2">
            <a:extLst>
              <a:ext uri="{FF2B5EF4-FFF2-40B4-BE49-F238E27FC236}">
                <a16:creationId xmlns:a16="http://schemas.microsoft.com/office/drawing/2014/main" id="{89877D96-9521-D68D-9627-044F9B17BF2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157663" y="472598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544E58C-3A16-403A-8611-836BF644F25C}" type="datetime'''1,''''''''''45''''''9''''''''''''''''''''''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1,459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0" name="Text Placeholder 2">
            <a:extLst>
              <a:ext uri="{FF2B5EF4-FFF2-40B4-BE49-F238E27FC236}">
                <a16:creationId xmlns:a16="http://schemas.microsoft.com/office/drawing/2014/main" id="{64A44A70-2D0C-80ED-CA00-BC83524D75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57750" y="44259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990978-00E5-4CD1-A7E2-AFEF452ABF09}" type="datetime'''''''''1'''''''''''''''',''''8''5''''''9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1,859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1" name="Text Placeholder 2">
            <a:extLst>
              <a:ext uri="{FF2B5EF4-FFF2-40B4-BE49-F238E27FC236}">
                <a16:creationId xmlns:a16="http://schemas.microsoft.com/office/drawing/2014/main" id="{DFBA50C7-6971-6932-9348-5F7DD6F15CA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556250" y="41243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B60FEA-845D-426E-9182-C8407E6956B7}" type="datetime'''''''''''''2'''''',''2''''''''''''''''''5''''''''''''9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,259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2" name="Text Placeholder 2">
            <a:extLst>
              <a:ext uri="{FF2B5EF4-FFF2-40B4-BE49-F238E27FC236}">
                <a16:creationId xmlns:a16="http://schemas.microsoft.com/office/drawing/2014/main" id="{2C1EE2F5-0CE8-1236-C3C7-B9A2E418389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54750" y="38512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46F730-810F-4718-AAE1-2D1F9E648927}" type="datetime'''''''''''''''''''2,''''''621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,621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3" name="Text Placeholder 2">
            <a:extLst>
              <a:ext uri="{FF2B5EF4-FFF2-40B4-BE49-F238E27FC236}">
                <a16:creationId xmlns:a16="http://schemas.microsoft.com/office/drawing/2014/main" id="{92C8E095-3472-3667-417A-C1711271D0F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954838" y="35417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AF67A3-5A89-498A-A1A7-9DC00C4D491B}" type="datetime'3,''0''''''''''''''''''''''''''''3''''''''''''''3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3,033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4" name="Text Placeholder 2">
            <a:extLst>
              <a:ext uri="{FF2B5EF4-FFF2-40B4-BE49-F238E27FC236}">
                <a16:creationId xmlns:a16="http://schemas.microsoft.com/office/drawing/2014/main" id="{0ADE0A34-2F2B-C343-6364-36F6C292289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653338" y="32035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0CC80ED-21CE-4E50-BDA0-647A73F1D6FA}" type="datetime'''''''''''3'',''''''''''''''4''''''''''''''''''''''8''''3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3,483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5" name="Text Placeholder 2">
            <a:extLst>
              <a:ext uri="{FF2B5EF4-FFF2-40B4-BE49-F238E27FC236}">
                <a16:creationId xmlns:a16="http://schemas.microsoft.com/office/drawing/2014/main" id="{4E2D0432-D849-D5C2-7536-B5D23FD13D4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351838" y="29194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D7F2887-B446-49D1-B4C5-72AE6705BEEF}" type="datetime'''''3,''''''85''''''''''''''''''''''''''''9''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3,859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6" name="Text Placeholder 2">
            <a:extLst>
              <a:ext uri="{FF2B5EF4-FFF2-40B4-BE49-F238E27FC236}">
                <a16:creationId xmlns:a16="http://schemas.microsoft.com/office/drawing/2014/main" id="{341D076D-BBC3-CF13-6276-5E15DE21E15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051925" y="26384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300D7F-AC83-438D-8BE1-8B56D63BD7D5}" type="datetime'''''''''''''''4'',2''''''''''''''3''''''''''''3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4,233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7" name="Text Placeholder 2">
            <a:extLst>
              <a:ext uri="{FF2B5EF4-FFF2-40B4-BE49-F238E27FC236}">
                <a16:creationId xmlns:a16="http://schemas.microsoft.com/office/drawing/2014/main" id="{7027CD3E-C53F-731D-906E-E11ACD6A582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750425" y="237490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6E1C58-1B88-44A3-9383-91D1363605CA}" type="datetime'''''''''''''4'',''''''5''''''''''''''''''''''8''''''''3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4,583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8" name="Text Placeholder 2">
            <a:extLst>
              <a:ext uri="{FF2B5EF4-FFF2-40B4-BE49-F238E27FC236}">
                <a16:creationId xmlns:a16="http://schemas.microsoft.com/office/drawing/2014/main" id="{F8FD857C-ECFC-376B-F79E-2836C53953E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450513" y="20732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068CB1-A126-4A0F-AABF-58A6F64A9780}" type="datetime'''''''''''''''''4'''''''''''''''''',98''''''''''3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4,983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9" name="Text Placeholder 2">
            <a:extLst>
              <a:ext uri="{FF2B5EF4-FFF2-40B4-BE49-F238E27FC236}">
                <a16:creationId xmlns:a16="http://schemas.microsoft.com/office/drawing/2014/main" id="{27AFF488-366C-E916-73A3-C9E152EA600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1149013" y="183038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ECDCD5-6C02-42D5-AE74-31BD65E9A139}" type="datetime'''''''''5'''''''''',''''''''''''''''3''''0''''''6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5,306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1075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886576" y="3095625"/>
            <a:ext cx="555625" cy="258763"/>
          </a:xfrm>
          <a:prstGeom prst="ellipse">
            <a:avLst/>
          </a:prstGeom>
          <a:solidFill>
            <a:schemeClr val="accent2"/>
          </a:solidFill>
          <a:ln w="9525" cmpd="sng" algn="ctr">
            <a:solidFill>
              <a:schemeClr val="accent5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189ACD-4B92-4789-A7A7-8F7132EAB684}" type="datetime'''''''+''''''''''''''''''''''''''''''''''''''1''''''4%'''">
              <a:rPr lang="en-ZA" altLang="en-US" sz="1200" b="1" smtClean="0">
                <a:solidFill>
                  <a:schemeClr val="bg2"/>
                </a:solidFill>
                <a:effectLst/>
                <a:ea typeface="+mj-ea"/>
                <a:cs typeface="+mj-cs"/>
              </a:rPr>
              <a:pPr/>
              <a:t>+14%</a:t>
            </a:fld>
            <a:endParaRPr lang="en-ZA" sz="1200" b="1" dirty="0">
              <a:solidFill>
                <a:schemeClr val="bg2"/>
              </a:solidFill>
              <a:ea typeface="+mj-ea"/>
              <a:cs typeface="+mj-cs"/>
            </a:endParaRPr>
          </a:p>
        </p:txBody>
      </p:sp>
      <p:sp>
        <p:nvSpPr>
          <p:cNvPr id="1036" name="Rectangle 1035">
            <a:extLst>
              <a:ext uri="{FF2B5EF4-FFF2-40B4-BE49-F238E27FC236}">
                <a16:creationId xmlns:a16="http://schemas.microsoft.com/office/drawing/2014/main" id="{778815B1-3388-9480-F9AA-C28340B440CE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3060700" y="2103438"/>
            <a:ext cx="214313" cy="16033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37" name="Rectangle 1036">
            <a:extLst>
              <a:ext uri="{FF2B5EF4-FFF2-40B4-BE49-F238E27FC236}">
                <a16:creationId xmlns:a16="http://schemas.microsoft.com/office/drawing/2014/main" id="{ABF88812-8F70-B172-5CC2-C98523E4C2ED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3060700" y="2336800"/>
            <a:ext cx="214313" cy="16033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38" name="Rectangle 1037">
            <a:extLst>
              <a:ext uri="{FF2B5EF4-FFF2-40B4-BE49-F238E27FC236}">
                <a16:creationId xmlns:a16="http://schemas.microsoft.com/office/drawing/2014/main" id="{F5326C6D-86E7-7946-2390-D9F92E9D5360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3060700" y="2570163"/>
            <a:ext cx="214313" cy="1603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39" name="Rectangle 1038">
            <a:extLst>
              <a:ext uri="{FF2B5EF4-FFF2-40B4-BE49-F238E27FC236}">
                <a16:creationId xmlns:a16="http://schemas.microsoft.com/office/drawing/2014/main" id="{26A7E1A5-8EB2-9A26-986C-3EFC8469B726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895850" y="210343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40" name="Rectangle 1039">
            <a:extLst>
              <a:ext uri="{FF2B5EF4-FFF2-40B4-BE49-F238E27FC236}">
                <a16:creationId xmlns:a16="http://schemas.microsoft.com/office/drawing/2014/main" id="{A22A63DD-B2C9-9094-C5AE-4E3489332793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4895850" y="2336800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42ADC23E-7EF2-7C16-E247-868B293E88EB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4895850" y="2570163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28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325813" y="2098675"/>
            <a:ext cx="557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4B3FA55-092A-4D7E-AF92-8ECE1FF64080}" type="datetime'E-''b''''''''''''''''''u''''''s''''e''''''''''''''''s'">
              <a:rPr lang="en-ZA" altLang="en-US" sz="1200" smtClean="0">
                <a:solidFill>
                  <a:schemeClr val="accent2"/>
                </a:solidFill>
              </a:rPr>
              <a:pPr/>
              <a:t>E-buses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0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325813" y="2332038"/>
            <a:ext cx="14684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CD24716-A9DC-4786-ABD8-ADF88D093D39}" type="datetime'C''ons''ume''''r'' ''''''el''''e''ct''ron''''''''i''cs'''">
              <a:rPr lang="en-ZA" altLang="en-US" sz="1200" smtClean="0">
                <a:solidFill>
                  <a:schemeClr val="accent2"/>
                </a:solidFill>
              </a:rPr>
              <a:pPr/>
              <a:t>Consumer electronics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1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3325813" y="2565400"/>
            <a:ext cx="12334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636FBD8-DA1F-4666-908F-0D1BCB5F5100}" type="datetime'''S''ta''ti''''''on''ary'' st''''''o''''''''''''r''''''ag''e'">
              <a:rPr lang="en-ZA" altLang="en-US" sz="1200" smtClean="0">
                <a:solidFill>
                  <a:schemeClr val="accent2"/>
                </a:solidFill>
              </a:rPr>
              <a:pPr/>
              <a:t>Stationary storage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160963" y="2098675"/>
            <a:ext cx="1816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37663CE-7B2A-4927-9DB4-A255D09EF5A2}" type="datetime'''Elec''t''ric'''' t''''w''''o''/thre''e'' whee''''ler''s'''''">
              <a:rPr lang="en-ZA" altLang="en-US" sz="1200" smtClean="0">
                <a:solidFill>
                  <a:schemeClr val="accent2"/>
                </a:solidFill>
              </a:rPr>
              <a:pPr/>
              <a:t>Electric two/three wheelers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4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160963" y="2332038"/>
            <a:ext cx="11064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BAF3F16-3EF5-407E-9588-628F399FDD44}" type="datetime'Co''mme''r''ci''''al ''''E''''''''''''''v''''s'''''''">
              <a:rPr lang="en-ZA" altLang="en-US" sz="1200" smtClean="0">
                <a:solidFill>
                  <a:schemeClr val="accent2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mmercial Evs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2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160963" y="2565400"/>
            <a:ext cx="1047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348FECB-34C9-4593-9A88-435CB81DFC63}" type="datetime'P''a''''''s''''s''e''''''n''g''e''''''r ''''E''''V''''s'''''''">
              <a:rPr lang="en-ZA" altLang="en-US" sz="1200" smtClean="0">
                <a:solidFill>
                  <a:schemeClr val="accent2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Passenger EVs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79424" y="1371600"/>
            <a:ext cx="2034168" cy="48672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E167FC-6B61-6307-E322-71352E4402A7}"/>
              </a:ext>
            </a:extLst>
          </p:cNvPr>
          <p:cNvGrpSpPr/>
          <p:nvPr/>
        </p:nvGrpSpPr>
        <p:grpSpPr>
          <a:xfrm>
            <a:off x="585667" y="2539588"/>
            <a:ext cx="357220" cy="764675"/>
            <a:chOff x="11331575" y="3290888"/>
            <a:chExt cx="304800" cy="652463"/>
          </a:xfrm>
        </p:grpSpPr>
        <p:sp>
          <p:nvSpPr>
            <p:cNvPr id="3" name="Freeform 187">
              <a:extLst>
                <a:ext uri="{FF2B5EF4-FFF2-40B4-BE49-F238E27FC236}">
                  <a16:creationId xmlns:a16="http://schemas.microsoft.com/office/drawing/2014/main" id="{0AF75237-B4C5-66C7-CCB4-6AAA111E3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31575" y="3333751"/>
              <a:ext cx="304800" cy="609600"/>
            </a:xfrm>
            <a:custGeom>
              <a:avLst/>
              <a:gdLst>
                <a:gd name="T0" fmla="*/ 60 w 840"/>
                <a:gd name="T1" fmla="*/ 0 h 1680"/>
                <a:gd name="T2" fmla="*/ 0 w 840"/>
                <a:gd name="T3" fmla="*/ 60 h 1680"/>
                <a:gd name="T4" fmla="*/ 0 w 840"/>
                <a:gd name="T5" fmla="*/ 1620 h 1680"/>
                <a:gd name="T6" fmla="*/ 60 w 840"/>
                <a:gd name="T7" fmla="*/ 1680 h 1680"/>
                <a:gd name="T8" fmla="*/ 780 w 840"/>
                <a:gd name="T9" fmla="*/ 1680 h 1680"/>
                <a:gd name="T10" fmla="*/ 840 w 840"/>
                <a:gd name="T11" fmla="*/ 1620 h 1680"/>
                <a:gd name="T12" fmla="*/ 840 w 840"/>
                <a:gd name="T13" fmla="*/ 60 h 1680"/>
                <a:gd name="T14" fmla="*/ 780 w 840"/>
                <a:gd name="T15" fmla="*/ 0 h 1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0" h="1680"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1620"/>
                    <a:pt x="0" y="1620"/>
                    <a:pt x="0" y="1620"/>
                  </a:cubicBezTo>
                  <a:cubicBezTo>
                    <a:pt x="0" y="1653"/>
                    <a:pt x="27" y="1680"/>
                    <a:pt x="60" y="1680"/>
                  </a:cubicBezTo>
                  <a:cubicBezTo>
                    <a:pt x="780" y="1680"/>
                    <a:pt x="780" y="1680"/>
                    <a:pt x="780" y="1680"/>
                  </a:cubicBezTo>
                  <a:cubicBezTo>
                    <a:pt x="813" y="1680"/>
                    <a:pt x="840" y="1653"/>
                    <a:pt x="840" y="1620"/>
                  </a:cubicBezTo>
                  <a:cubicBezTo>
                    <a:pt x="840" y="60"/>
                    <a:pt x="840" y="60"/>
                    <a:pt x="840" y="60"/>
                  </a:cubicBezTo>
                  <a:cubicBezTo>
                    <a:pt x="840" y="27"/>
                    <a:pt x="813" y="0"/>
                    <a:pt x="780" y="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" name="Freeform 188">
              <a:extLst>
                <a:ext uri="{FF2B5EF4-FFF2-40B4-BE49-F238E27FC236}">
                  <a16:creationId xmlns:a16="http://schemas.microsoft.com/office/drawing/2014/main" id="{2CC07276-0F1E-5499-7CF1-3EB08BEAE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8887" y="3290888"/>
              <a:ext cx="130175" cy="42863"/>
            </a:xfrm>
            <a:custGeom>
              <a:avLst/>
              <a:gdLst>
                <a:gd name="T0" fmla="*/ 360 w 360"/>
                <a:gd name="T1" fmla="*/ 120 h 120"/>
                <a:gd name="T2" fmla="*/ 360 w 360"/>
                <a:gd name="T3" fmla="*/ 60 h 120"/>
                <a:gd name="T4" fmla="*/ 300 w 360"/>
                <a:gd name="T5" fmla="*/ 0 h 120"/>
                <a:gd name="T6" fmla="*/ 60 w 360"/>
                <a:gd name="T7" fmla="*/ 0 h 120"/>
                <a:gd name="T8" fmla="*/ 0 w 360"/>
                <a:gd name="T9" fmla="*/ 60 h 120"/>
                <a:gd name="T10" fmla="*/ 0 w 360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0" h="120">
                  <a:moveTo>
                    <a:pt x="360" y="120"/>
                  </a:moveTo>
                  <a:cubicBezTo>
                    <a:pt x="360" y="60"/>
                    <a:pt x="360" y="60"/>
                    <a:pt x="360" y="60"/>
                  </a:cubicBezTo>
                  <a:cubicBezTo>
                    <a:pt x="360" y="27"/>
                    <a:pt x="333" y="0"/>
                    <a:pt x="30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120"/>
                    <a:pt x="0" y="120"/>
                    <a:pt x="0" y="120"/>
                  </a:cubicBez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" name="Line 189">
              <a:extLst>
                <a:ext uri="{FF2B5EF4-FFF2-40B4-BE49-F238E27FC236}">
                  <a16:creationId xmlns:a16="http://schemas.microsoft.com/office/drawing/2014/main" id="{50BD5C23-76DE-374C-FB62-ACEF35E83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353800" y="3333751"/>
              <a:ext cx="65088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" name="Line 190">
              <a:extLst>
                <a:ext uri="{FF2B5EF4-FFF2-40B4-BE49-F238E27FC236}">
                  <a16:creationId xmlns:a16="http://schemas.microsoft.com/office/drawing/2014/main" id="{EEDFF23E-232E-F6CD-EA09-4F320D607A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549062" y="3333751"/>
              <a:ext cx="65088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Line 191">
              <a:extLst>
                <a:ext uri="{FF2B5EF4-FFF2-40B4-BE49-F238E27FC236}">
                  <a16:creationId xmlns:a16="http://schemas.microsoft.com/office/drawing/2014/main" id="{47E7C7E2-7736-5330-9B3A-8E5E65394C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441112" y="3551238"/>
              <a:ext cx="42863" cy="87313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Line 192">
              <a:extLst>
                <a:ext uri="{FF2B5EF4-FFF2-40B4-BE49-F238E27FC236}">
                  <a16:creationId xmlns:a16="http://schemas.microsoft.com/office/drawing/2014/main" id="{96292A16-89BB-0667-5406-CC2529B40A9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441112" y="3638551"/>
              <a:ext cx="85725" cy="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Line 193">
              <a:extLst>
                <a:ext uri="{FF2B5EF4-FFF2-40B4-BE49-F238E27FC236}">
                  <a16:creationId xmlns:a16="http://schemas.microsoft.com/office/drawing/2014/main" id="{9A12ACE5-6C1D-3999-8EA5-7E90E924D4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483975" y="3638551"/>
              <a:ext cx="42863" cy="87313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2BF05650-7666-1C70-33B1-6CF4CABDF491}"/>
              </a:ext>
            </a:extLst>
          </p:cNvPr>
          <p:cNvSpPr txBox="1"/>
          <p:nvPr/>
        </p:nvSpPr>
        <p:spPr>
          <a:xfrm>
            <a:off x="542012" y="3438936"/>
            <a:ext cx="1770977" cy="3674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sz="1400" b="1" dirty="0">
                <a:solidFill>
                  <a:schemeClr val="accent1"/>
                </a:solidFill>
              </a:rPr>
              <a:t>Lithium-ion battery </a:t>
            </a:r>
            <a:br>
              <a:rPr lang="en-US" sz="1400" b="1" dirty="0">
                <a:solidFill>
                  <a:schemeClr val="accent1"/>
                </a:solidFill>
              </a:rPr>
            </a:br>
            <a:r>
              <a:rPr lang="en-US" sz="1400" b="1" dirty="0">
                <a:solidFill>
                  <a:schemeClr val="accent1"/>
                </a:solidFill>
              </a:rPr>
              <a:t>demand (GWh/year)</a:t>
            </a:r>
          </a:p>
        </p:txBody>
      </p:sp>
      <p:sp>
        <p:nvSpPr>
          <p:cNvPr id="12" name="Rectangle 51">
            <a:extLst>
              <a:ext uri="{FF2B5EF4-FFF2-40B4-BE49-F238E27FC236}">
                <a16:creationId xmlns:a16="http://schemas.microsoft.com/office/drawing/2014/main" id="{D3E12B06-53AF-E2BB-C01B-8E78FD0C6FE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340" y="6353540"/>
            <a:ext cx="7786761" cy="115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/>
          <a:lstStyle/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Source: BloombergNEF. The barrel of tomorrow, January 2023</a:t>
            </a:r>
          </a:p>
        </p:txBody>
      </p:sp>
    </p:spTree>
    <p:extLst>
      <p:ext uri="{BB962C8B-B14F-4D97-AF65-F5344CB8AC3E}">
        <p14:creationId xmlns:p14="http://schemas.microsoft.com/office/powerpoint/2010/main" val="358239932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4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74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95" imgH="394" progId="TCLayout.ActiveDocument.1">
                  <p:embed/>
                </p:oleObj>
              </mc:Choice>
              <mc:Fallback>
                <p:oleObj name="think-cell Slide" r:id="rId4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sequently, the demand in battery metals is projected to grow at a CAGR of 24% </a:t>
            </a:r>
            <a:endParaRPr lang="en-ZA" dirty="0"/>
          </a:p>
        </p:txBody>
      </p:sp>
      <p:graphicFrame>
        <p:nvGraphicFramePr>
          <p:cNvPr id="1026" name="Chart 1025">
            <a:extLst>
              <a:ext uri="{FF2B5EF4-FFF2-40B4-BE49-F238E27FC236}">
                <a16:creationId xmlns:a16="http://schemas.microsoft.com/office/drawing/2014/main" id="{C919568A-848A-115A-D4A8-12D94E9AF59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954795"/>
              </p:ext>
            </p:extLst>
          </p:nvPr>
        </p:nvGraphicFramePr>
        <p:xfrm>
          <a:off x="2540000" y="1627188"/>
          <a:ext cx="9091613" cy="4487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1077" name="Straight Connector 1076">
            <a:extLst>
              <a:ext uri="{FF2B5EF4-FFF2-40B4-BE49-F238E27FC236}">
                <a16:creationId xmlns:a16="http://schemas.microsoft.com/office/drawing/2014/main" id="{6CF429B7-40AA-0140-1CB5-69C3AC5BEB4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 flipV="1">
            <a:off x="3027362" y="1349375"/>
            <a:ext cx="8115300" cy="3824288"/>
          </a:xfrm>
          <a:prstGeom prst="line">
            <a:avLst/>
          </a:prstGeom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1" name="Text Placeholder 2">
            <a:extLst>
              <a:ext uri="{FF2B5EF4-FFF2-40B4-BE49-F238E27FC236}">
                <a16:creationId xmlns:a16="http://schemas.microsoft.com/office/drawing/2014/main" id="{AF67DAD8-03A2-C9E4-D0B2-692079752C0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852738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E6C17C-838E-473D-A1B9-FD5FBFB4DD42}" type="datetime'''''''''''''''2''0''''''''''2''''''''''''''''0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0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32" name="Text Placeholder 2">
            <a:extLst>
              <a:ext uri="{FF2B5EF4-FFF2-40B4-BE49-F238E27FC236}">
                <a16:creationId xmlns:a16="http://schemas.microsoft.com/office/drawing/2014/main" id="{5D3E5768-E2F5-3520-4099-71BE216EAAE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63950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D583F6-1AF7-4EAB-B54F-8E9F106B5837}" type="datetime'''2''''''''0''''''''''''''''2''''''1''''''''''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1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33" name="Text Placeholder 2">
            <a:extLst>
              <a:ext uri="{FF2B5EF4-FFF2-40B4-BE49-F238E27FC236}">
                <a16:creationId xmlns:a16="http://schemas.microsoft.com/office/drawing/2014/main" id="{655B83E0-D1D1-CCD4-8CA1-2CB84B7A566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475163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17906A-85A8-4115-B4CB-78954057CC22}" type="datetime'''''''''20''''''2''2''''''''''''''''''''''''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2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34" name="Text Placeholder 2">
            <a:extLst>
              <a:ext uri="{FF2B5EF4-FFF2-40B4-BE49-F238E27FC236}">
                <a16:creationId xmlns:a16="http://schemas.microsoft.com/office/drawing/2014/main" id="{6A9338FD-B894-CA41-8592-A048EA7EF3F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287963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8EAFEA-0FB7-4227-B8D7-828F352B8E3A}" type="datetime'''''''''''''''''''''''''2''''''''''''0''''''''''''23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3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35" name="Text Placeholder 2">
            <a:extLst>
              <a:ext uri="{FF2B5EF4-FFF2-40B4-BE49-F238E27FC236}">
                <a16:creationId xmlns:a16="http://schemas.microsoft.com/office/drawing/2014/main" id="{5B0E84D1-5DDD-718D-6F78-11FCC87D59A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099175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BC14BA-8C20-41B3-9DD5-DB29256368FA}" type="datetime'''''''''''''''''''''2''''''''''''''0''''24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4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36" name="Text Placeholder 2">
            <a:extLst>
              <a:ext uri="{FF2B5EF4-FFF2-40B4-BE49-F238E27FC236}">
                <a16:creationId xmlns:a16="http://schemas.microsoft.com/office/drawing/2014/main" id="{91162CE8-5D23-0209-E5E5-7086BEB7097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910388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45E28A-8C71-4A8B-B419-576BA1FC611E}" type="datetime'''''''''2''''''''''''0''''''''''''''''''2''''''''5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5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37" name="Text Placeholder 2">
            <a:extLst>
              <a:ext uri="{FF2B5EF4-FFF2-40B4-BE49-F238E27FC236}">
                <a16:creationId xmlns:a16="http://schemas.microsoft.com/office/drawing/2014/main" id="{FCFC7220-8B6C-38D1-DAF2-56E00E8D06F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721600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AD5E11-C12A-4F17-AEC3-78A7D19C2259}" type="datetime'''''2''''''''''''''''''''0''''26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6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38" name="Text Placeholder 2">
            <a:extLst>
              <a:ext uri="{FF2B5EF4-FFF2-40B4-BE49-F238E27FC236}">
                <a16:creationId xmlns:a16="http://schemas.microsoft.com/office/drawing/2014/main" id="{06F14F06-245F-142E-C53F-C2F9B60215F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532813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0E79CF-EBBB-4669-AE2B-976C2FE4EE19}" type="datetime'''''''2''''''''''''''''''0''2''''''''''''''''''7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7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39" name="Text Placeholder 2">
            <a:extLst>
              <a:ext uri="{FF2B5EF4-FFF2-40B4-BE49-F238E27FC236}">
                <a16:creationId xmlns:a16="http://schemas.microsoft.com/office/drawing/2014/main" id="{210D5AA3-545D-C2F6-13F4-2B8E52967A7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344025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E0BDEC-65E1-494B-9BBE-F1E51F34AFE0}" type="datetime'''2''''''''''''''''0''''''''''''28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8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40" name="Text Placeholder 2">
            <a:extLst>
              <a:ext uri="{FF2B5EF4-FFF2-40B4-BE49-F238E27FC236}">
                <a16:creationId xmlns:a16="http://schemas.microsoft.com/office/drawing/2014/main" id="{EF279803-85EF-B43D-372C-6A10BCBDEA1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156825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5A27A6-CE44-4B5C-BBA9-B51B118038A5}" type="datetime'''''''''''''''''''2''''''''''''''''''''''029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29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41" name="Text Placeholder 2">
            <a:extLst>
              <a:ext uri="{FF2B5EF4-FFF2-40B4-BE49-F238E27FC236}">
                <a16:creationId xmlns:a16="http://schemas.microsoft.com/office/drawing/2014/main" id="{73823493-BA19-4C00-932C-EFF698CFAF7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68038" y="60833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4B1DF6-6223-4DB1-8485-651859C99118}" type="datetime'''2''''''''''''''''''''03''''''''''''''''''''''''''0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030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47" name="Text Placeholder 2">
            <a:extLst>
              <a:ext uri="{FF2B5EF4-FFF2-40B4-BE49-F238E27FC236}">
                <a16:creationId xmlns:a16="http://schemas.microsoft.com/office/drawing/2014/main" id="{D6DE53A0-D4F8-0CCE-7566-862DA354FDF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63863" y="5326063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FAA1B6D-9BA9-4DC0-8F4D-470E9F859055}" type="datetime'''2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2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48" name="Text Placeholder 2">
            <a:extLst>
              <a:ext uri="{FF2B5EF4-FFF2-40B4-BE49-F238E27FC236}">
                <a16:creationId xmlns:a16="http://schemas.microsoft.com/office/drawing/2014/main" id="{430205D3-3FD3-858B-E6DA-F19A662F644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75075" y="5043488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AE841F8-8454-4E40-833A-0D139EE77AA8}" type="datetime'3''''''''''''''''''''''''''''''''''''''''''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3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49" name="Text Placeholder 2">
            <a:extLst>
              <a:ext uri="{FF2B5EF4-FFF2-40B4-BE49-F238E27FC236}">
                <a16:creationId xmlns:a16="http://schemas.microsoft.com/office/drawing/2014/main" id="{89877D96-9521-D68D-9627-044F9B17BF2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586288" y="4743450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459AF4-3FED-4712-BCDC-E4817245F280}" type="datetime'''''''''''''''''''''''''''''''''''''''''''''''''''''''''''4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4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0" name="Text Placeholder 2">
            <a:extLst>
              <a:ext uri="{FF2B5EF4-FFF2-40B4-BE49-F238E27FC236}">
                <a16:creationId xmlns:a16="http://schemas.microsoft.com/office/drawing/2014/main" id="{64A44A70-2D0C-80ED-CA00-BC83524D750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399088" y="4411663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8325B1-A4D1-438F-98E3-C39B45B04A79}" type="datetime'''''''''''''''''''''''''''''''''''''''6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6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1" name="Text Placeholder 2">
            <a:extLst>
              <a:ext uri="{FF2B5EF4-FFF2-40B4-BE49-F238E27FC236}">
                <a16:creationId xmlns:a16="http://schemas.microsoft.com/office/drawing/2014/main" id="{DFBA50C7-6971-6932-9348-5F7DD6F15CA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210300" y="3937000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02608A-79E8-4DCA-B9F0-8DB0699DF6D6}" type="datetime'''''''''''''''''''''''''''''''''8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8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2" name="Text Placeholder 2">
            <a:extLst>
              <a:ext uri="{FF2B5EF4-FFF2-40B4-BE49-F238E27FC236}">
                <a16:creationId xmlns:a16="http://schemas.microsoft.com/office/drawing/2014/main" id="{2C1EE2F5-0CE8-1236-C3C7-B9A2E418389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021513" y="3563938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86394C-9AF0-4840-A096-C16971302AA5}" type="datetime'''''''''''''''''''''''''''''''''''''''9''''''''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9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3" name="Text Placeholder 2">
            <a:extLst>
              <a:ext uri="{FF2B5EF4-FFF2-40B4-BE49-F238E27FC236}">
                <a16:creationId xmlns:a16="http://schemas.microsoft.com/office/drawing/2014/main" id="{92C8E095-3472-3667-417A-C1711271D0F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789863" y="329723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3A7046-BC90-406F-84F7-3990D58E25B3}" type="datetime'''''''''''1''''''''''''0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10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4" name="Text Placeholder 2">
            <a:extLst>
              <a:ext uri="{FF2B5EF4-FFF2-40B4-BE49-F238E27FC236}">
                <a16:creationId xmlns:a16="http://schemas.microsoft.com/office/drawing/2014/main" id="{0ADE0A34-2F2B-C343-6364-36F6C292289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601075" y="2824163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42FAF3-26ED-4FBC-ADA6-F717465CAE04}" type="datetime'''''1''''''''''''''''''''''''''''''''2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12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5" name="Text Placeholder 2">
            <a:extLst>
              <a:ext uri="{FF2B5EF4-FFF2-40B4-BE49-F238E27FC236}">
                <a16:creationId xmlns:a16="http://schemas.microsoft.com/office/drawing/2014/main" id="{4E2D0432-D849-D5C2-7536-B5D23FD13D4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412288" y="243205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10C3D7-00DF-4CD2-9276-3F36ECDBB17D}" type="datetime'''''1''''4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14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6" name="Text Placeholder 2">
            <a:extLst>
              <a:ext uri="{FF2B5EF4-FFF2-40B4-BE49-F238E27FC236}">
                <a16:creationId xmlns:a16="http://schemas.microsoft.com/office/drawing/2014/main" id="{341D076D-BBC3-CF13-6276-5E15DE21E15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225088" y="18923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D01B13-7CE4-4D81-978A-8C458F9EF7D8}" type="datetime'1''''''''''''6''''''''''''''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16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857" name="Text Placeholder 2">
            <a:extLst>
              <a:ext uri="{FF2B5EF4-FFF2-40B4-BE49-F238E27FC236}">
                <a16:creationId xmlns:a16="http://schemas.microsoft.com/office/drawing/2014/main" id="{7027CD3E-C53F-731D-906E-E11ACD6A582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1036300" y="15017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42875D-C33D-4917-BC95-F365D94B5ACE}" type="datetime'''''''''''1''''8'''''''''''''''">
              <a:rPr lang="en-ZA" altLang="en-US" sz="1200" smtClean="0">
                <a:solidFill>
                  <a:schemeClr val="accent2"/>
                </a:solidFill>
                <a:ea typeface="+mj-ea"/>
                <a:cs typeface="+mj-cs"/>
              </a:rPr>
              <a:pPr/>
              <a:t>18</a:t>
            </a:fld>
            <a:endParaRPr lang="en-ZA" sz="12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sp>
        <p:nvSpPr>
          <p:cNvPr id="1075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807200" y="3132138"/>
            <a:ext cx="555625" cy="258763"/>
          </a:xfrm>
          <a:prstGeom prst="ellipse">
            <a:avLst/>
          </a:prstGeom>
          <a:solidFill>
            <a:schemeClr val="accent2"/>
          </a:solidFill>
          <a:ln w="9525" cmpd="sng" algn="ctr">
            <a:solidFill>
              <a:schemeClr val="accent5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D2635A1-2237-479E-B82D-BB124C2C4E42}" type="datetime'''''''''''''''''''''''''''+''''''''''''''''''''''''''''''24%'">
              <a:rPr lang="en-ZA" altLang="en-US" sz="1200" b="1" smtClean="0">
                <a:solidFill>
                  <a:schemeClr val="bg2"/>
                </a:solidFill>
                <a:effectLst/>
                <a:ea typeface="+mj-ea"/>
                <a:cs typeface="+mj-cs"/>
              </a:rPr>
              <a:pPr/>
              <a:t>+24%</a:t>
            </a:fld>
            <a:endParaRPr lang="en-ZA" sz="1200" b="1" dirty="0">
              <a:solidFill>
                <a:schemeClr val="bg2"/>
              </a:solidFill>
              <a:ea typeface="+mj-ea"/>
              <a:cs typeface="+mj-cs"/>
            </a:endParaRPr>
          </a:p>
        </p:txBody>
      </p:sp>
      <p:sp>
        <p:nvSpPr>
          <p:cNvPr id="1036" name="Rectangle 1035">
            <a:extLst>
              <a:ext uri="{FF2B5EF4-FFF2-40B4-BE49-F238E27FC236}">
                <a16:creationId xmlns:a16="http://schemas.microsoft.com/office/drawing/2014/main" id="{778815B1-3388-9480-F9AA-C28340B440CE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3071813" y="1436688"/>
            <a:ext cx="214313" cy="160338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37" name="Rectangle 1036">
            <a:extLst>
              <a:ext uri="{FF2B5EF4-FFF2-40B4-BE49-F238E27FC236}">
                <a16:creationId xmlns:a16="http://schemas.microsoft.com/office/drawing/2014/main" id="{ABF88812-8F70-B172-5CC2-C98523E4C2ED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3071813" y="1670050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38" name="Rectangle 1037">
            <a:extLst>
              <a:ext uri="{FF2B5EF4-FFF2-40B4-BE49-F238E27FC236}">
                <a16:creationId xmlns:a16="http://schemas.microsoft.com/office/drawing/2014/main" id="{F5326C6D-86E7-7946-2390-D9F92E9D5360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071813" y="1903413"/>
            <a:ext cx="214313" cy="160338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39" name="Rectangle 1038">
            <a:extLst>
              <a:ext uri="{FF2B5EF4-FFF2-40B4-BE49-F238E27FC236}">
                <a16:creationId xmlns:a16="http://schemas.microsoft.com/office/drawing/2014/main" id="{26A7E1A5-8EB2-9A26-986C-3EFC8469B726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332288" y="1436688"/>
            <a:ext cx="214313" cy="16033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40" name="Rectangle 1039">
            <a:extLst>
              <a:ext uri="{FF2B5EF4-FFF2-40B4-BE49-F238E27FC236}">
                <a16:creationId xmlns:a16="http://schemas.microsoft.com/office/drawing/2014/main" id="{A22A63DD-B2C9-9094-C5AE-4E3489332793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4332288" y="1670050"/>
            <a:ext cx="214313" cy="1603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42ADC23E-7EF2-7C16-E247-868B293E88E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332288" y="1903413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5E21ECA-DE70-AC75-AC88-898C3F8ABE59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5627688" y="1436687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D3C224E-DE20-8475-EEFA-89D60D2556CD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5627688" y="1670050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028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336925" y="1431925"/>
            <a:ext cx="7921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D552C3A-2AD7-485C-855E-03D64E4EDA37}" type="datetime'''''''''''Ma''n''''''''''''g''''''''''''''''''an''e''s''e'''''">
              <a:rPr lang="en-ZA" altLang="en-US" sz="1200" smtClean="0">
                <a:solidFill>
                  <a:schemeClr val="accent2"/>
                </a:solidFill>
              </a:rPr>
              <a:pPr/>
              <a:t>Manganese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0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336925" y="1665288"/>
            <a:ext cx="893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47AB15E-C4E2-4EBD-8222-BF4247F27CB6}" type="datetime'P''ho''''''sp''''''h''''''''''o''''''''r''''o''u''s'''">
              <a:rPr lang="en-ZA" altLang="en-US" sz="1200" smtClean="0">
                <a:solidFill>
                  <a:schemeClr val="accent2"/>
                </a:solidFill>
              </a:rPr>
              <a:pPr/>
              <a:t>Phosphorous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1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336925" y="1898650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7C5F382-0A71-496A-9CEF-138D91DD6104}" type="datetime'''''''''''''''''''''''''''''I''''r''''''o''''''''''''n'''''''">
              <a:rPr lang="en-ZA" altLang="en-US" sz="1200" smtClean="0">
                <a:solidFill>
                  <a:schemeClr val="accent2"/>
                </a:solidFill>
              </a:rPr>
              <a:pPr/>
              <a:t>Iron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3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597400" y="1431925"/>
            <a:ext cx="582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63FA645-6700-42C1-A44E-29CCFDA0500A}" type="datetime'Gra''''''p''''h''''i''''''''''''''t''''''''''e'''''''''">
              <a:rPr lang="en-ZA" altLang="en-US" sz="1200" smtClean="0">
                <a:solidFill>
                  <a:schemeClr val="accent2"/>
                </a:solidFill>
              </a:rPr>
              <a:pPr/>
              <a:t>Graphite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4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4597400" y="1665288"/>
            <a:ext cx="412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BABE38E-509D-4C1B-BA4E-D4BF4ED356A2}" type="datetime'''''''''''''''''''''''''Ni''''''''''''''''''c''''''''''''kel'">
              <a:rPr lang="en-ZA" altLang="en-US" sz="1200" smtClean="0">
                <a:solidFill>
                  <a:schemeClr val="accent2"/>
                </a:solidFill>
              </a:rPr>
              <a:pPr/>
              <a:t>Nickel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032" name="Text Placeholder 2">
            <a:extLst>
              <a:ext uri="{FF2B5EF4-FFF2-40B4-BE49-F238E27FC236}">
                <a16:creationId xmlns:a16="http://schemas.microsoft.com/office/drawing/2014/main" id="{307A5E3A-0590-49EC-9D99-0A2B638DB32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4597400" y="1898650"/>
            <a:ext cx="9286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4475982-C323-4A12-904F-92211F8D11A6}" type="datetime'''''''L''''''''ith''i''''um'''' ''(''LC''''E'''''''''')'''''">
              <a:rPr lang="en-ZA" altLang="en-US" sz="1200" smtClean="0">
                <a:solidFill>
                  <a:schemeClr val="accent2"/>
                </a:solidFill>
              </a:rPr>
              <a:pPr/>
              <a:t>Lithium (LCE)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B6D34A2-891D-AA31-1674-3F08DFFED8C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892800" y="1431925"/>
            <a:ext cx="708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A96D3BA-2000-4AFD-ABEF-37318C9B9D05}" type="datetime'''''''''''Alum''''i''''''n''''i''u''''''''''''''''''''''m'''''">
              <a:rPr lang="en-ZA" altLang="en-US" sz="1200" smtClean="0">
                <a:solidFill>
                  <a:schemeClr val="accent2"/>
                </a:solidFill>
              </a:rPr>
              <a:pPr/>
              <a:t>Aluminium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C208057-FB67-0A9B-9F80-B16B410BC207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892800" y="1665288"/>
            <a:ext cx="496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013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23E6DEA-55E1-49C1-BDE0-D74BDE348C98}" type="datetime'''''C''''''''''''''''''''op''''''''''''''pe''r'''''''''''">
              <a:rPr lang="en-ZA" altLang="en-US" sz="1200" smtClean="0">
                <a:solidFill>
                  <a:schemeClr val="accent2"/>
                </a:solidFill>
              </a:rPr>
              <a:pPr/>
              <a:t>Copper</a:t>
            </a:fld>
            <a:endParaRPr lang="en-ZA" sz="1200" dirty="0">
              <a:solidFill>
                <a:schemeClr val="accent2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79424" y="1371600"/>
            <a:ext cx="2034168" cy="48672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 err="1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F05650-7666-1C70-33B1-6CF4CABDF491}"/>
              </a:ext>
            </a:extLst>
          </p:cNvPr>
          <p:cNvSpPr txBox="1"/>
          <p:nvPr/>
        </p:nvSpPr>
        <p:spPr>
          <a:xfrm>
            <a:off x="542012" y="3438936"/>
            <a:ext cx="1770977" cy="3674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r>
              <a:rPr lang="de-DE" sz="1400" b="1" dirty="0">
                <a:solidFill>
                  <a:schemeClr val="accent1"/>
                </a:solidFill>
              </a:rPr>
              <a:t>Demand in </a:t>
            </a:r>
            <a:r>
              <a:rPr lang="de-DE" sz="1400" b="1" dirty="0" err="1">
                <a:solidFill>
                  <a:schemeClr val="accent1"/>
                </a:solidFill>
              </a:rPr>
              <a:t>million</a:t>
            </a:r>
            <a:r>
              <a:rPr lang="de-DE" sz="1400" b="1" dirty="0">
                <a:solidFill>
                  <a:schemeClr val="accent1"/>
                </a:solidFill>
              </a:rPr>
              <a:t> </a:t>
            </a:r>
            <a:br>
              <a:rPr lang="de-DE" sz="1400" b="1" dirty="0">
                <a:solidFill>
                  <a:schemeClr val="accent1"/>
                </a:solidFill>
              </a:rPr>
            </a:br>
            <a:r>
              <a:rPr lang="de-DE" sz="1400" b="1" dirty="0" err="1">
                <a:solidFill>
                  <a:schemeClr val="accent1"/>
                </a:solidFill>
              </a:rPr>
              <a:t>metric</a:t>
            </a:r>
            <a:r>
              <a:rPr lang="de-DE" sz="1400" b="1" dirty="0">
                <a:solidFill>
                  <a:schemeClr val="accent1"/>
                </a:solidFill>
              </a:rPr>
              <a:t> tonnes</a:t>
            </a:r>
          </a:p>
        </p:txBody>
      </p:sp>
      <p:sp>
        <p:nvSpPr>
          <p:cNvPr id="12" name="Rectangle 51">
            <a:extLst>
              <a:ext uri="{FF2B5EF4-FFF2-40B4-BE49-F238E27FC236}">
                <a16:creationId xmlns:a16="http://schemas.microsoft.com/office/drawing/2014/main" id="{D3E12B06-53AF-E2BB-C01B-8E78FD0C6FE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340" y="6353540"/>
            <a:ext cx="7786761" cy="115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/>
          <a:lstStyle/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Source: BloombergNEF. The barrel of tomorrow, January 2023</a:t>
            </a:r>
          </a:p>
        </p:txBody>
      </p:sp>
      <p:grpSp>
        <p:nvGrpSpPr>
          <p:cNvPr id="35" name="Group 158">
            <a:extLst>
              <a:ext uri="{FF2B5EF4-FFF2-40B4-BE49-F238E27FC236}">
                <a16:creationId xmlns:a16="http://schemas.microsoft.com/office/drawing/2014/main" id="{7A803BC4-E12C-C9F9-9A57-4F3E95B24B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3911" y="2607508"/>
            <a:ext cx="516064" cy="516064"/>
            <a:chOff x="346" y="3682"/>
            <a:chExt cx="198" cy="198"/>
          </a:xfrm>
        </p:grpSpPr>
        <p:sp>
          <p:nvSpPr>
            <p:cNvPr id="36" name="Freeform 159">
              <a:extLst>
                <a:ext uri="{FF2B5EF4-FFF2-40B4-BE49-F238E27FC236}">
                  <a16:creationId xmlns:a16="http://schemas.microsoft.com/office/drawing/2014/main" id="{548C0404-233D-B1D7-6335-BD0369136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" y="3682"/>
              <a:ext cx="193" cy="198"/>
            </a:xfrm>
            <a:custGeom>
              <a:avLst/>
              <a:gdLst>
                <a:gd name="T0" fmla="*/ 193 w 193"/>
                <a:gd name="T1" fmla="*/ 198 h 198"/>
                <a:gd name="T2" fmla="*/ 0 w 193"/>
                <a:gd name="T3" fmla="*/ 198 h 198"/>
                <a:gd name="T4" fmla="*/ 0 w 193"/>
                <a:gd name="T5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3" h="198">
                  <a:moveTo>
                    <a:pt x="193" y="198"/>
                  </a:moveTo>
                  <a:lnTo>
                    <a:pt x="0" y="198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Line 160">
              <a:extLst>
                <a:ext uri="{FF2B5EF4-FFF2-40B4-BE49-F238E27FC236}">
                  <a16:creationId xmlns:a16="http://schemas.microsoft.com/office/drawing/2014/main" id="{2CE2D0B4-3098-4BE5-359F-8844E8657C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7" y="3794"/>
              <a:ext cx="0" cy="67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Line 161">
              <a:extLst>
                <a:ext uri="{FF2B5EF4-FFF2-40B4-BE49-F238E27FC236}">
                  <a16:creationId xmlns:a16="http://schemas.microsoft.com/office/drawing/2014/main" id="{5F11979D-D07B-5B03-C903-8F10736077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9" y="3759"/>
              <a:ext cx="0" cy="103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Line 162">
              <a:extLst>
                <a:ext uri="{FF2B5EF4-FFF2-40B4-BE49-F238E27FC236}">
                  <a16:creationId xmlns:a16="http://schemas.microsoft.com/office/drawing/2014/main" id="{A2765ED4-8413-8761-1FDD-8755AC6FE2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4" y="3758"/>
              <a:ext cx="1" cy="103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163">
              <a:extLst>
                <a:ext uri="{FF2B5EF4-FFF2-40B4-BE49-F238E27FC236}">
                  <a16:creationId xmlns:a16="http://schemas.microsoft.com/office/drawing/2014/main" id="{72EFB3EE-72E7-CE9F-F27A-3D74ADD99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" y="3709"/>
              <a:ext cx="29" cy="29"/>
            </a:xfrm>
            <a:custGeom>
              <a:avLst/>
              <a:gdLst>
                <a:gd name="T0" fmla="*/ 25 w 25"/>
                <a:gd name="T1" fmla="*/ 13 h 25"/>
                <a:gd name="T2" fmla="*/ 13 w 25"/>
                <a:gd name="T3" fmla="*/ 0 h 25"/>
                <a:gd name="T4" fmla="*/ 1 w 25"/>
                <a:gd name="T5" fmla="*/ 13 h 25"/>
                <a:gd name="T6" fmla="*/ 13 w 25"/>
                <a:gd name="T7" fmla="*/ 25 h 25"/>
                <a:gd name="T8" fmla="*/ 25 w 25"/>
                <a:gd name="T9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5">
                  <a:moveTo>
                    <a:pt x="25" y="13"/>
                  </a:moveTo>
                  <a:cubicBezTo>
                    <a:pt x="25" y="6"/>
                    <a:pt x="20" y="0"/>
                    <a:pt x="13" y="0"/>
                  </a:cubicBezTo>
                  <a:cubicBezTo>
                    <a:pt x="6" y="0"/>
                    <a:pt x="1" y="6"/>
                    <a:pt x="1" y="13"/>
                  </a:cubicBezTo>
                  <a:cubicBezTo>
                    <a:pt x="0" y="19"/>
                    <a:pt x="6" y="25"/>
                    <a:pt x="13" y="25"/>
                  </a:cubicBezTo>
                  <a:cubicBezTo>
                    <a:pt x="20" y="25"/>
                    <a:pt x="25" y="20"/>
                    <a:pt x="25" y="13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64">
              <a:extLst>
                <a:ext uri="{FF2B5EF4-FFF2-40B4-BE49-F238E27FC236}">
                  <a16:creationId xmlns:a16="http://schemas.microsoft.com/office/drawing/2014/main" id="{CA9362B3-94ED-B876-8392-AB4B996B12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6" y="3711"/>
              <a:ext cx="28" cy="28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Line 165">
              <a:extLst>
                <a:ext uri="{FF2B5EF4-FFF2-40B4-BE49-F238E27FC236}">
                  <a16:creationId xmlns:a16="http://schemas.microsoft.com/office/drawing/2014/main" id="{0BC1C836-856F-0DB2-0882-2284983C3AB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2" y="3790"/>
              <a:ext cx="0" cy="72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66">
              <a:extLst>
                <a:ext uri="{FF2B5EF4-FFF2-40B4-BE49-F238E27FC236}">
                  <a16:creationId xmlns:a16="http://schemas.microsoft.com/office/drawing/2014/main" id="{197CA29A-B610-85DF-0C65-6DB6EFE1E3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" y="3746"/>
              <a:ext cx="17" cy="17"/>
            </a:xfrm>
            <a:prstGeom prst="ellips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167">
              <a:extLst>
                <a:ext uri="{FF2B5EF4-FFF2-40B4-BE49-F238E27FC236}">
                  <a16:creationId xmlns:a16="http://schemas.microsoft.com/office/drawing/2014/main" id="{15AFCE02-6E33-C69D-9868-A083954DF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" y="3749"/>
              <a:ext cx="17" cy="18"/>
            </a:xfrm>
            <a:custGeom>
              <a:avLst/>
              <a:gdLst>
                <a:gd name="T0" fmla="*/ 15 w 15"/>
                <a:gd name="T1" fmla="*/ 8 h 15"/>
                <a:gd name="T2" fmla="*/ 8 w 15"/>
                <a:gd name="T3" fmla="*/ 0 h 15"/>
                <a:gd name="T4" fmla="*/ 0 w 15"/>
                <a:gd name="T5" fmla="*/ 7 h 15"/>
                <a:gd name="T6" fmla="*/ 8 w 15"/>
                <a:gd name="T7" fmla="*/ 15 h 15"/>
                <a:gd name="T8" fmla="*/ 15 w 15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8"/>
                  </a:moveTo>
                  <a:cubicBezTo>
                    <a:pt x="15" y="3"/>
                    <a:pt x="12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2"/>
                    <a:pt x="4" y="15"/>
                    <a:pt x="8" y="15"/>
                  </a:cubicBezTo>
                  <a:cubicBezTo>
                    <a:pt x="12" y="15"/>
                    <a:pt x="15" y="12"/>
                    <a:pt x="15" y="8"/>
                  </a:cubicBezTo>
                  <a:close/>
                </a:path>
              </a:pathLst>
            </a:cu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Line 168">
              <a:extLst>
                <a:ext uri="{FF2B5EF4-FFF2-40B4-BE49-F238E27FC236}">
                  <a16:creationId xmlns:a16="http://schemas.microsoft.com/office/drawing/2014/main" id="{4C1B2393-22A8-D3A8-B626-D31FB1A748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2" y="3731"/>
              <a:ext cx="36" cy="22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Line 169">
              <a:extLst>
                <a:ext uri="{FF2B5EF4-FFF2-40B4-BE49-F238E27FC236}">
                  <a16:creationId xmlns:a16="http://schemas.microsoft.com/office/drawing/2014/main" id="{6484AD48-AF6C-328D-A4C3-569EBD7812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3" y="3730"/>
              <a:ext cx="33" cy="19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Line 170">
              <a:extLst>
                <a:ext uri="{FF2B5EF4-FFF2-40B4-BE49-F238E27FC236}">
                  <a16:creationId xmlns:a16="http://schemas.microsoft.com/office/drawing/2014/main" id="{8E3A8273-C66F-0404-9A59-0E4F954B0E8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2" y="3731"/>
              <a:ext cx="35" cy="20"/>
            </a:xfrm>
            <a:prstGeom prst="line">
              <a:avLst/>
            </a:prstGeom>
            <a:noFill/>
            <a:ln w="9525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582870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indoor, engineering&#10;&#10;Description automatically generated">
            <a:extLst>
              <a:ext uri="{FF2B5EF4-FFF2-40B4-BE49-F238E27FC236}">
                <a16:creationId xmlns:a16="http://schemas.microsoft.com/office/drawing/2014/main" id="{B2DD3250-60E9-72D2-8F49-CC2C003A3D3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157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57687C7-6E23-FE90-E753-B2C152D9E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1"/>
            <a:ext cx="11232000" cy="908050"/>
          </a:xfrm>
        </p:spPr>
        <p:txBody>
          <a:bodyPr/>
          <a:lstStyle/>
          <a:p>
            <a:r>
              <a:rPr lang="en-ZA" dirty="0"/>
              <a:t>Agenda</a:t>
            </a:r>
          </a:p>
        </p:txBody>
      </p:sp>
      <p:grpSp>
        <p:nvGrpSpPr>
          <p:cNvPr id="5" name="Google Shape;979;p12">
            <a:extLst>
              <a:ext uri="{FF2B5EF4-FFF2-40B4-BE49-F238E27FC236}">
                <a16:creationId xmlns:a16="http://schemas.microsoft.com/office/drawing/2014/main" id="{4D2F9135-320F-F9FA-09C9-9C1BB25DAC74}"/>
              </a:ext>
            </a:extLst>
          </p:cNvPr>
          <p:cNvGrpSpPr/>
          <p:nvPr/>
        </p:nvGrpSpPr>
        <p:grpSpPr>
          <a:xfrm>
            <a:off x="536574" y="1421614"/>
            <a:ext cx="4023307" cy="1060507"/>
            <a:chOff x="4564420" y="1108738"/>
            <a:chExt cx="3017480" cy="795381"/>
          </a:xfrm>
        </p:grpSpPr>
        <p:sp>
          <p:nvSpPr>
            <p:cNvPr id="6" name="Google Shape;980;p12">
              <a:extLst>
                <a:ext uri="{FF2B5EF4-FFF2-40B4-BE49-F238E27FC236}">
                  <a16:creationId xmlns:a16="http://schemas.microsoft.com/office/drawing/2014/main" id="{37D17443-871A-C93D-2FD1-9DFA011B3E5D}"/>
                </a:ext>
              </a:extLst>
            </p:cNvPr>
            <p:cNvSpPr txBox="1"/>
            <p:nvPr/>
          </p:nvSpPr>
          <p:spPr>
            <a:xfrm>
              <a:off x="4564420" y="1696370"/>
              <a:ext cx="3017480" cy="207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R="0" lvl="0" indent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Growth and Constraints</a:t>
              </a:r>
            </a:p>
          </p:txBody>
        </p:sp>
        <p:sp>
          <p:nvSpPr>
            <p:cNvPr id="7" name="Google Shape;981;p12">
              <a:extLst>
                <a:ext uri="{FF2B5EF4-FFF2-40B4-BE49-F238E27FC236}">
                  <a16:creationId xmlns:a16="http://schemas.microsoft.com/office/drawing/2014/main" id="{86E49E70-1238-95FB-EB4C-C088DD48AAA1}"/>
                </a:ext>
              </a:extLst>
            </p:cNvPr>
            <p:cNvSpPr txBox="1"/>
            <p:nvPr/>
          </p:nvSpPr>
          <p:spPr>
            <a:xfrm>
              <a:off x="4564420" y="1108738"/>
              <a:ext cx="1828800" cy="6155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333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01</a:t>
              </a:r>
              <a:endParaRPr sz="5333" dirty="0">
                <a:solidFill>
                  <a:schemeClr val="accent5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8" name="Google Shape;982;p12">
              <a:extLst>
                <a:ext uri="{FF2B5EF4-FFF2-40B4-BE49-F238E27FC236}">
                  <a16:creationId xmlns:a16="http://schemas.microsoft.com/office/drawing/2014/main" id="{FC085609-0292-B6CB-D069-323986F79325}"/>
                </a:ext>
              </a:extLst>
            </p:cNvPr>
            <p:cNvCxnSpPr/>
            <p:nvPr/>
          </p:nvCxnSpPr>
          <p:spPr>
            <a:xfrm>
              <a:off x="4572000" y="1654146"/>
              <a:ext cx="497840" cy="0"/>
            </a:xfrm>
            <a:prstGeom prst="straightConnector1">
              <a:avLst/>
            </a:prstGeom>
            <a:noFill/>
            <a:ln w="127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1" name="Google Shape;979;p12">
            <a:extLst>
              <a:ext uri="{FF2B5EF4-FFF2-40B4-BE49-F238E27FC236}">
                <a16:creationId xmlns:a16="http://schemas.microsoft.com/office/drawing/2014/main" id="{EC48630B-BD23-70AF-1C50-1295F654B63F}"/>
              </a:ext>
            </a:extLst>
          </p:cNvPr>
          <p:cNvGrpSpPr/>
          <p:nvPr/>
        </p:nvGrpSpPr>
        <p:grpSpPr>
          <a:xfrm>
            <a:off x="536574" y="2855193"/>
            <a:ext cx="4023307" cy="1337506"/>
            <a:chOff x="4564420" y="1108738"/>
            <a:chExt cx="3017480" cy="1003131"/>
          </a:xfrm>
        </p:grpSpPr>
        <p:sp>
          <p:nvSpPr>
            <p:cNvPr id="12" name="Google Shape;980;p12">
              <a:extLst>
                <a:ext uri="{FF2B5EF4-FFF2-40B4-BE49-F238E27FC236}">
                  <a16:creationId xmlns:a16="http://schemas.microsoft.com/office/drawing/2014/main" id="{29AEAA47-D94E-C091-1912-C9FAE0FBDDFC}"/>
                </a:ext>
              </a:extLst>
            </p:cNvPr>
            <p:cNvSpPr txBox="1"/>
            <p:nvPr/>
          </p:nvSpPr>
          <p:spPr>
            <a:xfrm>
              <a:off x="4564420" y="1696370"/>
              <a:ext cx="3017480" cy="4154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Arial"/>
                  <a:cs typeface="Arial"/>
                  <a:sym typeface="Arial"/>
                </a:rPr>
                <a:t>Reimagining the Battery Metals Value Chain</a:t>
              </a:r>
            </a:p>
          </p:txBody>
        </p:sp>
        <p:sp>
          <p:nvSpPr>
            <p:cNvPr id="13" name="Google Shape;981;p12">
              <a:extLst>
                <a:ext uri="{FF2B5EF4-FFF2-40B4-BE49-F238E27FC236}">
                  <a16:creationId xmlns:a16="http://schemas.microsoft.com/office/drawing/2014/main" id="{6D6567B3-FE8B-95DE-F8AD-B4B4D2E8B254}"/>
                </a:ext>
              </a:extLst>
            </p:cNvPr>
            <p:cNvSpPr txBox="1"/>
            <p:nvPr/>
          </p:nvSpPr>
          <p:spPr>
            <a:xfrm>
              <a:off x="4564420" y="1108738"/>
              <a:ext cx="1828800" cy="6155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5333" b="1">
                  <a:solidFill>
                    <a:schemeClr val="accent1"/>
                  </a:solidFill>
                  <a:latin typeface="Arial"/>
                  <a:cs typeface="Arial"/>
                  <a:sym typeface="Arial"/>
                </a:rPr>
                <a:t>02</a:t>
              </a:r>
              <a:endParaRPr sz="5333" b="1">
                <a:solidFill>
                  <a:schemeClr val="accent1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14" name="Google Shape;982;p12">
              <a:extLst>
                <a:ext uri="{FF2B5EF4-FFF2-40B4-BE49-F238E27FC236}">
                  <a16:creationId xmlns:a16="http://schemas.microsoft.com/office/drawing/2014/main" id="{2BEC18DE-BEF3-A500-3660-840B40B4E203}"/>
                </a:ext>
              </a:extLst>
            </p:cNvPr>
            <p:cNvCxnSpPr/>
            <p:nvPr/>
          </p:nvCxnSpPr>
          <p:spPr>
            <a:xfrm>
              <a:off x="4572000" y="1654146"/>
              <a:ext cx="497840" cy="0"/>
            </a:xfrm>
            <a:prstGeom prst="straightConnector1">
              <a:avLst/>
            </a:prstGeom>
            <a:noFill/>
            <a:ln w="127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5" name="Google Shape;979;p12">
            <a:extLst>
              <a:ext uri="{FF2B5EF4-FFF2-40B4-BE49-F238E27FC236}">
                <a16:creationId xmlns:a16="http://schemas.microsoft.com/office/drawing/2014/main" id="{03E3304C-0485-50F4-9447-22552EDBDB42}"/>
              </a:ext>
            </a:extLst>
          </p:cNvPr>
          <p:cNvGrpSpPr/>
          <p:nvPr/>
        </p:nvGrpSpPr>
        <p:grpSpPr>
          <a:xfrm>
            <a:off x="536573" y="4288774"/>
            <a:ext cx="4023307" cy="1060507"/>
            <a:chOff x="4564419" y="1108738"/>
            <a:chExt cx="3017480" cy="795381"/>
          </a:xfrm>
        </p:grpSpPr>
        <p:sp>
          <p:nvSpPr>
            <p:cNvPr id="16" name="Google Shape;980;p12">
              <a:extLst>
                <a:ext uri="{FF2B5EF4-FFF2-40B4-BE49-F238E27FC236}">
                  <a16:creationId xmlns:a16="http://schemas.microsoft.com/office/drawing/2014/main" id="{039748ED-CBA2-2961-FE47-414E902CA5CA}"/>
                </a:ext>
              </a:extLst>
            </p:cNvPr>
            <p:cNvSpPr txBox="1"/>
            <p:nvPr/>
          </p:nvSpPr>
          <p:spPr>
            <a:xfrm>
              <a:off x="4564419" y="1696370"/>
              <a:ext cx="3017480" cy="2077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Key Success Factors</a:t>
              </a:r>
            </a:p>
          </p:txBody>
        </p:sp>
        <p:sp>
          <p:nvSpPr>
            <p:cNvPr id="17" name="Google Shape;981;p12">
              <a:extLst>
                <a:ext uri="{FF2B5EF4-FFF2-40B4-BE49-F238E27FC236}">
                  <a16:creationId xmlns:a16="http://schemas.microsoft.com/office/drawing/2014/main" id="{A1E46A45-C808-C9DC-0EAD-66BF4A28BF06}"/>
                </a:ext>
              </a:extLst>
            </p:cNvPr>
            <p:cNvSpPr txBox="1"/>
            <p:nvPr/>
          </p:nvSpPr>
          <p:spPr>
            <a:xfrm>
              <a:off x="4564420" y="1108738"/>
              <a:ext cx="1828800" cy="6155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r>
                <a:rPr lang="en-US" sz="5333" dirty="0">
                  <a:solidFill>
                    <a:schemeClr val="accent5"/>
                  </a:solidFill>
                  <a:latin typeface="Arial"/>
                  <a:cs typeface="Arial"/>
                  <a:sym typeface="Arial"/>
                </a:rPr>
                <a:t>03</a:t>
              </a:r>
              <a:endParaRPr sz="5333" dirty="0">
                <a:solidFill>
                  <a:schemeClr val="accent5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18" name="Google Shape;982;p12">
              <a:extLst>
                <a:ext uri="{FF2B5EF4-FFF2-40B4-BE49-F238E27FC236}">
                  <a16:creationId xmlns:a16="http://schemas.microsoft.com/office/drawing/2014/main" id="{14A790FE-AC25-699F-152C-1505A6E86722}"/>
                </a:ext>
              </a:extLst>
            </p:cNvPr>
            <p:cNvCxnSpPr/>
            <p:nvPr/>
          </p:nvCxnSpPr>
          <p:spPr>
            <a:xfrm>
              <a:off x="4572000" y="1654146"/>
              <a:ext cx="497840" cy="0"/>
            </a:xfrm>
            <a:prstGeom prst="straightConnector1">
              <a:avLst/>
            </a:prstGeom>
            <a:noFill/>
            <a:ln w="12700" cap="flat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BB5285ED-D251-A4F7-9A59-F8C09D11B47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3604" y="6456691"/>
            <a:ext cx="1686713" cy="3241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D57CCBD-0EF1-B1AC-1B6D-4F237F70391B}"/>
              </a:ext>
            </a:extLst>
          </p:cNvPr>
          <p:cNvSpPr txBox="1"/>
          <p:nvPr/>
        </p:nvSpPr>
        <p:spPr>
          <a:xfrm>
            <a:off x="479424" y="6575039"/>
            <a:ext cx="2093522" cy="1958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lvl="0" indent="0" algn="r">
              <a:lnSpc>
                <a:spcPct val="100000"/>
              </a:lnSpc>
              <a:spcBef>
                <a:spcPts val="600"/>
              </a:spcBef>
              <a:buFont typeface="Arial"/>
              <a:buNone/>
              <a:defRPr sz="800"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l"/>
            <a:r>
              <a:rPr lang="en-US" dirty="0"/>
              <a:t>Copyright © Hatch 2023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3DE00D-86E9-EC94-94E4-248ECC59A62B}"/>
              </a:ext>
            </a:extLst>
          </p:cNvPr>
          <p:cNvSpPr txBox="1"/>
          <p:nvPr/>
        </p:nvSpPr>
        <p:spPr>
          <a:xfrm>
            <a:off x="11318507" y="6575039"/>
            <a:ext cx="322631" cy="177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600"/>
              </a:spcBef>
              <a:buFont typeface="Arial"/>
              <a:buNone/>
              <a:defRPr sz="900"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Lato" panose="020F0502020204030203" pitchFamily="34" charset="0"/>
              <a:buChar char="‒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defRPr>
                <a:latin typeface="Segoe UI" panose="020B0502040204020203" pitchFamily="34" charset="0"/>
                <a:ea typeface="Lato" charset="0"/>
                <a:cs typeface="Segoe UI" panose="020B0502040204020203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0" algn="r"/>
            <a:fld id="{2C47FC89-94BB-4EAC-8CC1-5DD1CE33A36E}" type="slidenum">
              <a:rPr lang="en-AU" sz="1000" smtClean="0">
                <a:solidFill>
                  <a:schemeClr val="bg1"/>
                </a:solidFill>
                <a:latin typeface="+mn-lt"/>
              </a:rPr>
              <a:pPr lvl="0" algn="r"/>
              <a:t>6</a:t>
            </a:fld>
            <a:endParaRPr lang="en-AU" sz="10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0697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1"/>
            <a:ext cx="11232000" cy="908050"/>
          </a:xfrm>
        </p:spPr>
        <p:txBody>
          <a:bodyPr vert="horz"/>
          <a:lstStyle/>
          <a:p>
            <a:r>
              <a:rPr lang="en-ZA" dirty="0"/>
              <a:t>Africa has a role to play in the battery metals market as it holds </a:t>
            </a:r>
            <a:r>
              <a:rPr lang="en-US" dirty="0"/>
              <a:t>some </a:t>
            </a:r>
            <a:br>
              <a:rPr lang="en-US" dirty="0"/>
            </a:br>
            <a:r>
              <a:rPr lang="en-US" dirty="0"/>
              <a:t>of the key ingredients for the LIB value chain</a:t>
            </a:r>
            <a:endParaRPr lang="en-ZA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385597-5C9F-A718-4B3F-4E349EF93BF7}"/>
              </a:ext>
            </a:extLst>
          </p:cNvPr>
          <p:cNvGrpSpPr/>
          <p:nvPr/>
        </p:nvGrpSpPr>
        <p:grpSpPr>
          <a:xfrm>
            <a:off x="3550787" y="1850737"/>
            <a:ext cx="3496555" cy="3914567"/>
            <a:chOff x="684556" y="1489884"/>
            <a:chExt cx="4284325" cy="4796515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44B09EA-13C5-1730-0423-F4BEC423A166}"/>
                </a:ext>
              </a:extLst>
            </p:cNvPr>
            <p:cNvGrpSpPr/>
            <p:nvPr/>
          </p:nvGrpSpPr>
          <p:grpSpPr>
            <a:xfrm>
              <a:off x="684556" y="1489884"/>
              <a:ext cx="4284325" cy="4796515"/>
              <a:chOff x="3598020" y="1891261"/>
              <a:chExt cx="4561239" cy="5063440"/>
            </a:xfrm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83410C79-FD34-E8B9-F4DB-2B5463459183}"/>
                  </a:ext>
                </a:extLst>
              </p:cNvPr>
              <p:cNvGrpSpPr/>
              <p:nvPr/>
            </p:nvGrpSpPr>
            <p:grpSpPr>
              <a:xfrm>
                <a:off x="3598020" y="1969306"/>
                <a:ext cx="4561239" cy="4985395"/>
                <a:chOff x="3840177" y="1379534"/>
                <a:chExt cx="4505335" cy="4962513"/>
              </a:xfrm>
              <a:solidFill>
                <a:schemeClr val="tx2">
                  <a:lumMod val="20000"/>
                  <a:lumOff val="80000"/>
                </a:schemeClr>
              </a:solidFill>
            </p:grpSpPr>
            <p:sp>
              <p:nvSpPr>
                <p:cNvPr id="841" name="Freeform 5">
                  <a:extLst>
                    <a:ext uri="{FF2B5EF4-FFF2-40B4-BE49-F238E27FC236}">
                      <a16:creationId xmlns:a16="http://schemas.microsoft.com/office/drawing/2014/main" id="{5B596C7B-5E95-92FA-9615-22E01C6014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43696" y="1789109"/>
                  <a:ext cx="823914" cy="688973"/>
                </a:xfrm>
                <a:custGeom>
                  <a:avLst/>
                  <a:gdLst>
                    <a:gd name="T0" fmla="*/ 412 w 519"/>
                    <a:gd name="T1" fmla="*/ 78 h 434"/>
                    <a:gd name="T2" fmla="*/ 388 w 519"/>
                    <a:gd name="T3" fmla="*/ 24 h 434"/>
                    <a:gd name="T4" fmla="*/ 368 w 519"/>
                    <a:gd name="T5" fmla="*/ 16 h 434"/>
                    <a:gd name="T6" fmla="*/ 310 w 519"/>
                    <a:gd name="T7" fmla="*/ 22 h 434"/>
                    <a:gd name="T8" fmla="*/ 299 w 519"/>
                    <a:gd name="T9" fmla="*/ 27 h 434"/>
                    <a:gd name="T10" fmla="*/ 285 w 519"/>
                    <a:gd name="T11" fmla="*/ 18 h 434"/>
                    <a:gd name="T12" fmla="*/ 283 w 519"/>
                    <a:gd name="T13" fmla="*/ 6 h 434"/>
                    <a:gd name="T14" fmla="*/ 255 w 519"/>
                    <a:gd name="T15" fmla="*/ 0 h 434"/>
                    <a:gd name="T16" fmla="*/ 258 w 519"/>
                    <a:gd name="T17" fmla="*/ 8 h 434"/>
                    <a:gd name="T18" fmla="*/ 234 w 519"/>
                    <a:gd name="T19" fmla="*/ 11 h 434"/>
                    <a:gd name="T20" fmla="*/ 241 w 519"/>
                    <a:gd name="T21" fmla="*/ 6 h 434"/>
                    <a:gd name="T22" fmla="*/ 226 w 519"/>
                    <a:gd name="T23" fmla="*/ 4 h 434"/>
                    <a:gd name="T24" fmla="*/ 205 w 519"/>
                    <a:gd name="T25" fmla="*/ 16 h 434"/>
                    <a:gd name="T26" fmla="*/ 184 w 519"/>
                    <a:gd name="T27" fmla="*/ 32 h 434"/>
                    <a:gd name="T28" fmla="*/ 145 w 519"/>
                    <a:gd name="T29" fmla="*/ 22 h 434"/>
                    <a:gd name="T30" fmla="*/ 115 w 519"/>
                    <a:gd name="T31" fmla="*/ 15 h 434"/>
                    <a:gd name="T32" fmla="*/ 85 w 519"/>
                    <a:gd name="T33" fmla="*/ 8 h 434"/>
                    <a:gd name="T34" fmla="*/ 16 w 519"/>
                    <a:gd name="T35" fmla="*/ 0 h 434"/>
                    <a:gd name="T36" fmla="*/ 9 w 519"/>
                    <a:gd name="T37" fmla="*/ 9 h 434"/>
                    <a:gd name="T38" fmla="*/ 10 w 519"/>
                    <a:gd name="T39" fmla="*/ 47 h 434"/>
                    <a:gd name="T40" fmla="*/ 5 w 519"/>
                    <a:gd name="T41" fmla="*/ 86 h 434"/>
                    <a:gd name="T42" fmla="*/ 519 w 519"/>
                    <a:gd name="T43" fmla="*/ 431 h 434"/>
                    <a:gd name="T44" fmla="*/ 501 w 519"/>
                    <a:gd name="T45" fmla="*/ 417 h 434"/>
                    <a:gd name="T46" fmla="*/ 485 w 519"/>
                    <a:gd name="T47" fmla="*/ 399 h 434"/>
                    <a:gd name="T48" fmla="*/ 460 w 519"/>
                    <a:gd name="T49" fmla="*/ 392 h 434"/>
                    <a:gd name="T50" fmla="*/ 453 w 519"/>
                    <a:gd name="T51" fmla="*/ 355 h 434"/>
                    <a:gd name="T52" fmla="*/ 455 w 519"/>
                    <a:gd name="T53" fmla="*/ 348 h 434"/>
                    <a:gd name="T54" fmla="*/ 459 w 519"/>
                    <a:gd name="T55" fmla="*/ 342 h 434"/>
                    <a:gd name="T56" fmla="*/ 450 w 519"/>
                    <a:gd name="T57" fmla="*/ 334 h 434"/>
                    <a:gd name="T58" fmla="*/ 425 w 519"/>
                    <a:gd name="T59" fmla="*/ 293 h 434"/>
                    <a:gd name="T60" fmla="*/ 389 w 519"/>
                    <a:gd name="T61" fmla="*/ 238 h 434"/>
                    <a:gd name="T62" fmla="*/ 384 w 519"/>
                    <a:gd name="T63" fmla="*/ 206 h 434"/>
                    <a:gd name="T64" fmla="*/ 365 w 519"/>
                    <a:gd name="T65" fmla="*/ 181 h 434"/>
                    <a:gd name="T66" fmla="*/ 363 w 519"/>
                    <a:gd name="T67" fmla="*/ 162 h 434"/>
                    <a:gd name="T68" fmla="*/ 322 w 519"/>
                    <a:gd name="T69" fmla="*/ 117 h 434"/>
                    <a:gd name="T70" fmla="*/ 313 w 519"/>
                    <a:gd name="T71" fmla="*/ 91 h 434"/>
                    <a:gd name="T72" fmla="*/ 317 w 519"/>
                    <a:gd name="T73" fmla="*/ 86 h 434"/>
                    <a:gd name="T74" fmla="*/ 327 w 519"/>
                    <a:gd name="T75" fmla="*/ 100 h 434"/>
                    <a:gd name="T76" fmla="*/ 343 w 519"/>
                    <a:gd name="T77" fmla="*/ 126 h 434"/>
                    <a:gd name="T78" fmla="*/ 361 w 519"/>
                    <a:gd name="T79" fmla="*/ 148 h 434"/>
                    <a:gd name="T80" fmla="*/ 393 w 519"/>
                    <a:gd name="T81" fmla="*/ 178 h 434"/>
                    <a:gd name="T82" fmla="*/ 404 w 519"/>
                    <a:gd name="T83" fmla="*/ 153 h 434"/>
                    <a:gd name="T84" fmla="*/ 405 w 519"/>
                    <a:gd name="T85" fmla="*/ 128 h 4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19" h="434">
                      <a:moveTo>
                        <a:pt x="414" y="101"/>
                      </a:moveTo>
                      <a:lnTo>
                        <a:pt x="409" y="87"/>
                      </a:lnTo>
                      <a:lnTo>
                        <a:pt x="412" y="78"/>
                      </a:lnTo>
                      <a:lnTo>
                        <a:pt x="404" y="55"/>
                      </a:lnTo>
                      <a:lnTo>
                        <a:pt x="391" y="38"/>
                      </a:lnTo>
                      <a:lnTo>
                        <a:pt x="388" y="24"/>
                      </a:lnTo>
                      <a:lnTo>
                        <a:pt x="379" y="11"/>
                      </a:lnTo>
                      <a:lnTo>
                        <a:pt x="374" y="9"/>
                      </a:lnTo>
                      <a:lnTo>
                        <a:pt x="368" y="16"/>
                      </a:lnTo>
                      <a:lnTo>
                        <a:pt x="358" y="20"/>
                      </a:lnTo>
                      <a:lnTo>
                        <a:pt x="331" y="16"/>
                      </a:lnTo>
                      <a:lnTo>
                        <a:pt x="310" y="22"/>
                      </a:lnTo>
                      <a:lnTo>
                        <a:pt x="296" y="11"/>
                      </a:lnTo>
                      <a:lnTo>
                        <a:pt x="294" y="18"/>
                      </a:lnTo>
                      <a:lnTo>
                        <a:pt x="299" y="27"/>
                      </a:lnTo>
                      <a:lnTo>
                        <a:pt x="299" y="32"/>
                      </a:lnTo>
                      <a:lnTo>
                        <a:pt x="294" y="24"/>
                      </a:lnTo>
                      <a:lnTo>
                        <a:pt x="285" y="18"/>
                      </a:lnTo>
                      <a:lnTo>
                        <a:pt x="283" y="11"/>
                      </a:lnTo>
                      <a:lnTo>
                        <a:pt x="287" y="9"/>
                      </a:lnTo>
                      <a:lnTo>
                        <a:pt x="283" y="6"/>
                      </a:lnTo>
                      <a:lnTo>
                        <a:pt x="276" y="8"/>
                      </a:lnTo>
                      <a:lnTo>
                        <a:pt x="269" y="4"/>
                      </a:lnTo>
                      <a:lnTo>
                        <a:pt x="255" y="0"/>
                      </a:lnTo>
                      <a:lnTo>
                        <a:pt x="251" y="4"/>
                      </a:lnTo>
                      <a:lnTo>
                        <a:pt x="258" y="4"/>
                      </a:lnTo>
                      <a:lnTo>
                        <a:pt x="258" y="8"/>
                      </a:lnTo>
                      <a:lnTo>
                        <a:pt x="251" y="8"/>
                      </a:lnTo>
                      <a:lnTo>
                        <a:pt x="244" y="8"/>
                      </a:lnTo>
                      <a:lnTo>
                        <a:pt x="234" y="11"/>
                      </a:lnTo>
                      <a:lnTo>
                        <a:pt x="232" y="8"/>
                      </a:lnTo>
                      <a:lnTo>
                        <a:pt x="232" y="6"/>
                      </a:lnTo>
                      <a:lnTo>
                        <a:pt x="241" y="6"/>
                      </a:lnTo>
                      <a:lnTo>
                        <a:pt x="246" y="2"/>
                      </a:lnTo>
                      <a:lnTo>
                        <a:pt x="239" y="4"/>
                      </a:lnTo>
                      <a:lnTo>
                        <a:pt x="226" y="4"/>
                      </a:lnTo>
                      <a:lnTo>
                        <a:pt x="221" y="8"/>
                      </a:lnTo>
                      <a:lnTo>
                        <a:pt x="211" y="13"/>
                      </a:lnTo>
                      <a:lnTo>
                        <a:pt x="205" y="16"/>
                      </a:lnTo>
                      <a:lnTo>
                        <a:pt x="195" y="20"/>
                      </a:lnTo>
                      <a:lnTo>
                        <a:pt x="186" y="29"/>
                      </a:lnTo>
                      <a:lnTo>
                        <a:pt x="184" y="32"/>
                      </a:lnTo>
                      <a:lnTo>
                        <a:pt x="170" y="32"/>
                      </a:lnTo>
                      <a:lnTo>
                        <a:pt x="156" y="24"/>
                      </a:lnTo>
                      <a:lnTo>
                        <a:pt x="145" y="22"/>
                      </a:lnTo>
                      <a:lnTo>
                        <a:pt x="131" y="24"/>
                      </a:lnTo>
                      <a:lnTo>
                        <a:pt x="120" y="15"/>
                      </a:lnTo>
                      <a:lnTo>
                        <a:pt x="115" y="15"/>
                      </a:lnTo>
                      <a:lnTo>
                        <a:pt x="110" y="18"/>
                      </a:lnTo>
                      <a:lnTo>
                        <a:pt x="99" y="11"/>
                      </a:lnTo>
                      <a:lnTo>
                        <a:pt x="85" y="8"/>
                      </a:lnTo>
                      <a:lnTo>
                        <a:pt x="53" y="6"/>
                      </a:lnTo>
                      <a:lnTo>
                        <a:pt x="37" y="0"/>
                      </a:lnTo>
                      <a:lnTo>
                        <a:pt x="16" y="0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9" y="9"/>
                      </a:lnTo>
                      <a:lnTo>
                        <a:pt x="5" y="27"/>
                      </a:lnTo>
                      <a:lnTo>
                        <a:pt x="10" y="38"/>
                      </a:lnTo>
                      <a:lnTo>
                        <a:pt x="10" y="47"/>
                      </a:lnTo>
                      <a:lnTo>
                        <a:pt x="5" y="61"/>
                      </a:lnTo>
                      <a:lnTo>
                        <a:pt x="0" y="73"/>
                      </a:lnTo>
                      <a:lnTo>
                        <a:pt x="5" y="86"/>
                      </a:lnTo>
                      <a:lnTo>
                        <a:pt x="9" y="107"/>
                      </a:lnTo>
                      <a:lnTo>
                        <a:pt x="23" y="434"/>
                      </a:lnTo>
                      <a:lnTo>
                        <a:pt x="519" y="431"/>
                      </a:lnTo>
                      <a:lnTo>
                        <a:pt x="519" y="429"/>
                      </a:lnTo>
                      <a:lnTo>
                        <a:pt x="512" y="427"/>
                      </a:lnTo>
                      <a:lnTo>
                        <a:pt x="501" y="417"/>
                      </a:lnTo>
                      <a:lnTo>
                        <a:pt x="499" y="411"/>
                      </a:lnTo>
                      <a:lnTo>
                        <a:pt x="490" y="410"/>
                      </a:lnTo>
                      <a:lnTo>
                        <a:pt x="485" y="399"/>
                      </a:lnTo>
                      <a:lnTo>
                        <a:pt x="480" y="401"/>
                      </a:lnTo>
                      <a:lnTo>
                        <a:pt x="473" y="401"/>
                      </a:lnTo>
                      <a:lnTo>
                        <a:pt x="460" y="392"/>
                      </a:lnTo>
                      <a:lnTo>
                        <a:pt x="453" y="371"/>
                      </a:lnTo>
                      <a:lnTo>
                        <a:pt x="455" y="365"/>
                      </a:lnTo>
                      <a:lnTo>
                        <a:pt x="453" y="355"/>
                      </a:lnTo>
                      <a:lnTo>
                        <a:pt x="451" y="349"/>
                      </a:lnTo>
                      <a:lnTo>
                        <a:pt x="451" y="346"/>
                      </a:lnTo>
                      <a:lnTo>
                        <a:pt x="455" y="348"/>
                      </a:lnTo>
                      <a:lnTo>
                        <a:pt x="467" y="349"/>
                      </a:lnTo>
                      <a:lnTo>
                        <a:pt x="462" y="344"/>
                      </a:lnTo>
                      <a:lnTo>
                        <a:pt x="459" y="342"/>
                      </a:lnTo>
                      <a:lnTo>
                        <a:pt x="451" y="332"/>
                      </a:lnTo>
                      <a:lnTo>
                        <a:pt x="450" y="330"/>
                      </a:lnTo>
                      <a:lnTo>
                        <a:pt x="450" y="334"/>
                      </a:lnTo>
                      <a:lnTo>
                        <a:pt x="444" y="328"/>
                      </a:lnTo>
                      <a:lnTo>
                        <a:pt x="441" y="316"/>
                      </a:lnTo>
                      <a:lnTo>
                        <a:pt x="425" y="293"/>
                      </a:lnTo>
                      <a:lnTo>
                        <a:pt x="418" y="287"/>
                      </a:lnTo>
                      <a:lnTo>
                        <a:pt x="416" y="277"/>
                      </a:lnTo>
                      <a:lnTo>
                        <a:pt x="389" y="238"/>
                      </a:lnTo>
                      <a:lnTo>
                        <a:pt x="389" y="229"/>
                      </a:lnTo>
                      <a:lnTo>
                        <a:pt x="386" y="222"/>
                      </a:lnTo>
                      <a:lnTo>
                        <a:pt x="384" y="206"/>
                      </a:lnTo>
                      <a:lnTo>
                        <a:pt x="379" y="201"/>
                      </a:lnTo>
                      <a:lnTo>
                        <a:pt x="379" y="197"/>
                      </a:lnTo>
                      <a:lnTo>
                        <a:pt x="365" y="181"/>
                      </a:lnTo>
                      <a:lnTo>
                        <a:pt x="365" y="176"/>
                      </a:lnTo>
                      <a:lnTo>
                        <a:pt x="366" y="169"/>
                      </a:lnTo>
                      <a:lnTo>
                        <a:pt x="363" y="162"/>
                      </a:lnTo>
                      <a:lnTo>
                        <a:pt x="338" y="142"/>
                      </a:lnTo>
                      <a:lnTo>
                        <a:pt x="336" y="135"/>
                      </a:lnTo>
                      <a:lnTo>
                        <a:pt x="322" y="117"/>
                      </a:lnTo>
                      <a:lnTo>
                        <a:pt x="322" y="109"/>
                      </a:lnTo>
                      <a:lnTo>
                        <a:pt x="313" y="96"/>
                      </a:lnTo>
                      <a:lnTo>
                        <a:pt x="313" y="91"/>
                      </a:lnTo>
                      <a:lnTo>
                        <a:pt x="313" y="86"/>
                      </a:lnTo>
                      <a:lnTo>
                        <a:pt x="315" y="82"/>
                      </a:lnTo>
                      <a:lnTo>
                        <a:pt x="317" y="86"/>
                      </a:lnTo>
                      <a:lnTo>
                        <a:pt x="320" y="86"/>
                      </a:lnTo>
                      <a:lnTo>
                        <a:pt x="324" y="96"/>
                      </a:lnTo>
                      <a:lnTo>
                        <a:pt x="327" y="100"/>
                      </a:lnTo>
                      <a:lnTo>
                        <a:pt x="327" y="105"/>
                      </a:lnTo>
                      <a:lnTo>
                        <a:pt x="343" y="119"/>
                      </a:lnTo>
                      <a:lnTo>
                        <a:pt x="343" y="126"/>
                      </a:lnTo>
                      <a:lnTo>
                        <a:pt x="349" y="135"/>
                      </a:lnTo>
                      <a:lnTo>
                        <a:pt x="359" y="140"/>
                      </a:lnTo>
                      <a:lnTo>
                        <a:pt x="361" y="148"/>
                      </a:lnTo>
                      <a:lnTo>
                        <a:pt x="381" y="169"/>
                      </a:lnTo>
                      <a:lnTo>
                        <a:pt x="393" y="174"/>
                      </a:lnTo>
                      <a:lnTo>
                        <a:pt x="393" y="178"/>
                      </a:lnTo>
                      <a:lnTo>
                        <a:pt x="395" y="172"/>
                      </a:lnTo>
                      <a:lnTo>
                        <a:pt x="400" y="167"/>
                      </a:lnTo>
                      <a:lnTo>
                        <a:pt x="404" y="153"/>
                      </a:lnTo>
                      <a:lnTo>
                        <a:pt x="400" y="149"/>
                      </a:lnTo>
                      <a:lnTo>
                        <a:pt x="405" y="137"/>
                      </a:lnTo>
                      <a:lnTo>
                        <a:pt x="405" y="128"/>
                      </a:lnTo>
                      <a:lnTo>
                        <a:pt x="412" y="105"/>
                      </a:lnTo>
                      <a:lnTo>
                        <a:pt x="414" y="101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2" name="Freeform 6">
                  <a:extLst>
                    <a:ext uri="{FF2B5EF4-FFF2-40B4-BE49-F238E27FC236}">
                      <a16:creationId xmlns:a16="http://schemas.microsoft.com/office/drawing/2014/main" id="{6FFD7D45-A5DC-50AE-E5E6-E482A35DCF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97646" y="2473319"/>
                  <a:ext cx="1087441" cy="1247771"/>
                </a:xfrm>
                <a:custGeom>
                  <a:avLst/>
                  <a:gdLst>
                    <a:gd name="T0" fmla="*/ 611 w 685"/>
                    <a:gd name="T1" fmla="*/ 11 h 786"/>
                    <a:gd name="T2" fmla="*/ 616 w 685"/>
                    <a:gd name="T3" fmla="*/ 30 h 786"/>
                    <a:gd name="T4" fmla="*/ 618 w 685"/>
                    <a:gd name="T5" fmla="*/ 37 h 786"/>
                    <a:gd name="T6" fmla="*/ 627 w 685"/>
                    <a:gd name="T7" fmla="*/ 106 h 786"/>
                    <a:gd name="T8" fmla="*/ 664 w 685"/>
                    <a:gd name="T9" fmla="*/ 159 h 786"/>
                    <a:gd name="T10" fmla="*/ 680 w 685"/>
                    <a:gd name="T11" fmla="*/ 179 h 786"/>
                    <a:gd name="T12" fmla="*/ 648 w 685"/>
                    <a:gd name="T13" fmla="*/ 193 h 786"/>
                    <a:gd name="T14" fmla="*/ 630 w 685"/>
                    <a:gd name="T15" fmla="*/ 207 h 786"/>
                    <a:gd name="T16" fmla="*/ 627 w 685"/>
                    <a:gd name="T17" fmla="*/ 236 h 786"/>
                    <a:gd name="T18" fmla="*/ 609 w 685"/>
                    <a:gd name="T19" fmla="*/ 289 h 786"/>
                    <a:gd name="T20" fmla="*/ 613 w 685"/>
                    <a:gd name="T21" fmla="*/ 331 h 786"/>
                    <a:gd name="T22" fmla="*/ 590 w 685"/>
                    <a:gd name="T23" fmla="*/ 393 h 786"/>
                    <a:gd name="T24" fmla="*/ 567 w 685"/>
                    <a:gd name="T25" fmla="*/ 425 h 786"/>
                    <a:gd name="T26" fmla="*/ 535 w 685"/>
                    <a:gd name="T27" fmla="*/ 476 h 786"/>
                    <a:gd name="T28" fmla="*/ 524 w 685"/>
                    <a:gd name="T29" fmla="*/ 514 h 786"/>
                    <a:gd name="T30" fmla="*/ 508 w 685"/>
                    <a:gd name="T31" fmla="*/ 576 h 786"/>
                    <a:gd name="T32" fmla="*/ 480 w 685"/>
                    <a:gd name="T33" fmla="*/ 577 h 786"/>
                    <a:gd name="T34" fmla="*/ 478 w 685"/>
                    <a:gd name="T35" fmla="*/ 606 h 786"/>
                    <a:gd name="T36" fmla="*/ 512 w 685"/>
                    <a:gd name="T37" fmla="*/ 625 h 786"/>
                    <a:gd name="T38" fmla="*/ 538 w 685"/>
                    <a:gd name="T39" fmla="*/ 650 h 786"/>
                    <a:gd name="T40" fmla="*/ 559 w 685"/>
                    <a:gd name="T41" fmla="*/ 689 h 786"/>
                    <a:gd name="T42" fmla="*/ 526 w 685"/>
                    <a:gd name="T43" fmla="*/ 742 h 786"/>
                    <a:gd name="T44" fmla="*/ 504 w 685"/>
                    <a:gd name="T45" fmla="*/ 762 h 786"/>
                    <a:gd name="T46" fmla="*/ 457 w 685"/>
                    <a:gd name="T47" fmla="*/ 774 h 786"/>
                    <a:gd name="T48" fmla="*/ 435 w 685"/>
                    <a:gd name="T49" fmla="*/ 786 h 786"/>
                    <a:gd name="T50" fmla="*/ 407 w 685"/>
                    <a:gd name="T51" fmla="*/ 776 h 786"/>
                    <a:gd name="T52" fmla="*/ 384 w 685"/>
                    <a:gd name="T53" fmla="*/ 783 h 786"/>
                    <a:gd name="T54" fmla="*/ 368 w 685"/>
                    <a:gd name="T55" fmla="*/ 779 h 786"/>
                    <a:gd name="T56" fmla="*/ 345 w 685"/>
                    <a:gd name="T57" fmla="*/ 755 h 786"/>
                    <a:gd name="T58" fmla="*/ 320 w 685"/>
                    <a:gd name="T59" fmla="*/ 733 h 786"/>
                    <a:gd name="T60" fmla="*/ 299 w 685"/>
                    <a:gd name="T61" fmla="*/ 742 h 786"/>
                    <a:gd name="T62" fmla="*/ 271 w 685"/>
                    <a:gd name="T63" fmla="*/ 751 h 786"/>
                    <a:gd name="T64" fmla="*/ 241 w 685"/>
                    <a:gd name="T65" fmla="*/ 730 h 786"/>
                    <a:gd name="T66" fmla="*/ 226 w 685"/>
                    <a:gd name="T67" fmla="*/ 712 h 786"/>
                    <a:gd name="T68" fmla="*/ 202 w 685"/>
                    <a:gd name="T69" fmla="*/ 684 h 786"/>
                    <a:gd name="T70" fmla="*/ 184 w 685"/>
                    <a:gd name="T71" fmla="*/ 661 h 786"/>
                    <a:gd name="T72" fmla="*/ 157 w 685"/>
                    <a:gd name="T73" fmla="*/ 632 h 786"/>
                    <a:gd name="T74" fmla="*/ 143 w 685"/>
                    <a:gd name="T75" fmla="*/ 618 h 786"/>
                    <a:gd name="T76" fmla="*/ 131 w 685"/>
                    <a:gd name="T77" fmla="*/ 599 h 786"/>
                    <a:gd name="T78" fmla="*/ 99 w 685"/>
                    <a:gd name="T79" fmla="*/ 579 h 786"/>
                    <a:gd name="T80" fmla="*/ 81 w 685"/>
                    <a:gd name="T81" fmla="*/ 567 h 786"/>
                    <a:gd name="T82" fmla="*/ 70 w 685"/>
                    <a:gd name="T83" fmla="*/ 537 h 786"/>
                    <a:gd name="T84" fmla="*/ 49 w 685"/>
                    <a:gd name="T85" fmla="*/ 487 h 786"/>
                    <a:gd name="T86" fmla="*/ 39 w 685"/>
                    <a:gd name="T87" fmla="*/ 464 h 786"/>
                    <a:gd name="T88" fmla="*/ 21 w 685"/>
                    <a:gd name="T89" fmla="*/ 434 h 786"/>
                    <a:gd name="T90" fmla="*/ 19 w 685"/>
                    <a:gd name="T91" fmla="*/ 404 h 786"/>
                    <a:gd name="T92" fmla="*/ 0 w 685"/>
                    <a:gd name="T93" fmla="*/ 390 h 786"/>
                    <a:gd name="T94" fmla="*/ 10 w 685"/>
                    <a:gd name="T95" fmla="*/ 351 h 786"/>
                    <a:gd name="T96" fmla="*/ 24 w 685"/>
                    <a:gd name="T97" fmla="*/ 319 h 786"/>
                    <a:gd name="T98" fmla="*/ 44 w 685"/>
                    <a:gd name="T99" fmla="*/ 276 h 786"/>
                    <a:gd name="T100" fmla="*/ 83 w 685"/>
                    <a:gd name="T101" fmla="*/ 267 h 786"/>
                    <a:gd name="T102" fmla="*/ 115 w 685"/>
                    <a:gd name="T103" fmla="*/ 3 h 7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685" h="786">
                      <a:moveTo>
                        <a:pt x="115" y="3"/>
                      </a:moveTo>
                      <a:lnTo>
                        <a:pt x="611" y="0"/>
                      </a:lnTo>
                      <a:lnTo>
                        <a:pt x="609" y="3"/>
                      </a:lnTo>
                      <a:lnTo>
                        <a:pt x="609" y="7"/>
                      </a:lnTo>
                      <a:lnTo>
                        <a:pt x="611" y="11"/>
                      </a:lnTo>
                      <a:lnTo>
                        <a:pt x="609" y="12"/>
                      </a:lnTo>
                      <a:lnTo>
                        <a:pt x="611" y="14"/>
                      </a:lnTo>
                      <a:lnTo>
                        <a:pt x="611" y="16"/>
                      </a:lnTo>
                      <a:lnTo>
                        <a:pt x="613" y="18"/>
                      </a:lnTo>
                      <a:lnTo>
                        <a:pt x="616" y="30"/>
                      </a:lnTo>
                      <a:lnTo>
                        <a:pt x="623" y="39"/>
                      </a:lnTo>
                      <a:lnTo>
                        <a:pt x="623" y="42"/>
                      </a:lnTo>
                      <a:lnTo>
                        <a:pt x="621" y="42"/>
                      </a:lnTo>
                      <a:lnTo>
                        <a:pt x="620" y="41"/>
                      </a:lnTo>
                      <a:lnTo>
                        <a:pt x="618" y="37"/>
                      </a:lnTo>
                      <a:lnTo>
                        <a:pt x="616" y="37"/>
                      </a:lnTo>
                      <a:lnTo>
                        <a:pt x="616" y="46"/>
                      </a:lnTo>
                      <a:lnTo>
                        <a:pt x="627" y="74"/>
                      </a:lnTo>
                      <a:lnTo>
                        <a:pt x="629" y="92"/>
                      </a:lnTo>
                      <a:lnTo>
                        <a:pt x="627" y="106"/>
                      </a:lnTo>
                      <a:lnTo>
                        <a:pt x="632" y="124"/>
                      </a:lnTo>
                      <a:lnTo>
                        <a:pt x="639" y="138"/>
                      </a:lnTo>
                      <a:lnTo>
                        <a:pt x="646" y="140"/>
                      </a:lnTo>
                      <a:lnTo>
                        <a:pt x="664" y="152"/>
                      </a:lnTo>
                      <a:lnTo>
                        <a:pt x="664" y="159"/>
                      </a:lnTo>
                      <a:lnTo>
                        <a:pt x="673" y="161"/>
                      </a:lnTo>
                      <a:lnTo>
                        <a:pt x="682" y="165"/>
                      </a:lnTo>
                      <a:lnTo>
                        <a:pt x="682" y="170"/>
                      </a:lnTo>
                      <a:lnTo>
                        <a:pt x="685" y="170"/>
                      </a:lnTo>
                      <a:lnTo>
                        <a:pt x="680" y="179"/>
                      </a:lnTo>
                      <a:lnTo>
                        <a:pt x="673" y="182"/>
                      </a:lnTo>
                      <a:lnTo>
                        <a:pt x="666" y="184"/>
                      </a:lnTo>
                      <a:lnTo>
                        <a:pt x="662" y="189"/>
                      </a:lnTo>
                      <a:lnTo>
                        <a:pt x="653" y="189"/>
                      </a:lnTo>
                      <a:lnTo>
                        <a:pt x="648" y="193"/>
                      </a:lnTo>
                      <a:lnTo>
                        <a:pt x="641" y="195"/>
                      </a:lnTo>
                      <a:lnTo>
                        <a:pt x="639" y="198"/>
                      </a:lnTo>
                      <a:lnTo>
                        <a:pt x="641" y="204"/>
                      </a:lnTo>
                      <a:lnTo>
                        <a:pt x="641" y="207"/>
                      </a:lnTo>
                      <a:lnTo>
                        <a:pt x="630" y="207"/>
                      </a:lnTo>
                      <a:lnTo>
                        <a:pt x="625" y="211"/>
                      </a:lnTo>
                      <a:lnTo>
                        <a:pt x="625" y="220"/>
                      </a:lnTo>
                      <a:lnTo>
                        <a:pt x="621" y="228"/>
                      </a:lnTo>
                      <a:lnTo>
                        <a:pt x="625" y="232"/>
                      </a:lnTo>
                      <a:lnTo>
                        <a:pt x="627" y="236"/>
                      </a:lnTo>
                      <a:lnTo>
                        <a:pt x="623" y="239"/>
                      </a:lnTo>
                      <a:lnTo>
                        <a:pt x="620" y="251"/>
                      </a:lnTo>
                      <a:lnTo>
                        <a:pt x="616" y="273"/>
                      </a:lnTo>
                      <a:lnTo>
                        <a:pt x="609" y="283"/>
                      </a:lnTo>
                      <a:lnTo>
                        <a:pt x="609" y="289"/>
                      </a:lnTo>
                      <a:lnTo>
                        <a:pt x="604" y="294"/>
                      </a:lnTo>
                      <a:lnTo>
                        <a:pt x="604" y="305"/>
                      </a:lnTo>
                      <a:lnTo>
                        <a:pt x="609" y="322"/>
                      </a:lnTo>
                      <a:lnTo>
                        <a:pt x="611" y="329"/>
                      </a:lnTo>
                      <a:lnTo>
                        <a:pt x="613" y="331"/>
                      </a:lnTo>
                      <a:lnTo>
                        <a:pt x="611" y="335"/>
                      </a:lnTo>
                      <a:lnTo>
                        <a:pt x="605" y="347"/>
                      </a:lnTo>
                      <a:lnTo>
                        <a:pt x="605" y="361"/>
                      </a:lnTo>
                      <a:lnTo>
                        <a:pt x="595" y="379"/>
                      </a:lnTo>
                      <a:lnTo>
                        <a:pt x="590" y="393"/>
                      </a:lnTo>
                      <a:lnTo>
                        <a:pt x="586" y="393"/>
                      </a:lnTo>
                      <a:lnTo>
                        <a:pt x="579" y="395"/>
                      </a:lnTo>
                      <a:lnTo>
                        <a:pt x="577" y="402"/>
                      </a:lnTo>
                      <a:lnTo>
                        <a:pt x="567" y="418"/>
                      </a:lnTo>
                      <a:lnTo>
                        <a:pt x="567" y="425"/>
                      </a:lnTo>
                      <a:lnTo>
                        <a:pt x="556" y="432"/>
                      </a:lnTo>
                      <a:lnTo>
                        <a:pt x="551" y="446"/>
                      </a:lnTo>
                      <a:lnTo>
                        <a:pt x="542" y="476"/>
                      </a:lnTo>
                      <a:lnTo>
                        <a:pt x="538" y="475"/>
                      </a:lnTo>
                      <a:lnTo>
                        <a:pt x="535" y="476"/>
                      </a:lnTo>
                      <a:lnTo>
                        <a:pt x="533" y="482"/>
                      </a:lnTo>
                      <a:lnTo>
                        <a:pt x="524" y="492"/>
                      </a:lnTo>
                      <a:lnTo>
                        <a:pt x="520" y="501"/>
                      </a:lnTo>
                      <a:lnTo>
                        <a:pt x="524" y="505"/>
                      </a:lnTo>
                      <a:lnTo>
                        <a:pt x="524" y="514"/>
                      </a:lnTo>
                      <a:lnTo>
                        <a:pt x="517" y="524"/>
                      </a:lnTo>
                      <a:lnTo>
                        <a:pt x="513" y="537"/>
                      </a:lnTo>
                      <a:lnTo>
                        <a:pt x="515" y="553"/>
                      </a:lnTo>
                      <a:lnTo>
                        <a:pt x="513" y="572"/>
                      </a:lnTo>
                      <a:lnTo>
                        <a:pt x="508" y="576"/>
                      </a:lnTo>
                      <a:lnTo>
                        <a:pt x="504" y="581"/>
                      </a:lnTo>
                      <a:lnTo>
                        <a:pt x="501" y="579"/>
                      </a:lnTo>
                      <a:lnTo>
                        <a:pt x="496" y="577"/>
                      </a:lnTo>
                      <a:lnTo>
                        <a:pt x="489" y="579"/>
                      </a:lnTo>
                      <a:lnTo>
                        <a:pt x="480" y="577"/>
                      </a:lnTo>
                      <a:lnTo>
                        <a:pt x="478" y="586"/>
                      </a:lnTo>
                      <a:lnTo>
                        <a:pt x="474" y="588"/>
                      </a:lnTo>
                      <a:lnTo>
                        <a:pt x="467" y="597"/>
                      </a:lnTo>
                      <a:lnTo>
                        <a:pt x="471" y="602"/>
                      </a:lnTo>
                      <a:lnTo>
                        <a:pt x="478" y="606"/>
                      </a:lnTo>
                      <a:lnTo>
                        <a:pt x="496" y="606"/>
                      </a:lnTo>
                      <a:lnTo>
                        <a:pt x="499" y="609"/>
                      </a:lnTo>
                      <a:lnTo>
                        <a:pt x="506" y="618"/>
                      </a:lnTo>
                      <a:lnTo>
                        <a:pt x="508" y="623"/>
                      </a:lnTo>
                      <a:lnTo>
                        <a:pt x="512" y="625"/>
                      </a:lnTo>
                      <a:lnTo>
                        <a:pt x="519" y="639"/>
                      </a:lnTo>
                      <a:lnTo>
                        <a:pt x="528" y="643"/>
                      </a:lnTo>
                      <a:lnTo>
                        <a:pt x="526" y="646"/>
                      </a:lnTo>
                      <a:lnTo>
                        <a:pt x="529" y="650"/>
                      </a:lnTo>
                      <a:lnTo>
                        <a:pt x="538" y="650"/>
                      </a:lnTo>
                      <a:lnTo>
                        <a:pt x="542" y="655"/>
                      </a:lnTo>
                      <a:lnTo>
                        <a:pt x="545" y="662"/>
                      </a:lnTo>
                      <a:lnTo>
                        <a:pt x="552" y="670"/>
                      </a:lnTo>
                      <a:lnTo>
                        <a:pt x="554" y="685"/>
                      </a:lnTo>
                      <a:lnTo>
                        <a:pt x="559" y="689"/>
                      </a:lnTo>
                      <a:lnTo>
                        <a:pt x="561" y="705"/>
                      </a:lnTo>
                      <a:lnTo>
                        <a:pt x="547" y="719"/>
                      </a:lnTo>
                      <a:lnTo>
                        <a:pt x="536" y="735"/>
                      </a:lnTo>
                      <a:lnTo>
                        <a:pt x="533" y="733"/>
                      </a:lnTo>
                      <a:lnTo>
                        <a:pt x="526" y="742"/>
                      </a:lnTo>
                      <a:lnTo>
                        <a:pt x="522" y="747"/>
                      </a:lnTo>
                      <a:lnTo>
                        <a:pt x="519" y="747"/>
                      </a:lnTo>
                      <a:lnTo>
                        <a:pt x="513" y="755"/>
                      </a:lnTo>
                      <a:lnTo>
                        <a:pt x="513" y="755"/>
                      </a:lnTo>
                      <a:lnTo>
                        <a:pt x="504" y="762"/>
                      </a:lnTo>
                      <a:lnTo>
                        <a:pt x="499" y="767"/>
                      </a:lnTo>
                      <a:lnTo>
                        <a:pt x="490" y="772"/>
                      </a:lnTo>
                      <a:lnTo>
                        <a:pt x="480" y="769"/>
                      </a:lnTo>
                      <a:lnTo>
                        <a:pt x="466" y="770"/>
                      </a:lnTo>
                      <a:lnTo>
                        <a:pt x="457" y="774"/>
                      </a:lnTo>
                      <a:lnTo>
                        <a:pt x="450" y="774"/>
                      </a:lnTo>
                      <a:lnTo>
                        <a:pt x="446" y="776"/>
                      </a:lnTo>
                      <a:lnTo>
                        <a:pt x="441" y="774"/>
                      </a:lnTo>
                      <a:lnTo>
                        <a:pt x="435" y="779"/>
                      </a:lnTo>
                      <a:lnTo>
                        <a:pt x="435" y="786"/>
                      </a:lnTo>
                      <a:lnTo>
                        <a:pt x="432" y="786"/>
                      </a:lnTo>
                      <a:lnTo>
                        <a:pt x="421" y="783"/>
                      </a:lnTo>
                      <a:lnTo>
                        <a:pt x="421" y="776"/>
                      </a:lnTo>
                      <a:lnTo>
                        <a:pt x="414" y="774"/>
                      </a:lnTo>
                      <a:lnTo>
                        <a:pt x="407" y="776"/>
                      </a:lnTo>
                      <a:lnTo>
                        <a:pt x="396" y="772"/>
                      </a:lnTo>
                      <a:lnTo>
                        <a:pt x="388" y="769"/>
                      </a:lnTo>
                      <a:lnTo>
                        <a:pt x="382" y="774"/>
                      </a:lnTo>
                      <a:lnTo>
                        <a:pt x="382" y="779"/>
                      </a:lnTo>
                      <a:lnTo>
                        <a:pt x="384" y="783"/>
                      </a:lnTo>
                      <a:lnTo>
                        <a:pt x="384" y="785"/>
                      </a:lnTo>
                      <a:lnTo>
                        <a:pt x="380" y="783"/>
                      </a:lnTo>
                      <a:lnTo>
                        <a:pt x="370" y="783"/>
                      </a:lnTo>
                      <a:lnTo>
                        <a:pt x="368" y="783"/>
                      </a:lnTo>
                      <a:lnTo>
                        <a:pt x="368" y="779"/>
                      </a:lnTo>
                      <a:lnTo>
                        <a:pt x="366" y="772"/>
                      </a:lnTo>
                      <a:lnTo>
                        <a:pt x="363" y="769"/>
                      </a:lnTo>
                      <a:lnTo>
                        <a:pt x="361" y="762"/>
                      </a:lnTo>
                      <a:lnTo>
                        <a:pt x="356" y="758"/>
                      </a:lnTo>
                      <a:lnTo>
                        <a:pt x="345" y="755"/>
                      </a:lnTo>
                      <a:lnTo>
                        <a:pt x="343" y="751"/>
                      </a:lnTo>
                      <a:lnTo>
                        <a:pt x="338" y="746"/>
                      </a:lnTo>
                      <a:lnTo>
                        <a:pt x="333" y="735"/>
                      </a:lnTo>
                      <a:lnTo>
                        <a:pt x="329" y="733"/>
                      </a:lnTo>
                      <a:lnTo>
                        <a:pt x="320" y="733"/>
                      </a:lnTo>
                      <a:lnTo>
                        <a:pt x="317" y="739"/>
                      </a:lnTo>
                      <a:lnTo>
                        <a:pt x="313" y="742"/>
                      </a:lnTo>
                      <a:lnTo>
                        <a:pt x="304" y="746"/>
                      </a:lnTo>
                      <a:lnTo>
                        <a:pt x="301" y="746"/>
                      </a:lnTo>
                      <a:lnTo>
                        <a:pt x="299" y="742"/>
                      </a:lnTo>
                      <a:lnTo>
                        <a:pt x="294" y="742"/>
                      </a:lnTo>
                      <a:lnTo>
                        <a:pt x="283" y="742"/>
                      </a:lnTo>
                      <a:lnTo>
                        <a:pt x="280" y="746"/>
                      </a:lnTo>
                      <a:lnTo>
                        <a:pt x="276" y="751"/>
                      </a:lnTo>
                      <a:lnTo>
                        <a:pt x="271" y="751"/>
                      </a:lnTo>
                      <a:lnTo>
                        <a:pt x="264" y="749"/>
                      </a:lnTo>
                      <a:lnTo>
                        <a:pt x="255" y="742"/>
                      </a:lnTo>
                      <a:lnTo>
                        <a:pt x="249" y="737"/>
                      </a:lnTo>
                      <a:lnTo>
                        <a:pt x="244" y="735"/>
                      </a:lnTo>
                      <a:lnTo>
                        <a:pt x="241" y="730"/>
                      </a:lnTo>
                      <a:lnTo>
                        <a:pt x="239" y="723"/>
                      </a:lnTo>
                      <a:lnTo>
                        <a:pt x="237" y="723"/>
                      </a:lnTo>
                      <a:lnTo>
                        <a:pt x="237" y="721"/>
                      </a:lnTo>
                      <a:lnTo>
                        <a:pt x="235" y="716"/>
                      </a:lnTo>
                      <a:lnTo>
                        <a:pt x="226" y="712"/>
                      </a:lnTo>
                      <a:lnTo>
                        <a:pt x="223" y="708"/>
                      </a:lnTo>
                      <a:lnTo>
                        <a:pt x="221" y="696"/>
                      </a:lnTo>
                      <a:lnTo>
                        <a:pt x="223" y="691"/>
                      </a:lnTo>
                      <a:lnTo>
                        <a:pt x="216" y="687"/>
                      </a:lnTo>
                      <a:lnTo>
                        <a:pt x="202" y="684"/>
                      </a:lnTo>
                      <a:lnTo>
                        <a:pt x="198" y="678"/>
                      </a:lnTo>
                      <a:lnTo>
                        <a:pt x="198" y="671"/>
                      </a:lnTo>
                      <a:lnTo>
                        <a:pt x="196" y="668"/>
                      </a:lnTo>
                      <a:lnTo>
                        <a:pt x="187" y="666"/>
                      </a:lnTo>
                      <a:lnTo>
                        <a:pt x="184" y="661"/>
                      </a:lnTo>
                      <a:lnTo>
                        <a:pt x="184" y="648"/>
                      </a:lnTo>
                      <a:lnTo>
                        <a:pt x="180" y="643"/>
                      </a:lnTo>
                      <a:lnTo>
                        <a:pt x="166" y="636"/>
                      </a:lnTo>
                      <a:lnTo>
                        <a:pt x="163" y="636"/>
                      </a:lnTo>
                      <a:lnTo>
                        <a:pt x="157" y="632"/>
                      </a:lnTo>
                      <a:lnTo>
                        <a:pt x="154" y="634"/>
                      </a:lnTo>
                      <a:lnTo>
                        <a:pt x="147" y="632"/>
                      </a:lnTo>
                      <a:lnTo>
                        <a:pt x="138" y="625"/>
                      </a:lnTo>
                      <a:lnTo>
                        <a:pt x="141" y="622"/>
                      </a:lnTo>
                      <a:lnTo>
                        <a:pt x="143" y="618"/>
                      </a:lnTo>
                      <a:lnTo>
                        <a:pt x="148" y="615"/>
                      </a:lnTo>
                      <a:lnTo>
                        <a:pt x="150" y="608"/>
                      </a:lnTo>
                      <a:lnTo>
                        <a:pt x="147" y="604"/>
                      </a:lnTo>
                      <a:lnTo>
                        <a:pt x="140" y="602"/>
                      </a:lnTo>
                      <a:lnTo>
                        <a:pt x="131" y="599"/>
                      </a:lnTo>
                      <a:lnTo>
                        <a:pt x="129" y="593"/>
                      </a:lnTo>
                      <a:lnTo>
                        <a:pt x="122" y="590"/>
                      </a:lnTo>
                      <a:lnTo>
                        <a:pt x="115" y="590"/>
                      </a:lnTo>
                      <a:lnTo>
                        <a:pt x="106" y="584"/>
                      </a:lnTo>
                      <a:lnTo>
                        <a:pt x="99" y="579"/>
                      </a:lnTo>
                      <a:lnTo>
                        <a:pt x="97" y="572"/>
                      </a:lnTo>
                      <a:lnTo>
                        <a:pt x="101" y="567"/>
                      </a:lnTo>
                      <a:lnTo>
                        <a:pt x="97" y="563"/>
                      </a:lnTo>
                      <a:lnTo>
                        <a:pt x="85" y="563"/>
                      </a:lnTo>
                      <a:lnTo>
                        <a:pt x="81" y="567"/>
                      </a:lnTo>
                      <a:lnTo>
                        <a:pt x="70" y="567"/>
                      </a:lnTo>
                      <a:lnTo>
                        <a:pt x="65" y="561"/>
                      </a:lnTo>
                      <a:lnTo>
                        <a:pt x="65" y="549"/>
                      </a:lnTo>
                      <a:lnTo>
                        <a:pt x="67" y="540"/>
                      </a:lnTo>
                      <a:lnTo>
                        <a:pt x="70" y="537"/>
                      </a:lnTo>
                      <a:lnTo>
                        <a:pt x="72" y="528"/>
                      </a:lnTo>
                      <a:lnTo>
                        <a:pt x="69" y="522"/>
                      </a:lnTo>
                      <a:lnTo>
                        <a:pt x="62" y="507"/>
                      </a:lnTo>
                      <a:lnTo>
                        <a:pt x="51" y="491"/>
                      </a:lnTo>
                      <a:lnTo>
                        <a:pt x="49" y="487"/>
                      </a:lnTo>
                      <a:lnTo>
                        <a:pt x="40" y="480"/>
                      </a:lnTo>
                      <a:lnTo>
                        <a:pt x="42" y="476"/>
                      </a:lnTo>
                      <a:lnTo>
                        <a:pt x="42" y="471"/>
                      </a:lnTo>
                      <a:lnTo>
                        <a:pt x="39" y="466"/>
                      </a:lnTo>
                      <a:lnTo>
                        <a:pt x="39" y="464"/>
                      </a:lnTo>
                      <a:lnTo>
                        <a:pt x="39" y="459"/>
                      </a:lnTo>
                      <a:lnTo>
                        <a:pt x="42" y="453"/>
                      </a:lnTo>
                      <a:lnTo>
                        <a:pt x="39" y="446"/>
                      </a:lnTo>
                      <a:lnTo>
                        <a:pt x="23" y="443"/>
                      </a:lnTo>
                      <a:lnTo>
                        <a:pt x="21" y="434"/>
                      </a:lnTo>
                      <a:lnTo>
                        <a:pt x="21" y="423"/>
                      </a:lnTo>
                      <a:lnTo>
                        <a:pt x="17" y="416"/>
                      </a:lnTo>
                      <a:lnTo>
                        <a:pt x="21" y="411"/>
                      </a:lnTo>
                      <a:lnTo>
                        <a:pt x="16" y="407"/>
                      </a:lnTo>
                      <a:lnTo>
                        <a:pt x="19" y="404"/>
                      </a:lnTo>
                      <a:lnTo>
                        <a:pt x="19" y="398"/>
                      </a:lnTo>
                      <a:lnTo>
                        <a:pt x="16" y="397"/>
                      </a:lnTo>
                      <a:lnTo>
                        <a:pt x="5" y="404"/>
                      </a:lnTo>
                      <a:lnTo>
                        <a:pt x="0" y="398"/>
                      </a:lnTo>
                      <a:lnTo>
                        <a:pt x="0" y="390"/>
                      </a:lnTo>
                      <a:lnTo>
                        <a:pt x="12" y="375"/>
                      </a:lnTo>
                      <a:lnTo>
                        <a:pt x="17" y="368"/>
                      </a:lnTo>
                      <a:lnTo>
                        <a:pt x="16" y="361"/>
                      </a:lnTo>
                      <a:lnTo>
                        <a:pt x="8" y="356"/>
                      </a:lnTo>
                      <a:lnTo>
                        <a:pt x="10" y="351"/>
                      </a:lnTo>
                      <a:lnTo>
                        <a:pt x="19" y="345"/>
                      </a:lnTo>
                      <a:lnTo>
                        <a:pt x="23" y="336"/>
                      </a:lnTo>
                      <a:lnTo>
                        <a:pt x="17" y="331"/>
                      </a:lnTo>
                      <a:lnTo>
                        <a:pt x="17" y="326"/>
                      </a:lnTo>
                      <a:lnTo>
                        <a:pt x="24" y="319"/>
                      </a:lnTo>
                      <a:lnTo>
                        <a:pt x="30" y="319"/>
                      </a:lnTo>
                      <a:lnTo>
                        <a:pt x="42" y="301"/>
                      </a:lnTo>
                      <a:lnTo>
                        <a:pt x="47" y="292"/>
                      </a:lnTo>
                      <a:lnTo>
                        <a:pt x="44" y="287"/>
                      </a:lnTo>
                      <a:lnTo>
                        <a:pt x="44" y="276"/>
                      </a:lnTo>
                      <a:lnTo>
                        <a:pt x="51" y="269"/>
                      </a:lnTo>
                      <a:lnTo>
                        <a:pt x="62" y="269"/>
                      </a:lnTo>
                      <a:lnTo>
                        <a:pt x="69" y="274"/>
                      </a:lnTo>
                      <a:lnTo>
                        <a:pt x="76" y="269"/>
                      </a:lnTo>
                      <a:lnTo>
                        <a:pt x="83" y="267"/>
                      </a:lnTo>
                      <a:lnTo>
                        <a:pt x="79" y="103"/>
                      </a:lnTo>
                      <a:lnTo>
                        <a:pt x="79" y="103"/>
                      </a:lnTo>
                      <a:lnTo>
                        <a:pt x="79" y="88"/>
                      </a:lnTo>
                      <a:lnTo>
                        <a:pt x="118" y="85"/>
                      </a:lnTo>
                      <a:lnTo>
                        <a:pt x="115" y="3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3" name="Freeform 7">
                  <a:extLst>
                    <a:ext uri="{FF2B5EF4-FFF2-40B4-BE49-F238E27FC236}">
                      <a16:creationId xmlns:a16="http://schemas.microsoft.com/office/drawing/2014/main" id="{A9102C16-38D7-0FBA-D907-0BBE4E7B2B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39010" y="2957506"/>
                  <a:ext cx="1004890" cy="761998"/>
                </a:xfrm>
                <a:custGeom>
                  <a:avLst/>
                  <a:gdLst>
                    <a:gd name="T0" fmla="*/ 87 w 633"/>
                    <a:gd name="T1" fmla="*/ 380 h 480"/>
                    <a:gd name="T2" fmla="*/ 75 w 633"/>
                    <a:gd name="T3" fmla="*/ 350 h 480"/>
                    <a:gd name="T4" fmla="*/ 59 w 633"/>
                    <a:gd name="T5" fmla="*/ 341 h 480"/>
                    <a:gd name="T6" fmla="*/ 45 w 633"/>
                    <a:gd name="T7" fmla="*/ 320 h 480"/>
                    <a:gd name="T8" fmla="*/ 32 w 633"/>
                    <a:gd name="T9" fmla="*/ 304 h 480"/>
                    <a:gd name="T10" fmla="*/ 4 w 633"/>
                    <a:gd name="T11" fmla="*/ 297 h 480"/>
                    <a:gd name="T12" fmla="*/ 11 w 633"/>
                    <a:gd name="T13" fmla="*/ 281 h 480"/>
                    <a:gd name="T14" fmla="*/ 29 w 633"/>
                    <a:gd name="T15" fmla="*/ 272 h 480"/>
                    <a:gd name="T16" fmla="*/ 41 w 633"/>
                    <a:gd name="T17" fmla="*/ 271 h 480"/>
                    <a:gd name="T18" fmla="*/ 46 w 633"/>
                    <a:gd name="T19" fmla="*/ 232 h 480"/>
                    <a:gd name="T20" fmla="*/ 57 w 633"/>
                    <a:gd name="T21" fmla="*/ 200 h 480"/>
                    <a:gd name="T22" fmla="*/ 66 w 633"/>
                    <a:gd name="T23" fmla="*/ 177 h 480"/>
                    <a:gd name="T24" fmla="*/ 75 w 633"/>
                    <a:gd name="T25" fmla="*/ 171 h 480"/>
                    <a:gd name="T26" fmla="*/ 100 w 633"/>
                    <a:gd name="T27" fmla="*/ 120 h 480"/>
                    <a:gd name="T28" fmla="*/ 112 w 633"/>
                    <a:gd name="T29" fmla="*/ 90 h 480"/>
                    <a:gd name="T30" fmla="*/ 128 w 633"/>
                    <a:gd name="T31" fmla="*/ 74 h 480"/>
                    <a:gd name="T32" fmla="*/ 144 w 633"/>
                    <a:gd name="T33" fmla="*/ 30 h 480"/>
                    <a:gd name="T34" fmla="*/ 160 w 633"/>
                    <a:gd name="T35" fmla="*/ 28 h 480"/>
                    <a:gd name="T36" fmla="*/ 181 w 633"/>
                    <a:gd name="T37" fmla="*/ 0 h 480"/>
                    <a:gd name="T38" fmla="*/ 204 w 633"/>
                    <a:gd name="T39" fmla="*/ 12 h 480"/>
                    <a:gd name="T40" fmla="*/ 227 w 633"/>
                    <a:gd name="T41" fmla="*/ 5 h 480"/>
                    <a:gd name="T42" fmla="*/ 243 w 633"/>
                    <a:gd name="T43" fmla="*/ 7 h 480"/>
                    <a:gd name="T44" fmla="*/ 264 w 633"/>
                    <a:gd name="T45" fmla="*/ 14 h 480"/>
                    <a:gd name="T46" fmla="*/ 287 w 633"/>
                    <a:gd name="T47" fmla="*/ 24 h 480"/>
                    <a:gd name="T48" fmla="*/ 316 w 633"/>
                    <a:gd name="T49" fmla="*/ 46 h 480"/>
                    <a:gd name="T50" fmla="*/ 328 w 633"/>
                    <a:gd name="T51" fmla="*/ 53 h 480"/>
                    <a:gd name="T52" fmla="*/ 356 w 633"/>
                    <a:gd name="T53" fmla="*/ 72 h 480"/>
                    <a:gd name="T54" fmla="*/ 369 w 633"/>
                    <a:gd name="T55" fmla="*/ 97 h 480"/>
                    <a:gd name="T56" fmla="*/ 378 w 633"/>
                    <a:gd name="T57" fmla="*/ 115 h 480"/>
                    <a:gd name="T58" fmla="*/ 374 w 633"/>
                    <a:gd name="T59" fmla="*/ 141 h 480"/>
                    <a:gd name="T60" fmla="*/ 362 w 633"/>
                    <a:gd name="T61" fmla="*/ 166 h 480"/>
                    <a:gd name="T62" fmla="*/ 392 w 633"/>
                    <a:gd name="T63" fmla="*/ 164 h 480"/>
                    <a:gd name="T64" fmla="*/ 408 w 633"/>
                    <a:gd name="T65" fmla="*/ 171 h 480"/>
                    <a:gd name="T66" fmla="*/ 429 w 633"/>
                    <a:gd name="T67" fmla="*/ 214 h 480"/>
                    <a:gd name="T68" fmla="*/ 447 w 633"/>
                    <a:gd name="T69" fmla="*/ 242 h 480"/>
                    <a:gd name="T70" fmla="*/ 633 w 633"/>
                    <a:gd name="T71" fmla="*/ 288 h 480"/>
                    <a:gd name="T72" fmla="*/ 452 w 633"/>
                    <a:gd name="T73" fmla="*/ 416 h 480"/>
                    <a:gd name="T74" fmla="*/ 427 w 633"/>
                    <a:gd name="T75" fmla="*/ 428 h 480"/>
                    <a:gd name="T76" fmla="*/ 404 w 633"/>
                    <a:gd name="T77" fmla="*/ 446 h 480"/>
                    <a:gd name="T78" fmla="*/ 376 w 633"/>
                    <a:gd name="T79" fmla="*/ 460 h 480"/>
                    <a:gd name="T80" fmla="*/ 348 w 633"/>
                    <a:gd name="T81" fmla="*/ 464 h 480"/>
                    <a:gd name="T82" fmla="*/ 330 w 633"/>
                    <a:gd name="T83" fmla="*/ 448 h 480"/>
                    <a:gd name="T84" fmla="*/ 300 w 633"/>
                    <a:gd name="T85" fmla="*/ 453 h 480"/>
                    <a:gd name="T86" fmla="*/ 277 w 633"/>
                    <a:gd name="T87" fmla="*/ 478 h 480"/>
                    <a:gd name="T88" fmla="*/ 255 w 633"/>
                    <a:gd name="T89" fmla="*/ 476 h 480"/>
                    <a:gd name="T90" fmla="*/ 220 w 633"/>
                    <a:gd name="T91" fmla="*/ 474 h 480"/>
                    <a:gd name="T92" fmla="*/ 197 w 633"/>
                    <a:gd name="T93" fmla="*/ 457 h 480"/>
                    <a:gd name="T94" fmla="*/ 151 w 633"/>
                    <a:gd name="T95" fmla="*/ 437 h 480"/>
                    <a:gd name="T96" fmla="*/ 124 w 633"/>
                    <a:gd name="T97" fmla="*/ 435 h 480"/>
                    <a:gd name="T98" fmla="*/ 110 w 633"/>
                    <a:gd name="T99" fmla="*/ 402 h 480"/>
                    <a:gd name="T100" fmla="*/ 94 w 633"/>
                    <a:gd name="T101" fmla="*/ 400 h 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33" h="480">
                      <a:moveTo>
                        <a:pt x="94" y="400"/>
                      </a:moveTo>
                      <a:lnTo>
                        <a:pt x="92" y="384"/>
                      </a:lnTo>
                      <a:lnTo>
                        <a:pt x="87" y="380"/>
                      </a:lnTo>
                      <a:lnTo>
                        <a:pt x="85" y="365"/>
                      </a:lnTo>
                      <a:lnTo>
                        <a:pt x="78" y="357"/>
                      </a:lnTo>
                      <a:lnTo>
                        <a:pt x="75" y="350"/>
                      </a:lnTo>
                      <a:lnTo>
                        <a:pt x="71" y="345"/>
                      </a:lnTo>
                      <a:lnTo>
                        <a:pt x="62" y="345"/>
                      </a:lnTo>
                      <a:lnTo>
                        <a:pt x="59" y="341"/>
                      </a:lnTo>
                      <a:lnTo>
                        <a:pt x="61" y="338"/>
                      </a:lnTo>
                      <a:lnTo>
                        <a:pt x="52" y="334"/>
                      </a:lnTo>
                      <a:lnTo>
                        <a:pt x="45" y="320"/>
                      </a:lnTo>
                      <a:lnTo>
                        <a:pt x="41" y="318"/>
                      </a:lnTo>
                      <a:lnTo>
                        <a:pt x="39" y="313"/>
                      </a:lnTo>
                      <a:lnTo>
                        <a:pt x="32" y="304"/>
                      </a:lnTo>
                      <a:lnTo>
                        <a:pt x="29" y="301"/>
                      </a:lnTo>
                      <a:lnTo>
                        <a:pt x="11" y="301"/>
                      </a:lnTo>
                      <a:lnTo>
                        <a:pt x="4" y="297"/>
                      </a:lnTo>
                      <a:lnTo>
                        <a:pt x="0" y="292"/>
                      </a:lnTo>
                      <a:lnTo>
                        <a:pt x="7" y="283"/>
                      </a:lnTo>
                      <a:lnTo>
                        <a:pt x="11" y="281"/>
                      </a:lnTo>
                      <a:lnTo>
                        <a:pt x="13" y="272"/>
                      </a:lnTo>
                      <a:lnTo>
                        <a:pt x="22" y="274"/>
                      </a:lnTo>
                      <a:lnTo>
                        <a:pt x="29" y="272"/>
                      </a:lnTo>
                      <a:lnTo>
                        <a:pt x="34" y="274"/>
                      </a:lnTo>
                      <a:lnTo>
                        <a:pt x="37" y="276"/>
                      </a:lnTo>
                      <a:lnTo>
                        <a:pt x="41" y="271"/>
                      </a:lnTo>
                      <a:lnTo>
                        <a:pt x="46" y="267"/>
                      </a:lnTo>
                      <a:lnTo>
                        <a:pt x="48" y="248"/>
                      </a:lnTo>
                      <a:lnTo>
                        <a:pt x="46" y="232"/>
                      </a:lnTo>
                      <a:lnTo>
                        <a:pt x="50" y="219"/>
                      </a:lnTo>
                      <a:lnTo>
                        <a:pt x="57" y="209"/>
                      </a:lnTo>
                      <a:lnTo>
                        <a:pt x="57" y="200"/>
                      </a:lnTo>
                      <a:lnTo>
                        <a:pt x="53" y="196"/>
                      </a:lnTo>
                      <a:lnTo>
                        <a:pt x="57" y="187"/>
                      </a:lnTo>
                      <a:lnTo>
                        <a:pt x="66" y="177"/>
                      </a:lnTo>
                      <a:lnTo>
                        <a:pt x="68" y="171"/>
                      </a:lnTo>
                      <a:lnTo>
                        <a:pt x="71" y="170"/>
                      </a:lnTo>
                      <a:lnTo>
                        <a:pt x="75" y="171"/>
                      </a:lnTo>
                      <a:lnTo>
                        <a:pt x="84" y="141"/>
                      </a:lnTo>
                      <a:lnTo>
                        <a:pt x="89" y="127"/>
                      </a:lnTo>
                      <a:lnTo>
                        <a:pt x="100" y="120"/>
                      </a:lnTo>
                      <a:lnTo>
                        <a:pt x="100" y="113"/>
                      </a:lnTo>
                      <a:lnTo>
                        <a:pt x="110" y="97"/>
                      </a:lnTo>
                      <a:lnTo>
                        <a:pt x="112" y="90"/>
                      </a:lnTo>
                      <a:lnTo>
                        <a:pt x="119" y="88"/>
                      </a:lnTo>
                      <a:lnTo>
                        <a:pt x="123" y="88"/>
                      </a:lnTo>
                      <a:lnTo>
                        <a:pt x="128" y="74"/>
                      </a:lnTo>
                      <a:lnTo>
                        <a:pt x="138" y="56"/>
                      </a:lnTo>
                      <a:lnTo>
                        <a:pt x="138" y="42"/>
                      </a:lnTo>
                      <a:lnTo>
                        <a:pt x="144" y="30"/>
                      </a:lnTo>
                      <a:lnTo>
                        <a:pt x="146" y="26"/>
                      </a:lnTo>
                      <a:lnTo>
                        <a:pt x="151" y="28"/>
                      </a:lnTo>
                      <a:lnTo>
                        <a:pt x="160" y="28"/>
                      </a:lnTo>
                      <a:lnTo>
                        <a:pt x="163" y="24"/>
                      </a:lnTo>
                      <a:lnTo>
                        <a:pt x="169" y="23"/>
                      </a:lnTo>
                      <a:lnTo>
                        <a:pt x="181" y="0"/>
                      </a:lnTo>
                      <a:lnTo>
                        <a:pt x="185" y="3"/>
                      </a:lnTo>
                      <a:lnTo>
                        <a:pt x="188" y="7"/>
                      </a:lnTo>
                      <a:lnTo>
                        <a:pt x="204" y="12"/>
                      </a:lnTo>
                      <a:lnTo>
                        <a:pt x="211" y="12"/>
                      </a:lnTo>
                      <a:lnTo>
                        <a:pt x="218" y="7"/>
                      </a:lnTo>
                      <a:lnTo>
                        <a:pt x="227" y="5"/>
                      </a:lnTo>
                      <a:lnTo>
                        <a:pt x="232" y="10"/>
                      </a:lnTo>
                      <a:lnTo>
                        <a:pt x="236" y="7"/>
                      </a:lnTo>
                      <a:lnTo>
                        <a:pt x="243" y="7"/>
                      </a:lnTo>
                      <a:lnTo>
                        <a:pt x="255" y="17"/>
                      </a:lnTo>
                      <a:lnTo>
                        <a:pt x="257" y="16"/>
                      </a:lnTo>
                      <a:lnTo>
                        <a:pt x="264" y="14"/>
                      </a:lnTo>
                      <a:lnTo>
                        <a:pt x="273" y="16"/>
                      </a:lnTo>
                      <a:lnTo>
                        <a:pt x="280" y="23"/>
                      </a:lnTo>
                      <a:lnTo>
                        <a:pt x="287" y="24"/>
                      </a:lnTo>
                      <a:lnTo>
                        <a:pt x="301" y="37"/>
                      </a:lnTo>
                      <a:lnTo>
                        <a:pt x="305" y="44"/>
                      </a:lnTo>
                      <a:lnTo>
                        <a:pt x="316" y="46"/>
                      </a:lnTo>
                      <a:lnTo>
                        <a:pt x="317" y="47"/>
                      </a:lnTo>
                      <a:lnTo>
                        <a:pt x="324" y="49"/>
                      </a:lnTo>
                      <a:lnTo>
                        <a:pt x="328" y="53"/>
                      </a:lnTo>
                      <a:lnTo>
                        <a:pt x="339" y="60"/>
                      </a:lnTo>
                      <a:lnTo>
                        <a:pt x="349" y="70"/>
                      </a:lnTo>
                      <a:lnTo>
                        <a:pt x="356" y="72"/>
                      </a:lnTo>
                      <a:lnTo>
                        <a:pt x="365" y="83"/>
                      </a:lnTo>
                      <a:lnTo>
                        <a:pt x="367" y="92"/>
                      </a:lnTo>
                      <a:lnTo>
                        <a:pt x="369" y="97"/>
                      </a:lnTo>
                      <a:lnTo>
                        <a:pt x="374" y="97"/>
                      </a:lnTo>
                      <a:lnTo>
                        <a:pt x="386" y="111"/>
                      </a:lnTo>
                      <a:lnTo>
                        <a:pt x="378" y="115"/>
                      </a:lnTo>
                      <a:lnTo>
                        <a:pt x="376" y="124"/>
                      </a:lnTo>
                      <a:lnTo>
                        <a:pt x="372" y="131"/>
                      </a:lnTo>
                      <a:lnTo>
                        <a:pt x="374" y="141"/>
                      </a:lnTo>
                      <a:lnTo>
                        <a:pt x="369" y="150"/>
                      </a:lnTo>
                      <a:lnTo>
                        <a:pt x="369" y="157"/>
                      </a:lnTo>
                      <a:lnTo>
                        <a:pt x="362" y="166"/>
                      </a:lnTo>
                      <a:lnTo>
                        <a:pt x="367" y="171"/>
                      </a:lnTo>
                      <a:lnTo>
                        <a:pt x="381" y="171"/>
                      </a:lnTo>
                      <a:lnTo>
                        <a:pt x="392" y="164"/>
                      </a:lnTo>
                      <a:lnTo>
                        <a:pt x="402" y="163"/>
                      </a:lnTo>
                      <a:lnTo>
                        <a:pt x="410" y="166"/>
                      </a:lnTo>
                      <a:lnTo>
                        <a:pt x="408" y="171"/>
                      </a:lnTo>
                      <a:lnTo>
                        <a:pt x="410" y="187"/>
                      </a:lnTo>
                      <a:lnTo>
                        <a:pt x="417" y="209"/>
                      </a:lnTo>
                      <a:lnTo>
                        <a:pt x="429" y="214"/>
                      </a:lnTo>
                      <a:lnTo>
                        <a:pt x="427" y="226"/>
                      </a:lnTo>
                      <a:lnTo>
                        <a:pt x="433" y="239"/>
                      </a:lnTo>
                      <a:lnTo>
                        <a:pt x="447" y="242"/>
                      </a:lnTo>
                      <a:lnTo>
                        <a:pt x="457" y="251"/>
                      </a:lnTo>
                      <a:lnTo>
                        <a:pt x="580" y="288"/>
                      </a:lnTo>
                      <a:lnTo>
                        <a:pt x="633" y="288"/>
                      </a:lnTo>
                      <a:lnTo>
                        <a:pt x="503" y="416"/>
                      </a:lnTo>
                      <a:lnTo>
                        <a:pt x="479" y="416"/>
                      </a:lnTo>
                      <a:lnTo>
                        <a:pt x="452" y="416"/>
                      </a:lnTo>
                      <a:lnTo>
                        <a:pt x="445" y="421"/>
                      </a:lnTo>
                      <a:lnTo>
                        <a:pt x="438" y="421"/>
                      </a:lnTo>
                      <a:lnTo>
                        <a:pt x="427" y="428"/>
                      </a:lnTo>
                      <a:lnTo>
                        <a:pt x="424" y="435"/>
                      </a:lnTo>
                      <a:lnTo>
                        <a:pt x="415" y="441"/>
                      </a:lnTo>
                      <a:lnTo>
                        <a:pt x="404" y="446"/>
                      </a:lnTo>
                      <a:lnTo>
                        <a:pt x="392" y="448"/>
                      </a:lnTo>
                      <a:lnTo>
                        <a:pt x="379" y="455"/>
                      </a:lnTo>
                      <a:lnTo>
                        <a:pt x="376" y="460"/>
                      </a:lnTo>
                      <a:lnTo>
                        <a:pt x="374" y="462"/>
                      </a:lnTo>
                      <a:lnTo>
                        <a:pt x="363" y="460"/>
                      </a:lnTo>
                      <a:lnTo>
                        <a:pt x="348" y="464"/>
                      </a:lnTo>
                      <a:lnTo>
                        <a:pt x="340" y="460"/>
                      </a:lnTo>
                      <a:lnTo>
                        <a:pt x="337" y="451"/>
                      </a:lnTo>
                      <a:lnTo>
                        <a:pt x="330" y="448"/>
                      </a:lnTo>
                      <a:lnTo>
                        <a:pt x="310" y="450"/>
                      </a:lnTo>
                      <a:lnTo>
                        <a:pt x="307" y="453"/>
                      </a:lnTo>
                      <a:lnTo>
                        <a:pt x="300" y="453"/>
                      </a:lnTo>
                      <a:lnTo>
                        <a:pt x="291" y="457"/>
                      </a:lnTo>
                      <a:lnTo>
                        <a:pt x="287" y="462"/>
                      </a:lnTo>
                      <a:lnTo>
                        <a:pt x="277" y="478"/>
                      </a:lnTo>
                      <a:lnTo>
                        <a:pt x="268" y="480"/>
                      </a:lnTo>
                      <a:lnTo>
                        <a:pt x="262" y="480"/>
                      </a:lnTo>
                      <a:lnTo>
                        <a:pt x="255" y="476"/>
                      </a:lnTo>
                      <a:lnTo>
                        <a:pt x="243" y="478"/>
                      </a:lnTo>
                      <a:lnTo>
                        <a:pt x="234" y="474"/>
                      </a:lnTo>
                      <a:lnTo>
                        <a:pt x="220" y="474"/>
                      </a:lnTo>
                      <a:lnTo>
                        <a:pt x="213" y="473"/>
                      </a:lnTo>
                      <a:lnTo>
                        <a:pt x="206" y="464"/>
                      </a:lnTo>
                      <a:lnTo>
                        <a:pt x="197" y="457"/>
                      </a:lnTo>
                      <a:lnTo>
                        <a:pt x="179" y="441"/>
                      </a:lnTo>
                      <a:lnTo>
                        <a:pt x="172" y="435"/>
                      </a:lnTo>
                      <a:lnTo>
                        <a:pt x="151" y="437"/>
                      </a:lnTo>
                      <a:lnTo>
                        <a:pt x="140" y="434"/>
                      </a:lnTo>
                      <a:lnTo>
                        <a:pt x="131" y="437"/>
                      </a:lnTo>
                      <a:lnTo>
                        <a:pt x="124" y="435"/>
                      </a:lnTo>
                      <a:lnTo>
                        <a:pt x="117" y="428"/>
                      </a:lnTo>
                      <a:lnTo>
                        <a:pt x="117" y="403"/>
                      </a:lnTo>
                      <a:lnTo>
                        <a:pt x="110" y="402"/>
                      </a:lnTo>
                      <a:lnTo>
                        <a:pt x="101" y="403"/>
                      </a:lnTo>
                      <a:lnTo>
                        <a:pt x="98" y="396"/>
                      </a:lnTo>
                      <a:lnTo>
                        <a:pt x="94" y="40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4" name="Freeform 8">
                  <a:extLst>
                    <a:ext uri="{FF2B5EF4-FFF2-40B4-BE49-F238E27FC236}">
                      <a16:creationId xmlns:a16="http://schemas.microsoft.com/office/drawing/2014/main" id="{868A8554-50C7-14A3-CD44-FC3BA3FA81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6498" y="2743194"/>
                  <a:ext cx="438151" cy="390524"/>
                </a:xfrm>
                <a:custGeom>
                  <a:avLst/>
                  <a:gdLst>
                    <a:gd name="T0" fmla="*/ 237 w 276"/>
                    <a:gd name="T1" fmla="*/ 232 h 246"/>
                    <a:gd name="T2" fmla="*/ 230 w 276"/>
                    <a:gd name="T3" fmla="*/ 227 h 246"/>
                    <a:gd name="T4" fmla="*/ 219 w 276"/>
                    <a:gd name="T5" fmla="*/ 207 h 246"/>
                    <a:gd name="T6" fmla="*/ 202 w 276"/>
                    <a:gd name="T7" fmla="*/ 195 h 246"/>
                    <a:gd name="T8" fmla="*/ 187 w 276"/>
                    <a:gd name="T9" fmla="*/ 184 h 246"/>
                    <a:gd name="T10" fmla="*/ 179 w 276"/>
                    <a:gd name="T11" fmla="*/ 181 h 246"/>
                    <a:gd name="T12" fmla="*/ 164 w 276"/>
                    <a:gd name="T13" fmla="*/ 172 h 246"/>
                    <a:gd name="T14" fmla="*/ 143 w 276"/>
                    <a:gd name="T15" fmla="*/ 158 h 246"/>
                    <a:gd name="T16" fmla="*/ 127 w 276"/>
                    <a:gd name="T17" fmla="*/ 149 h 246"/>
                    <a:gd name="T18" fmla="*/ 118 w 276"/>
                    <a:gd name="T19" fmla="*/ 152 h 246"/>
                    <a:gd name="T20" fmla="*/ 99 w 276"/>
                    <a:gd name="T21" fmla="*/ 142 h 246"/>
                    <a:gd name="T22" fmla="*/ 90 w 276"/>
                    <a:gd name="T23" fmla="*/ 140 h 246"/>
                    <a:gd name="T24" fmla="*/ 74 w 276"/>
                    <a:gd name="T25" fmla="*/ 147 h 246"/>
                    <a:gd name="T26" fmla="*/ 51 w 276"/>
                    <a:gd name="T27" fmla="*/ 142 h 246"/>
                    <a:gd name="T28" fmla="*/ 44 w 276"/>
                    <a:gd name="T29" fmla="*/ 135 h 246"/>
                    <a:gd name="T30" fmla="*/ 26 w 276"/>
                    <a:gd name="T31" fmla="*/ 159 h 246"/>
                    <a:gd name="T32" fmla="*/ 14 w 276"/>
                    <a:gd name="T33" fmla="*/ 163 h 246"/>
                    <a:gd name="T34" fmla="*/ 5 w 276"/>
                    <a:gd name="T35" fmla="*/ 152 h 246"/>
                    <a:gd name="T36" fmla="*/ 0 w 276"/>
                    <a:gd name="T37" fmla="*/ 124 h 246"/>
                    <a:gd name="T38" fmla="*/ 5 w 276"/>
                    <a:gd name="T39" fmla="*/ 113 h 246"/>
                    <a:gd name="T40" fmla="*/ 16 w 276"/>
                    <a:gd name="T41" fmla="*/ 81 h 246"/>
                    <a:gd name="T42" fmla="*/ 23 w 276"/>
                    <a:gd name="T43" fmla="*/ 66 h 246"/>
                    <a:gd name="T44" fmla="*/ 17 w 276"/>
                    <a:gd name="T45" fmla="*/ 58 h 246"/>
                    <a:gd name="T46" fmla="*/ 21 w 276"/>
                    <a:gd name="T47" fmla="*/ 41 h 246"/>
                    <a:gd name="T48" fmla="*/ 37 w 276"/>
                    <a:gd name="T49" fmla="*/ 37 h 246"/>
                    <a:gd name="T50" fmla="*/ 35 w 276"/>
                    <a:gd name="T51" fmla="*/ 28 h 246"/>
                    <a:gd name="T52" fmla="*/ 44 w 276"/>
                    <a:gd name="T53" fmla="*/ 23 h 246"/>
                    <a:gd name="T54" fmla="*/ 58 w 276"/>
                    <a:gd name="T55" fmla="*/ 19 h 246"/>
                    <a:gd name="T56" fmla="*/ 69 w 276"/>
                    <a:gd name="T57" fmla="*/ 12 h 246"/>
                    <a:gd name="T58" fmla="*/ 81 w 276"/>
                    <a:gd name="T59" fmla="*/ 0 h 246"/>
                    <a:gd name="T60" fmla="*/ 92 w 276"/>
                    <a:gd name="T61" fmla="*/ 11 h 246"/>
                    <a:gd name="T62" fmla="*/ 115 w 276"/>
                    <a:gd name="T63" fmla="*/ 87 h 246"/>
                    <a:gd name="T64" fmla="*/ 120 w 276"/>
                    <a:gd name="T65" fmla="*/ 97 h 246"/>
                    <a:gd name="T66" fmla="*/ 125 w 276"/>
                    <a:gd name="T67" fmla="*/ 104 h 246"/>
                    <a:gd name="T68" fmla="*/ 131 w 276"/>
                    <a:gd name="T69" fmla="*/ 126 h 246"/>
                    <a:gd name="T70" fmla="*/ 138 w 276"/>
                    <a:gd name="T71" fmla="*/ 115 h 246"/>
                    <a:gd name="T72" fmla="*/ 136 w 276"/>
                    <a:gd name="T73" fmla="*/ 108 h 246"/>
                    <a:gd name="T74" fmla="*/ 147 w 276"/>
                    <a:gd name="T75" fmla="*/ 117 h 246"/>
                    <a:gd name="T76" fmla="*/ 150 w 276"/>
                    <a:gd name="T77" fmla="*/ 131 h 246"/>
                    <a:gd name="T78" fmla="*/ 159 w 276"/>
                    <a:gd name="T79" fmla="*/ 133 h 246"/>
                    <a:gd name="T80" fmla="*/ 168 w 276"/>
                    <a:gd name="T81" fmla="*/ 133 h 246"/>
                    <a:gd name="T82" fmla="*/ 180 w 276"/>
                    <a:gd name="T83" fmla="*/ 140 h 246"/>
                    <a:gd name="T84" fmla="*/ 196 w 276"/>
                    <a:gd name="T85" fmla="*/ 147 h 246"/>
                    <a:gd name="T86" fmla="*/ 214 w 276"/>
                    <a:gd name="T87" fmla="*/ 168 h 246"/>
                    <a:gd name="T88" fmla="*/ 228 w 276"/>
                    <a:gd name="T89" fmla="*/ 181 h 246"/>
                    <a:gd name="T90" fmla="*/ 237 w 276"/>
                    <a:gd name="T91" fmla="*/ 190 h 246"/>
                    <a:gd name="T92" fmla="*/ 241 w 276"/>
                    <a:gd name="T93" fmla="*/ 190 h 246"/>
                    <a:gd name="T94" fmla="*/ 253 w 276"/>
                    <a:gd name="T95" fmla="*/ 209 h 246"/>
                    <a:gd name="T96" fmla="*/ 257 w 276"/>
                    <a:gd name="T97" fmla="*/ 220 h 246"/>
                    <a:gd name="T98" fmla="*/ 265 w 276"/>
                    <a:gd name="T99" fmla="*/ 227 h 246"/>
                    <a:gd name="T100" fmla="*/ 273 w 276"/>
                    <a:gd name="T101" fmla="*/ 227 h 246"/>
                    <a:gd name="T102" fmla="*/ 276 w 276"/>
                    <a:gd name="T103" fmla="*/ 230 h 246"/>
                    <a:gd name="T104" fmla="*/ 262 w 276"/>
                    <a:gd name="T105" fmla="*/ 241 h 246"/>
                    <a:gd name="T106" fmla="*/ 249 w 276"/>
                    <a:gd name="T107" fmla="*/ 246 h 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76" h="246">
                      <a:moveTo>
                        <a:pt x="249" y="246"/>
                      </a:moveTo>
                      <a:lnTo>
                        <a:pt x="237" y="232"/>
                      </a:lnTo>
                      <a:lnTo>
                        <a:pt x="232" y="232"/>
                      </a:lnTo>
                      <a:lnTo>
                        <a:pt x="230" y="227"/>
                      </a:lnTo>
                      <a:lnTo>
                        <a:pt x="228" y="218"/>
                      </a:lnTo>
                      <a:lnTo>
                        <a:pt x="219" y="207"/>
                      </a:lnTo>
                      <a:lnTo>
                        <a:pt x="212" y="205"/>
                      </a:lnTo>
                      <a:lnTo>
                        <a:pt x="202" y="195"/>
                      </a:lnTo>
                      <a:lnTo>
                        <a:pt x="191" y="188"/>
                      </a:lnTo>
                      <a:lnTo>
                        <a:pt x="187" y="184"/>
                      </a:lnTo>
                      <a:lnTo>
                        <a:pt x="180" y="182"/>
                      </a:lnTo>
                      <a:lnTo>
                        <a:pt x="179" y="181"/>
                      </a:lnTo>
                      <a:lnTo>
                        <a:pt x="168" y="179"/>
                      </a:lnTo>
                      <a:lnTo>
                        <a:pt x="164" y="172"/>
                      </a:lnTo>
                      <a:lnTo>
                        <a:pt x="150" y="159"/>
                      </a:lnTo>
                      <a:lnTo>
                        <a:pt x="143" y="158"/>
                      </a:lnTo>
                      <a:lnTo>
                        <a:pt x="136" y="151"/>
                      </a:lnTo>
                      <a:lnTo>
                        <a:pt x="127" y="149"/>
                      </a:lnTo>
                      <a:lnTo>
                        <a:pt x="120" y="151"/>
                      </a:lnTo>
                      <a:lnTo>
                        <a:pt x="118" y="152"/>
                      </a:lnTo>
                      <a:lnTo>
                        <a:pt x="106" y="142"/>
                      </a:lnTo>
                      <a:lnTo>
                        <a:pt x="99" y="142"/>
                      </a:lnTo>
                      <a:lnTo>
                        <a:pt x="95" y="145"/>
                      </a:lnTo>
                      <a:lnTo>
                        <a:pt x="90" y="140"/>
                      </a:lnTo>
                      <a:lnTo>
                        <a:pt x="81" y="142"/>
                      </a:lnTo>
                      <a:lnTo>
                        <a:pt x="74" y="147"/>
                      </a:lnTo>
                      <a:lnTo>
                        <a:pt x="67" y="147"/>
                      </a:lnTo>
                      <a:lnTo>
                        <a:pt x="51" y="142"/>
                      </a:lnTo>
                      <a:lnTo>
                        <a:pt x="48" y="138"/>
                      </a:lnTo>
                      <a:lnTo>
                        <a:pt x="44" y="135"/>
                      </a:lnTo>
                      <a:lnTo>
                        <a:pt x="32" y="158"/>
                      </a:lnTo>
                      <a:lnTo>
                        <a:pt x="26" y="159"/>
                      </a:lnTo>
                      <a:lnTo>
                        <a:pt x="23" y="163"/>
                      </a:lnTo>
                      <a:lnTo>
                        <a:pt x="14" y="163"/>
                      </a:lnTo>
                      <a:lnTo>
                        <a:pt x="7" y="159"/>
                      </a:lnTo>
                      <a:lnTo>
                        <a:pt x="5" y="152"/>
                      </a:lnTo>
                      <a:lnTo>
                        <a:pt x="0" y="135"/>
                      </a:lnTo>
                      <a:lnTo>
                        <a:pt x="0" y="124"/>
                      </a:lnTo>
                      <a:lnTo>
                        <a:pt x="5" y="119"/>
                      </a:lnTo>
                      <a:lnTo>
                        <a:pt x="5" y="113"/>
                      </a:lnTo>
                      <a:lnTo>
                        <a:pt x="12" y="103"/>
                      </a:lnTo>
                      <a:lnTo>
                        <a:pt x="16" y="81"/>
                      </a:lnTo>
                      <a:lnTo>
                        <a:pt x="19" y="69"/>
                      </a:lnTo>
                      <a:lnTo>
                        <a:pt x="23" y="66"/>
                      </a:lnTo>
                      <a:lnTo>
                        <a:pt x="21" y="62"/>
                      </a:lnTo>
                      <a:lnTo>
                        <a:pt x="17" y="58"/>
                      </a:lnTo>
                      <a:lnTo>
                        <a:pt x="21" y="50"/>
                      </a:lnTo>
                      <a:lnTo>
                        <a:pt x="21" y="41"/>
                      </a:lnTo>
                      <a:lnTo>
                        <a:pt x="26" y="37"/>
                      </a:lnTo>
                      <a:lnTo>
                        <a:pt x="37" y="37"/>
                      </a:lnTo>
                      <a:lnTo>
                        <a:pt x="37" y="34"/>
                      </a:lnTo>
                      <a:lnTo>
                        <a:pt x="35" y="28"/>
                      </a:lnTo>
                      <a:lnTo>
                        <a:pt x="37" y="25"/>
                      </a:lnTo>
                      <a:lnTo>
                        <a:pt x="44" y="23"/>
                      </a:lnTo>
                      <a:lnTo>
                        <a:pt x="49" y="19"/>
                      </a:lnTo>
                      <a:lnTo>
                        <a:pt x="58" y="19"/>
                      </a:lnTo>
                      <a:lnTo>
                        <a:pt x="62" y="14"/>
                      </a:lnTo>
                      <a:lnTo>
                        <a:pt x="69" y="12"/>
                      </a:lnTo>
                      <a:lnTo>
                        <a:pt x="76" y="9"/>
                      </a:lnTo>
                      <a:lnTo>
                        <a:pt x="81" y="0"/>
                      </a:lnTo>
                      <a:lnTo>
                        <a:pt x="81" y="0"/>
                      </a:lnTo>
                      <a:lnTo>
                        <a:pt x="92" y="11"/>
                      </a:lnTo>
                      <a:lnTo>
                        <a:pt x="108" y="57"/>
                      </a:lnTo>
                      <a:lnTo>
                        <a:pt x="115" y="87"/>
                      </a:lnTo>
                      <a:lnTo>
                        <a:pt x="117" y="87"/>
                      </a:lnTo>
                      <a:lnTo>
                        <a:pt x="120" y="97"/>
                      </a:lnTo>
                      <a:lnTo>
                        <a:pt x="120" y="103"/>
                      </a:lnTo>
                      <a:lnTo>
                        <a:pt x="125" y="104"/>
                      </a:lnTo>
                      <a:lnTo>
                        <a:pt x="129" y="113"/>
                      </a:lnTo>
                      <a:lnTo>
                        <a:pt x="131" y="126"/>
                      </a:lnTo>
                      <a:lnTo>
                        <a:pt x="138" y="128"/>
                      </a:lnTo>
                      <a:lnTo>
                        <a:pt x="138" y="115"/>
                      </a:lnTo>
                      <a:lnTo>
                        <a:pt x="136" y="115"/>
                      </a:lnTo>
                      <a:lnTo>
                        <a:pt x="136" y="108"/>
                      </a:lnTo>
                      <a:lnTo>
                        <a:pt x="140" y="106"/>
                      </a:lnTo>
                      <a:lnTo>
                        <a:pt x="147" y="117"/>
                      </a:lnTo>
                      <a:lnTo>
                        <a:pt x="143" y="120"/>
                      </a:lnTo>
                      <a:lnTo>
                        <a:pt x="150" y="131"/>
                      </a:lnTo>
                      <a:lnTo>
                        <a:pt x="156" y="135"/>
                      </a:lnTo>
                      <a:lnTo>
                        <a:pt x="159" y="133"/>
                      </a:lnTo>
                      <a:lnTo>
                        <a:pt x="166" y="131"/>
                      </a:lnTo>
                      <a:lnTo>
                        <a:pt x="168" y="133"/>
                      </a:lnTo>
                      <a:lnTo>
                        <a:pt x="173" y="131"/>
                      </a:lnTo>
                      <a:lnTo>
                        <a:pt x="180" y="140"/>
                      </a:lnTo>
                      <a:lnTo>
                        <a:pt x="186" y="145"/>
                      </a:lnTo>
                      <a:lnTo>
                        <a:pt x="196" y="147"/>
                      </a:lnTo>
                      <a:lnTo>
                        <a:pt x="200" y="152"/>
                      </a:lnTo>
                      <a:lnTo>
                        <a:pt x="214" y="168"/>
                      </a:lnTo>
                      <a:lnTo>
                        <a:pt x="219" y="177"/>
                      </a:lnTo>
                      <a:lnTo>
                        <a:pt x="228" y="181"/>
                      </a:lnTo>
                      <a:lnTo>
                        <a:pt x="234" y="190"/>
                      </a:lnTo>
                      <a:lnTo>
                        <a:pt x="237" y="190"/>
                      </a:lnTo>
                      <a:lnTo>
                        <a:pt x="237" y="186"/>
                      </a:lnTo>
                      <a:lnTo>
                        <a:pt x="241" y="190"/>
                      </a:lnTo>
                      <a:lnTo>
                        <a:pt x="248" y="207"/>
                      </a:lnTo>
                      <a:lnTo>
                        <a:pt x="253" y="209"/>
                      </a:lnTo>
                      <a:lnTo>
                        <a:pt x="258" y="216"/>
                      </a:lnTo>
                      <a:lnTo>
                        <a:pt x="257" y="220"/>
                      </a:lnTo>
                      <a:lnTo>
                        <a:pt x="260" y="227"/>
                      </a:lnTo>
                      <a:lnTo>
                        <a:pt x="265" y="227"/>
                      </a:lnTo>
                      <a:lnTo>
                        <a:pt x="269" y="228"/>
                      </a:lnTo>
                      <a:lnTo>
                        <a:pt x="273" y="227"/>
                      </a:lnTo>
                      <a:lnTo>
                        <a:pt x="274" y="228"/>
                      </a:lnTo>
                      <a:lnTo>
                        <a:pt x="276" y="230"/>
                      </a:lnTo>
                      <a:lnTo>
                        <a:pt x="269" y="237"/>
                      </a:lnTo>
                      <a:lnTo>
                        <a:pt x="262" y="241"/>
                      </a:lnTo>
                      <a:lnTo>
                        <a:pt x="258" y="244"/>
                      </a:lnTo>
                      <a:lnTo>
                        <a:pt x="249" y="24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5" name="Freeform 9">
                  <a:extLst>
                    <a:ext uri="{FF2B5EF4-FFF2-40B4-BE49-F238E27FC236}">
                      <a16:creationId xmlns:a16="http://schemas.microsoft.com/office/drawing/2014/main" id="{2D980071-2331-E409-152F-801BE8F3F4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13685" y="3108318"/>
                  <a:ext cx="100013" cy="120649"/>
                </a:xfrm>
                <a:custGeom>
                  <a:avLst/>
                  <a:gdLst>
                    <a:gd name="T0" fmla="*/ 48 w 63"/>
                    <a:gd name="T1" fmla="*/ 71 h 76"/>
                    <a:gd name="T2" fmla="*/ 40 w 63"/>
                    <a:gd name="T3" fmla="*/ 68 h 76"/>
                    <a:gd name="T4" fmla="*/ 30 w 63"/>
                    <a:gd name="T5" fmla="*/ 69 h 76"/>
                    <a:gd name="T6" fmla="*/ 19 w 63"/>
                    <a:gd name="T7" fmla="*/ 76 h 76"/>
                    <a:gd name="T8" fmla="*/ 5 w 63"/>
                    <a:gd name="T9" fmla="*/ 76 h 76"/>
                    <a:gd name="T10" fmla="*/ 0 w 63"/>
                    <a:gd name="T11" fmla="*/ 71 h 76"/>
                    <a:gd name="T12" fmla="*/ 7 w 63"/>
                    <a:gd name="T13" fmla="*/ 62 h 76"/>
                    <a:gd name="T14" fmla="*/ 7 w 63"/>
                    <a:gd name="T15" fmla="*/ 55 h 76"/>
                    <a:gd name="T16" fmla="*/ 12 w 63"/>
                    <a:gd name="T17" fmla="*/ 46 h 76"/>
                    <a:gd name="T18" fmla="*/ 10 w 63"/>
                    <a:gd name="T19" fmla="*/ 36 h 76"/>
                    <a:gd name="T20" fmla="*/ 14 w 63"/>
                    <a:gd name="T21" fmla="*/ 29 h 76"/>
                    <a:gd name="T22" fmla="*/ 16 w 63"/>
                    <a:gd name="T23" fmla="*/ 20 h 76"/>
                    <a:gd name="T24" fmla="*/ 33 w 63"/>
                    <a:gd name="T25" fmla="*/ 14 h 76"/>
                    <a:gd name="T26" fmla="*/ 37 w 63"/>
                    <a:gd name="T27" fmla="*/ 11 h 76"/>
                    <a:gd name="T28" fmla="*/ 44 w 63"/>
                    <a:gd name="T29" fmla="*/ 7 h 76"/>
                    <a:gd name="T30" fmla="*/ 51 w 63"/>
                    <a:gd name="T31" fmla="*/ 0 h 76"/>
                    <a:gd name="T32" fmla="*/ 51 w 63"/>
                    <a:gd name="T33" fmla="*/ 0 h 76"/>
                    <a:gd name="T34" fmla="*/ 51 w 63"/>
                    <a:gd name="T35" fmla="*/ 4 h 76"/>
                    <a:gd name="T36" fmla="*/ 60 w 63"/>
                    <a:gd name="T37" fmla="*/ 13 h 76"/>
                    <a:gd name="T38" fmla="*/ 63 w 63"/>
                    <a:gd name="T39" fmla="*/ 13 h 76"/>
                    <a:gd name="T40" fmla="*/ 62 w 63"/>
                    <a:gd name="T41" fmla="*/ 16 h 76"/>
                    <a:gd name="T42" fmla="*/ 63 w 63"/>
                    <a:gd name="T43" fmla="*/ 29 h 76"/>
                    <a:gd name="T44" fmla="*/ 60 w 63"/>
                    <a:gd name="T45" fmla="*/ 30 h 76"/>
                    <a:gd name="T46" fmla="*/ 51 w 63"/>
                    <a:gd name="T47" fmla="*/ 39 h 76"/>
                    <a:gd name="T48" fmla="*/ 46 w 63"/>
                    <a:gd name="T49" fmla="*/ 39 h 76"/>
                    <a:gd name="T50" fmla="*/ 42 w 63"/>
                    <a:gd name="T51" fmla="*/ 46 h 76"/>
                    <a:gd name="T52" fmla="*/ 33 w 63"/>
                    <a:gd name="T53" fmla="*/ 46 h 76"/>
                    <a:gd name="T54" fmla="*/ 37 w 63"/>
                    <a:gd name="T55" fmla="*/ 52 h 76"/>
                    <a:gd name="T56" fmla="*/ 40 w 63"/>
                    <a:gd name="T57" fmla="*/ 52 h 76"/>
                    <a:gd name="T58" fmla="*/ 46 w 63"/>
                    <a:gd name="T59" fmla="*/ 50 h 76"/>
                    <a:gd name="T60" fmla="*/ 56 w 63"/>
                    <a:gd name="T61" fmla="*/ 50 h 76"/>
                    <a:gd name="T62" fmla="*/ 58 w 63"/>
                    <a:gd name="T63" fmla="*/ 52 h 76"/>
                    <a:gd name="T64" fmla="*/ 49 w 63"/>
                    <a:gd name="T65" fmla="*/ 69 h 76"/>
                    <a:gd name="T66" fmla="*/ 48 w 63"/>
                    <a:gd name="T67" fmla="*/ 71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63" h="76">
                      <a:moveTo>
                        <a:pt x="48" y="71"/>
                      </a:moveTo>
                      <a:lnTo>
                        <a:pt x="40" y="68"/>
                      </a:lnTo>
                      <a:lnTo>
                        <a:pt x="30" y="69"/>
                      </a:lnTo>
                      <a:lnTo>
                        <a:pt x="19" y="76"/>
                      </a:lnTo>
                      <a:lnTo>
                        <a:pt x="5" y="76"/>
                      </a:lnTo>
                      <a:lnTo>
                        <a:pt x="0" y="71"/>
                      </a:lnTo>
                      <a:lnTo>
                        <a:pt x="7" y="62"/>
                      </a:lnTo>
                      <a:lnTo>
                        <a:pt x="7" y="55"/>
                      </a:lnTo>
                      <a:lnTo>
                        <a:pt x="12" y="46"/>
                      </a:lnTo>
                      <a:lnTo>
                        <a:pt x="10" y="36"/>
                      </a:lnTo>
                      <a:lnTo>
                        <a:pt x="14" y="29"/>
                      </a:lnTo>
                      <a:lnTo>
                        <a:pt x="16" y="20"/>
                      </a:lnTo>
                      <a:lnTo>
                        <a:pt x="33" y="14"/>
                      </a:lnTo>
                      <a:lnTo>
                        <a:pt x="37" y="11"/>
                      </a:lnTo>
                      <a:lnTo>
                        <a:pt x="44" y="7"/>
                      </a:lnTo>
                      <a:lnTo>
                        <a:pt x="51" y="0"/>
                      </a:lnTo>
                      <a:lnTo>
                        <a:pt x="51" y="0"/>
                      </a:lnTo>
                      <a:lnTo>
                        <a:pt x="51" y="4"/>
                      </a:lnTo>
                      <a:lnTo>
                        <a:pt x="60" y="13"/>
                      </a:lnTo>
                      <a:lnTo>
                        <a:pt x="63" y="13"/>
                      </a:lnTo>
                      <a:lnTo>
                        <a:pt x="62" y="16"/>
                      </a:lnTo>
                      <a:lnTo>
                        <a:pt x="63" y="29"/>
                      </a:lnTo>
                      <a:lnTo>
                        <a:pt x="60" y="30"/>
                      </a:lnTo>
                      <a:lnTo>
                        <a:pt x="51" y="39"/>
                      </a:lnTo>
                      <a:lnTo>
                        <a:pt x="46" y="39"/>
                      </a:lnTo>
                      <a:lnTo>
                        <a:pt x="42" y="46"/>
                      </a:lnTo>
                      <a:lnTo>
                        <a:pt x="33" y="46"/>
                      </a:lnTo>
                      <a:lnTo>
                        <a:pt x="37" y="52"/>
                      </a:lnTo>
                      <a:lnTo>
                        <a:pt x="40" y="52"/>
                      </a:lnTo>
                      <a:lnTo>
                        <a:pt x="46" y="50"/>
                      </a:lnTo>
                      <a:lnTo>
                        <a:pt x="56" y="50"/>
                      </a:lnTo>
                      <a:lnTo>
                        <a:pt x="58" y="52"/>
                      </a:lnTo>
                      <a:lnTo>
                        <a:pt x="49" y="69"/>
                      </a:lnTo>
                      <a:lnTo>
                        <a:pt x="48" y="71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6" name="Freeform 10">
                  <a:extLst>
                    <a:ext uri="{FF2B5EF4-FFF2-40B4-BE49-F238E27FC236}">
                      <a16:creationId xmlns:a16="http://schemas.microsoft.com/office/drawing/2014/main" id="{7753C075-CAC3-8EE2-5358-82740ACA30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70823" y="3155943"/>
                  <a:ext cx="674689" cy="895347"/>
                </a:xfrm>
                <a:custGeom>
                  <a:avLst/>
                  <a:gdLst>
                    <a:gd name="T0" fmla="*/ 44 w 425"/>
                    <a:gd name="T1" fmla="*/ 330 h 564"/>
                    <a:gd name="T2" fmla="*/ 80 w 425"/>
                    <a:gd name="T3" fmla="*/ 316 h 564"/>
                    <a:gd name="T4" fmla="*/ 103 w 425"/>
                    <a:gd name="T5" fmla="*/ 296 h 564"/>
                    <a:gd name="T6" fmla="*/ 144 w 425"/>
                    <a:gd name="T7" fmla="*/ 291 h 564"/>
                    <a:gd name="T8" fmla="*/ 245 w 425"/>
                    <a:gd name="T9" fmla="*/ 163 h 564"/>
                    <a:gd name="T10" fmla="*/ 98 w 425"/>
                    <a:gd name="T11" fmla="*/ 114 h 564"/>
                    <a:gd name="T12" fmla="*/ 82 w 425"/>
                    <a:gd name="T13" fmla="*/ 84 h 564"/>
                    <a:gd name="T14" fmla="*/ 76 w 425"/>
                    <a:gd name="T15" fmla="*/ 39 h 564"/>
                    <a:gd name="T16" fmla="*/ 90 w 425"/>
                    <a:gd name="T17" fmla="*/ 27 h 564"/>
                    <a:gd name="T18" fmla="*/ 122 w 425"/>
                    <a:gd name="T19" fmla="*/ 62 h 564"/>
                    <a:gd name="T20" fmla="*/ 156 w 425"/>
                    <a:gd name="T21" fmla="*/ 73 h 564"/>
                    <a:gd name="T22" fmla="*/ 177 w 425"/>
                    <a:gd name="T23" fmla="*/ 62 h 564"/>
                    <a:gd name="T24" fmla="*/ 197 w 425"/>
                    <a:gd name="T25" fmla="*/ 54 h 564"/>
                    <a:gd name="T26" fmla="*/ 220 w 425"/>
                    <a:gd name="T27" fmla="*/ 55 h 564"/>
                    <a:gd name="T28" fmla="*/ 266 w 425"/>
                    <a:gd name="T29" fmla="*/ 36 h 564"/>
                    <a:gd name="T30" fmla="*/ 291 w 425"/>
                    <a:gd name="T31" fmla="*/ 38 h 564"/>
                    <a:gd name="T32" fmla="*/ 319 w 425"/>
                    <a:gd name="T33" fmla="*/ 34 h 564"/>
                    <a:gd name="T34" fmla="*/ 353 w 425"/>
                    <a:gd name="T35" fmla="*/ 23 h 564"/>
                    <a:gd name="T36" fmla="*/ 369 w 425"/>
                    <a:gd name="T37" fmla="*/ 22 h 564"/>
                    <a:gd name="T38" fmla="*/ 390 w 425"/>
                    <a:gd name="T39" fmla="*/ 15 h 564"/>
                    <a:gd name="T40" fmla="*/ 397 w 425"/>
                    <a:gd name="T41" fmla="*/ 2 h 564"/>
                    <a:gd name="T42" fmla="*/ 406 w 425"/>
                    <a:gd name="T43" fmla="*/ 4 h 564"/>
                    <a:gd name="T44" fmla="*/ 423 w 425"/>
                    <a:gd name="T45" fmla="*/ 9 h 564"/>
                    <a:gd name="T46" fmla="*/ 415 w 425"/>
                    <a:gd name="T47" fmla="*/ 29 h 564"/>
                    <a:gd name="T48" fmla="*/ 420 w 425"/>
                    <a:gd name="T49" fmla="*/ 36 h 564"/>
                    <a:gd name="T50" fmla="*/ 413 w 425"/>
                    <a:gd name="T51" fmla="*/ 52 h 564"/>
                    <a:gd name="T52" fmla="*/ 415 w 425"/>
                    <a:gd name="T53" fmla="*/ 69 h 564"/>
                    <a:gd name="T54" fmla="*/ 422 w 425"/>
                    <a:gd name="T55" fmla="*/ 68 h 564"/>
                    <a:gd name="T56" fmla="*/ 422 w 425"/>
                    <a:gd name="T57" fmla="*/ 73 h 564"/>
                    <a:gd name="T58" fmla="*/ 406 w 425"/>
                    <a:gd name="T59" fmla="*/ 84 h 564"/>
                    <a:gd name="T60" fmla="*/ 406 w 425"/>
                    <a:gd name="T61" fmla="*/ 103 h 564"/>
                    <a:gd name="T62" fmla="*/ 381 w 425"/>
                    <a:gd name="T63" fmla="*/ 154 h 564"/>
                    <a:gd name="T64" fmla="*/ 363 w 425"/>
                    <a:gd name="T65" fmla="*/ 172 h 564"/>
                    <a:gd name="T66" fmla="*/ 361 w 425"/>
                    <a:gd name="T67" fmla="*/ 186 h 564"/>
                    <a:gd name="T68" fmla="*/ 323 w 425"/>
                    <a:gd name="T69" fmla="*/ 266 h 564"/>
                    <a:gd name="T70" fmla="*/ 291 w 425"/>
                    <a:gd name="T71" fmla="*/ 319 h 564"/>
                    <a:gd name="T72" fmla="*/ 209 w 425"/>
                    <a:gd name="T73" fmla="*/ 399 h 564"/>
                    <a:gd name="T74" fmla="*/ 165 w 425"/>
                    <a:gd name="T75" fmla="*/ 427 h 564"/>
                    <a:gd name="T76" fmla="*/ 115 w 425"/>
                    <a:gd name="T77" fmla="*/ 470 h 564"/>
                    <a:gd name="T78" fmla="*/ 85 w 425"/>
                    <a:gd name="T79" fmla="*/ 503 h 564"/>
                    <a:gd name="T80" fmla="*/ 64 w 425"/>
                    <a:gd name="T81" fmla="*/ 523 h 564"/>
                    <a:gd name="T82" fmla="*/ 0 w 425"/>
                    <a:gd name="T83" fmla="*/ 537 h 564"/>
                    <a:gd name="T84" fmla="*/ 39 w 425"/>
                    <a:gd name="T85" fmla="*/ 337 h 5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425" h="564">
                      <a:moveTo>
                        <a:pt x="39" y="337"/>
                      </a:moveTo>
                      <a:lnTo>
                        <a:pt x="41" y="335"/>
                      </a:lnTo>
                      <a:lnTo>
                        <a:pt x="44" y="330"/>
                      </a:lnTo>
                      <a:lnTo>
                        <a:pt x="57" y="323"/>
                      </a:lnTo>
                      <a:lnTo>
                        <a:pt x="69" y="321"/>
                      </a:lnTo>
                      <a:lnTo>
                        <a:pt x="80" y="316"/>
                      </a:lnTo>
                      <a:lnTo>
                        <a:pt x="89" y="310"/>
                      </a:lnTo>
                      <a:lnTo>
                        <a:pt x="92" y="303"/>
                      </a:lnTo>
                      <a:lnTo>
                        <a:pt x="103" y="296"/>
                      </a:lnTo>
                      <a:lnTo>
                        <a:pt x="110" y="296"/>
                      </a:lnTo>
                      <a:lnTo>
                        <a:pt x="117" y="291"/>
                      </a:lnTo>
                      <a:lnTo>
                        <a:pt x="144" y="291"/>
                      </a:lnTo>
                      <a:lnTo>
                        <a:pt x="168" y="291"/>
                      </a:lnTo>
                      <a:lnTo>
                        <a:pt x="298" y="163"/>
                      </a:lnTo>
                      <a:lnTo>
                        <a:pt x="245" y="163"/>
                      </a:lnTo>
                      <a:lnTo>
                        <a:pt x="122" y="126"/>
                      </a:lnTo>
                      <a:lnTo>
                        <a:pt x="112" y="117"/>
                      </a:lnTo>
                      <a:lnTo>
                        <a:pt x="98" y="114"/>
                      </a:lnTo>
                      <a:lnTo>
                        <a:pt x="92" y="101"/>
                      </a:lnTo>
                      <a:lnTo>
                        <a:pt x="94" y="89"/>
                      </a:lnTo>
                      <a:lnTo>
                        <a:pt x="82" y="84"/>
                      </a:lnTo>
                      <a:lnTo>
                        <a:pt x="75" y="62"/>
                      </a:lnTo>
                      <a:lnTo>
                        <a:pt x="73" y="46"/>
                      </a:lnTo>
                      <a:lnTo>
                        <a:pt x="76" y="39"/>
                      </a:lnTo>
                      <a:lnTo>
                        <a:pt x="85" y="22"/>
                      </a:lnTo>
                      <a:lnTo>
                        <a:pt x="89" y="27"/>
                      </a:lnTo>
                      <a:lnTo>
                        <a:pt x="90" y="27"/>
                      </a:lnTo>
                      <a:lnTo>
                        <a:pt x="115" y="55"/>
                      </a:lnTo>
                      <a:lnTo>
                        <a:pt x="119" y="62"/>
                      </a:lnTo>
                      <a:lnTo>
                        <a:pt x="122" y="62"/>
                      </a:lnTo>
                      <a:lnTo>
                        <a:pt x="133" y="71"/>
                      </a:lnTo>
                      <a:lnTo>
                        <a:pt x="144" y="75"/>
                      </a:lnTo>
                      <a:lnTo>
                        <a:pt x="156" y="73"/>
                      </a:lnTo>
                      <a:lnTo>
                        <a:pt x="160" y="68"/>
                      </a:lnTo>
                      <a:lnTo>
                        <a:pt x="170" y="62"/>
                      </a:lnTo>
                      <a:lnTo>
                        <a:pt x="177" y="62"/>
                      </a:lnTo>
                      <a:lnTo>
                        <a:pt x="190" y="50"/>
                      </a:lnTo>
                      <a:lnTo>
                        <a:pt x="195" y="50"/>
                      </a:lnTo>
                      <a:lnTo>
                        <a:pt x="197" y="54"/>
                      </a:lnTo>
                      <a:lnTo>
                        <a:pt x="209" y="52"/>
                      </a:lnTo>
                      <a:lnTo>
                        <a:pt x="213" y="52"/>
                      </a:lnTo>
                      <a:lnTo>
                        <a:pt x="220" y="55"/>
                      </a:lnTo>
                      <a:lnTo>
                        <a:pt x="232" y="54"/>
                      </a:lnTo>
                      <a:lnTo>
                        <a:pt x="257" y="38"/>
                      </a:lnTo>
                      <a:lnTo>
                        <a:pt x="266" y="36"/>
                      </a:lnTo>
                      <a:lnTo>
                        <a:pt x="275" y="39"/>
                      </a:lnTo>
                      <a:lnTo>
                        <a:pt x="280" y="38"/>
                      </a:lnTo>
                      <a:lnTo>
                        <a:pt x="291" y="38"/>
                      </a:lnTo>
                      <a:lnTo>
                        <a:pt x="303" y="32"/>
                      </a:lnTo>
                      <a:lnTo>
                        <a:pt x="315" y="32"/>
                      </a:lnTo>
                      <a:lnTo>
                        <a:pt x="319" y="34"/>
                      </a:lnTo>
                      <a:lnTo>
                        <a:pt x="324" y="34"/>
                      </a:lnTo>
                      <a:lnTo>
                        <a:pt x="344" y="30"/>
                      </a:lnTo>
                      <a:lnTo>
                        <a:pt x="353" y="23"/>
                      </a:lnTo>
                      <a:lnTo>
                        <a:pt x="363" y="22"/>
                      </a:lnTo>
                      <a:lnTo>
                        <a:pt x="367" y="25"/>
                      </a:lnTo>
                      <a:lnTo>
                        <a:pt x="369" y="22"/>
                      </a:lnTo>
                      <a:lnTo>
                        <a:pt x="381" y="20"/>
                      </a:lnTo>
                      <a:lnTo>
                        <a:pt x="388" y="13"/>
                      </a:lnTo>
                      <a:lnTo>
                        <a:pt x="390" y="15"/>
                      </a:lnTo>
                      <a:lnTo>
                        <a:pt x="393" y="9"/>
                      </a:lnTo>
                      <a:lnTo>
                        <a:pt x="392" y="7"/>
                      </a:lnTo>
                      <a:lnTo>
                        <a:pt x="397" y="2"/>
                      </a:lnTo>
                      <a:lnTo>
                        <a:pt x="400" y="2"/>
                      </a:lnTo>
                      <a:lnTo>
                        <a:pt x="400" y="0"/>
                      </a:lnTo>
                      <a:lnTo>
                        <a:pt x="406" y="4"/>
                      </a:lnTo>
                      <a:lnTo>
                        <a:pt x="416" y="7"/>
                      </a:lnTo>
                      <a:lnTo>
                        <a:pt x="420" y="7"/>
                      </a:lnTo>
                      <a:lnTo>
                        <a:pt x="423" y="9"/>
                      </a:lnTo>
                      <a:lnTo>
                        <a:pt x="418" y="15"/>
                      </a:lnTo>
                      <a:lnTo>
                        <a:pt x="416" y="22"/>
                      </a:lnTo>
                      <a:lnTo>
                        <a:pt x="415" y="29"/>
                      </a:lnTo>
                      <a:lnTo>
                        <a:pt x="413" y="32"/>
                      </a:lnTo>
                      <a:lnTo>
                        <a:pt x="415" y="36"/>
                      </a:lnTo>
                      <a:lnTo>
                        <a:pt x="420" y="36"/>
                      </a:lnTo>
                      <a:lnTo>
                        <a:pt x="420" y="39"/>
                      </a:lnTo>
                      <a:lnTo>
                        <a:pt x="416" y="43"/>
                      </a:lnTo>
                      <a:lnTo>
                        <a:pt x="413" y="52"/>
                      </a:lnTo>
                      <a:lnTo>
                        <a:pt x="416" y="57"/>
                      </a:lnTo>
                      <a:lnTo>
                        <a:pt x="418" y="64"/>
                      </a:lnTo>
                      <a:lnTo>
                        <a:pt x="415" y="69"/>
                      </a:lnTo>
                      <a:lnTo>
                        <a:pt x="420" y="69"/>
                      </a:lnTo>
                      <a:lnTo>
                        <a:pt x="420" y="68"/>
                      </a:lnTo>
                      <a:lnTo>
                        <a:pt x="422" y="68"/>
                      </a:lnTo>
                      <a:lnTo>
                        <a:pt x="425" y="73"/>
                      </a:lnTo>
                      <a:lnTo>
                        <a:pt x="422" y="75"/>
                      </a:lnTo>
                      <a:lnTo>
                        <a:pt x="422" y="73"/>
                      </a:lnTo>
                      <a:lnTo>
                        <a:pt x="416" y="73"/>
                      </a:lnTo>
                      <a:lnTo>
                        <a:pt x="413" y="73"/>
                      </a:lnTo>
                      <a:lnTo>
                        <a:pt x="406" y="84"/>
                      </a:lnTo>
                      <a:lnTo>
                        <a:pt x="409" y="89"/>
                      </a:lnTo>
                      <a:lnTo>
                        <a:pt x="408" y="100"/>
                      </a:lnTo>
                      <a:lnTo>
                        <a:pt x="406" y="103"/>
                      </a:lnTo>
                      <a:lnTo>
                        <a:pt x="406" y="114"/>
                      </a:lnTo>
                      <a:lnTo>
                        <a:pt x="392" y="135"/>
                      </a:lnTo>
                      <a:lnTo>
                        <a:pt x="381" y="154"/>
                      </a:lnTo>
                      <a:lnTo>
                        <a:pt x="376" y="162"/>
                      </a:lnTo>
                      <a:lnTo>
                        <a:pt x="372" y="162"/>
                      </a:lnTo>
                      <a:lnTo>
                        <a:pt x="363" y="172"/>
                      </a:lnTo>
                      <a:lnTo>
                        <a:pt x="363" y="176"/>
                      </a:lnTo>
                      <a:lnTo>
                        <a:pt x="367" y="183"/>
                      </a:lnTo>
                      <a:lnTo>
                        <a:pt x="361" y="186"/>
                      </a:lnTo>
                      <a:lnTo>
                        <a:pt x="338" y="231"/>
                      </a:lnTo>
                      <a:lnTo>
                        <a:pt x="337" y="245"/>
                      </a:lnTo>
                      <a:lnTo>
                        <a:pt x="323" y="266"/>
                      </a:lnTo>
                      <a:lnTo>
                        <a:pt x="321" y="273"/>
                      </a:lnTo>
                      <a:lnTo>
                        <a:pt x="292" y="310"/>
                      </a:lnTo>
                      <a:lnTo>
                        <a:pt x="291" y="319"/>
                      </a:lnTo>
                      <a:lnTo>
                        <a:pt x="278" y="332"/>
                      </a:lnTo>
                      <a:lnTo>
                        <a:pt x="255" y="358"/>
                      </a:lnTo>
                      <a:lnTo>
                        <a:pt x="209" y="399"/>
                      </a:lnTo>
                      <a:lnTo>
                        <a:pt x="190" y="417"/>
                      </a:lnTo>
                      <a:lnTo>
                        <a:pt x="177" y="418"/>
                      </a:lnTo>
                      <a:lnTo>
                        <a:pt x="165" y="427"/>
                      </a:lnTo>
                      <a:lnTo>
                        <a:pt x="151" y="438"/>
                      </a:lnTo>
                      <a:lnTo>
                        <a:pt x="122" y="468"/>
                      </a:lnTo>
                      <a:lnTo>
                        <a:pt x="115" y="470"/>
                      </a:lnTo>
                      <a:lnTo>
                        <a:pt x="92" y="496"/>
                      </a:lnTo>
                      <a:lnTo>
                        <a:pt x="89" y="496"/>
                      </a:lnTo>
                      <a:lnTo>
                        <a:pt x="85" y="503"/>
                      </a:lnTo>
                      <a:lnTo>
                        <a:pt x="76" y="505"/>
                      </a:lnTo>
                      <a:lnTo>
                        <a:pt x="67" y="514"/>
                      </a:lnTo>
                      <a:lnTo>
                        <a:pt x="64" y="523"/>
                      </a:lnTo>
                      <a:lnTo>
                        <a:pt x="30" y="560"/>
                      </a:lnTo>
                      <a:lnTo>
                        <a:pt x="30" y="564"/>
                      </a:lnTo>
                      <a:lnTo>
                        <a:pt x="0" y="537"/>
                      </a:lnTo>
                      <a:lnTo>
                        <a:pt x="2" y="372"/>
                      </a:lnTo>
                      <a:lnTo>
                        <a:pt x="39" y="337"/>
                      </a:lnTo>
                      <a:lnTo>
                        <a:pt x="39" y="33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7" name="Freeform 11">
                  <a:extLst>
                    <a:ext uri="{FF2B5EF4-FFF2-40B4-BE49-F238E27FC236}">
                      <a16:creationId xmlns:a16="http://schemas.microsoft.com/office/drawing/2014/main" id="{AC96DF6F-66A7-C729-345E-7D36E308C3D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40584" y="3586153"/>
                  <a:ext cx="692153" cy="669923"/>
                </a:xfrm>
                <a:custGeom>
                  <a:avLst/>
                  <a:gdLst>
                    <a:gd name="T0" fmla="*/ 114 w 436"/>
                    <a:gd name="T1" fmla="*/ 46 h 422"/>
                    <a:gd name="T2" fmla="*/ 121 w 436"/>
                    <a:gd name="T3" fmla="*/ 41 h 422"/>
                    <a:gd name="T4" fmla="*/ 131 w 436"/>
                    <a:gd name="T5" fmla="*/ 34 h 422"/>
                    <a:gd name="T6" fmla="*/ 160 w 436"/>
                    <a:gd name="T7" fmla="*/ 0 h 422"/>
                    <a:gd name="T8" fmla="*/ 172 w 436"/>
                    <a:gd name="T9" fmla="*/ 6 h 422"/>
                    <a:gd name="T10" fmla="*/ 179 w 436"/>
                    <a:gd name="T11" fmla="*/ 32 h 422"/>
                    <a:gd name="T12" fmla="*/ 193 w 436"/>
                    <a:gd name="T13" fmla="*/ 41 h 422"/>
                    <a:gd name="T14" fmla="*/ 213 w 436"/>
                    <a:gd name="T15" fmla="*/ 41 h 422"/>
                    <a:gd name="T16" fmla="*/ 241 w 436"/>
                    <a:gd name="T17" fmla="*/ 45 h 422"/>
                    <a:gd name="T18" fmla="*/ 268 w 436"/>
                    <a:gd name="T19" fmla="*/ 68 h 422"/>
                    <a:gd name="T20" fmla="*/ 282 w 436"/>
                    <a:gd name="T21" fmla="*/ 78 h 422"/>
                    <a:gd name="T22" fmla="*/ 305 w 436"/>
                    <a:gd name="T23" fmla="*/ 82 h 422"/>
                    <a:gd name="T24" fmla="*/ 324 w 436"/>
                    <a:gd name="T25" fmla="*/ 84 h 422"/>
                    <a:gd name="T26" fmla="*/ 339 w 436"/>
                    <a:gd name="T27" fmla="*/ 82 h 422"/>
                    <a:gd name="T28" fmla="*/ 353 w 436"/>
                    <a:gd name="T29" fmla="*/ 61 h 422"/>
                    <a:gd name="T30" fmla="*/ 369 w 436"/>
                    <a:gd name="T31" fmla="*/ 57 h 422"/>
                    <a:gd name="T32" fmla="*/ 392 w 436"/>
                    <a:gd name="T33" fmla="*/ 52 h 422"/>
                    <a:gd name="T34" fmla="*/ 402 w 436"/>
                    <a:gd name="T35" fmla="*/ 64 h 422"/>
                    <a:gd name="T36" fmla="*/ 425 w 436"/>
                    <a:gd name="T37" fmla="*/ 64 h 422"/>
                    <a:gd name="T38" fmla="*/ 399 w 436"/>
                    <a:gd name="T39" fmla="*/ 101 h 422"/>
                    <a:gd name="T40" fmla="*/ 427 w 436"/>
                    <a:gd name="T41" fmla="*/ 293 h 422"/>
                    <a:gd name="T42" fmla="*/ 413 w 436"/>
                    <a:gd name="T43" fmla="*/ 310 h 422"/>
                    <a:gd name="T44" fmla="*/ 404 w 436"/>
                    <a:gd name="T45" fmla="*/ 317 h 422"/>
                    <a:gd name="T46" fmla="*/ 392 w 436"/>
                    <a:gd name="T47" fmla="*/ 326 h 422"/>
                    <a:gd name="T48" fmla="*/ 372 w 436"/>
                    <a:gd name="T49" fmla="*/ 337 h 422"/>
                    <a:gd name="T50" fmla="*/ 367 w 436"/>
                    <a:gd name="T51" fmla="*/ 342 h 422"/>
                    <a:gd name="T52" fmla="*/ 360 w 436"/>
                    <a:gd name="T53" fmla="*/ 353 h 422"/>
                    <a:gd name="T54" fmla="*/ 356 w 436"/>
                    <a:gd name="T55" fmla="*/ 365 h 422"/>
                    <a:gd name="T56" fmla="*/ 349 w 436"/>
                    <a:gd name="T57" fmla="*/ 383 h 422"/>
                    <a:gd name="T58" fmla="*/ 328 w 436"/>
                    <a:gd name="T59" fmla="*/ 418 h 422"/>
                    <a:gd name="T60" fmla="*/ 316 w 436"/>
                    <a:gd name="T61" fmla="*/ 422 h 422"/>
                    <a:gd name="T62" fmla="*/ 261 w 436"/>
                    <a:gd name="T63" fmla="*/ 381 h 422"/>
                    <a:gd name="T64" fmla="*/ 262 w 436"/>
                    <a:gd name="T65" fmla="*/ 372 h 422"/>
                    <a:gd name="T66" fmla="*/ 101 w 436"/>
                    <a:gd name="T67" fmla="*/ 270 h 422"/>
                    <a:gd name="T68" fmla="*/ 101 w 436"/>
                    <a:gd name="T69" fmla="*/ 231 h 422"/>
                    <a:gd name="T70" fmla="*/ 110 w 436"/>
                    <a:gd name="T71" fmla="*/ 211 h 422"/>
                    <a:gd name="T72" fmla="*/ 123 w 436"/>
                    <a:gd name="T73" fmla="*/ 195 h 422"/>
                    <a:gd name="T74" fmla="*/ 130 w 436"/>
                    <a:gd name="T75" fmla="*/ 183 h 422"/>
                    <a:gd name="T76" fmla="*/ 144 w 436"/>
                    <a:gd name="T77" fmla="*/ 179 h 422"/>
                    <a:gd name="T78" fmla="*/ 147 w 436"/>
                    <a:gd name="T79" fmla="*/ 163 h 422"/>
                    <a:gd name="T80" fmla="*/ 158 w 436"/>
                    <a:gd name="T81" fmla="*/ 144 h 422"/>
                    <a:gd name="T82" fmla="*/ 149 w 436"/>
                    <a:gd name="T83" fmla="*/ 130 h 422"/>
                    <a:gd name="T84" fmla="*/ 147 w 436"/>
                    <a:gd name="T85" fmla="*/ 121 h 422"/>
                    <a:gd name="T86" fmla="*/ 137 w 436"/>
                    <a:gd name="T87" fmla="*/ 107 h 422"/>
                    <a:gd name="T88" fmla="*/ 128 w 436"/>
                    <a:gd name="T89" fmla="*/ 89 h 422"/>
                    <a:gd name="T90" fmla="*/ 119 w 436"/>
                    <a:gd name="T91" fmla="*/ 78 h 422"/>
                    <a:gd name="T92" fmla="*/ 115 w 436"/>
                    <a:gd name="T93" fmla="*/ 69 h 422"/>
                    <a:gd name="T94" fmla="*/ 108 w 436"/>
                    <a:gd name="T95" fmla="*/ 54 h 422"/>
                    <a:gd name="T96" fmla="*/ 108 w 436"/>
                    <a:gd name="T97" fmla="*/ 54 h 422"/>
                    <a:gd name="T98" fmla="*/ 0 w 436"/>
                    <a:gd name="T99" fmla="*/ 275 h 422"/>
                    <a:gd name="T100" fmla="*/ 32 w 436"/>
                    <a:gd name="T101" fmla="*/ 273 h 422"/>
                    <a:gd name="T102" fmla="*/ 0 w 436"/>
                    <a:gd name="T103" fmla="*/ 275 h 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436" h="422">
                      <a:moveTo>
                        <a:pt x="108" y="54"/>
                      </a:moveTo>
                      <a:lnTo>
                        <a:pt x="114" y="46"/>
                      </a:lnTo>
                      <a:lnTo>
                        <a:pt x="117" y="46"/>
                      </a:lnTo>
                      <a:lnTo>
                        <a:pt x="121" y="41"/>
                      </a:lnTo>
                      <a:lnTo>
                        <a:pt x="128" y="32"/>
                      </a:lnTo>
                      <a:lnTo>
                        <a:pt x="131" y="34"/>
                      </a:lnTo>
                      <a:lnTo>
                        <a:pt x="142" y="18"/>
                      </a:lnTo>
                      <a:lnTo>
                        <a:pt x="160" y="0"/>
                      </a:lnTo>
                      <a:lnTo>
                        <a:pt x="163" y="7"/>
                      </a:lnTo>
                      <a:lnTo>
                        <a:pt x="172" y="6"/>
                      </a:lnTo>
                      <a:lnTo>
                        <a:pt x="179" y="7"/>
                      </a:lnTo>
                      <a:lnTo>
                        <a:pt x="179" y="32"/>
                      </a:lnTo>
                      <a:lnTo>
                        <a:pt x="186" y="39"/>
                      </a:lnTo>
                      <a:lnTo>
                        <a:pt x="193" y="41"/>
                      </a:lnTo>
                      <a:lnTo>
                        <a:pt x="202" y="38"/>
                      </a:lnTo>
                      <a:lnTo>
                        <a:pt x="213" y="41"/>
                      </a:lnTo>
                      <a:lnTo>
                        <a:pt x="234" y="39"/>
                      </a:lnTo>
                      <a:lnTo>
                        <a:pt x="241" y="45"/>
                      </a:lnTo>
                      <a:lnTo>
                        <a:pt x="259" y="61"/>
                      </a:lnTo>
                      <a:lnTo>
                        <a:pt x="268" y="68"/>
                      </a:lnTo>
                      <a:lnTo>
                        <a:pt x="275" y="77"/>
                      </a:lnTo>
                      <a:lnTo>
                        <a:pt x="282" y="78"/>
                      </a:lnTo>
                      <a:lnTo>
                        <a:pt x="296" y="78"/>
                      </a:lnTo>
                      <a:lnTo>
                        <a:pt x="305" y="82"/>
                      </a:lnTo>
                      <a:lnTo>
                        <a:pt x="317" y="80"/>
                      </a:lnTo>
                      <a:lnTo>
                        <a:pt x="324" y="84"/>
                      </a:lnTo>
                      <a:lnTo>
                        <a:pt x="330" y="84"/>
                      </a:lnTo>
                      <a:lnTo>
                        <a:pt x="339" y="82"/>
                      </a:lnTo>
                      <a:lnTo>
                        <a:pt x="349" y="66"/>
                      </a:lnTo>
                      <a:lnTo>
                        <a:pt x="353" y="61"/>
                      </a:lnTo>
                      <a:lnTo>
                        <a:pt x="362" y="57"/>
                      </a:lnTo>
                      <a:lnTo>
                        <a:pt x="369" y="57"/>
                      </a:lnTo>
                      <a:lnTo>
                        <a:pt x="372" y="54"/>
                      </a:lnTo>
                      <a:lnTo>
                        <a:pt x="392" y="52"/>
                      </a:lnTo>
                      <a:lnTo>
                        <a:pt x="399" y="55"/>
                      </a:lnTo>
                      <a:lnTo>
                        <a:pt x="402" y="64"/>
                      </a:lnTo>
                      <a:lnTo>
                        <a:pt x="410" y="68"/>
                      </a:lnTo>
                      <a:lnTo>
                        <a:pt x="425" y="64"/>
                      </a:lnTo>
                      <a:lnTo>
                        <a:pt x="436" y="66"/>
                      </a:lnTo>
                      <a:lnTo>
                        <a:pt x="399" y="101"/>
                      </a:lnTo>
                      <a:lnTo>
                        <a:pt x="397" y="266"/>
                      </a:lnTo>
                      <a:lnTo>
                        <a:pt x="427" y="293"/>
                      </a:lnTo>
                      <a:lnTo>
                        <a:pt x="425" y="294"/>
                      </a:lnTo>
                      <a:lnTo>
                        <a:pt x="413" y="310"/>
                      </a:lnTo>
                      <a:lnTo>
                        <a:pt x="410" y="312"/>
                      </a:lnTo>
                      <a:lnTo>
                        <a:pt x="404" y="317"/>
                      </a:lnTo>
                      <a:lnTo>
                        <a:pt x="406" y="321"/>
                      </a:lnTo>
                      <a:lnTo>
                        <a:pt x="392" y="326"/>
                      </a:lnTo>
                      <a:lnTo>
                        <a:pt x="385" y="337"/>
                      </a:lnTo>
                      <a:lnTo>
                        <a:pt x="372" y="337"/>
                      </a:lnTo>
                      <a:lnTo>
                        <a:pt x="367" y="339"/>
                      </a:lnTo>
                      <a:lnTo>
                        <a:pt x="367" y="342"/>
                      </a:lnTo>
                      <a:lnTo>
                        <a:pt x="362" y="349"/>
                      </a:lnTo>
                      <a:lnTo>
                        <a:pt x="360" y="353"/>
                      </a:lnTo>
                      <a:lnTo>
                        <a:pt x="363" y="355"/>
                      </a:lnTo>
                      <a:lnTo>
                        <a:pt x="356" y="365"/>
                      </a:lnTo>
                      <a:lnTo>
                        <a:pt x="349" y="374"/>
                      </a:lnTo>
                      <a:lnTo>
                        <a:pt x="349" y="383"/>
                      </a:lnTo>
                      <a:lnTo>
                        <a:pt x="344" y="397"/>
                      </a:lnTo>
                      <a:lnTo>
                        <a:pt x="328" y="418"/>
                      </a:lnTo>
                      <a:lnTo>
                        <a:pt x="319" y="422"/>
                      </a:lnTo>
                      <a:lnTo>
                        <a:pt x="316" y="422"/>
                      </a:lnTo>
                      <a:lnTo>
                        <a:pt x="264" y="387"/>
                      </a:lnTo>
                      <a:lnTo>
                        <a:pt x="261" y="381"/>
                      </a:lnTo>
                      <a:lnTo>
                        <a:pt x="259" y="376"/>
                      </a:lnTo>
                      <a:lnTo>
                        <a:pt x="262" y="372"/>
                      </a:lnTo>
                      <a:lnTo>
                        <a:pt x="254" y="358"/>
                      </a:lnTo>
                      <a:lnTo>
                        <a:pt x="101" y="270"/>
                      </a:lnTo>
                      <a:lnTo>
                        <a:pt x="91" y="270"/>
                      </a:lnTo>
                      <a:lnTo>
                        <a:pt x="101" y="231"/>
                      </a:lnTo>
                      <a:lnTo>
                        <a:pt x="103" y="218"/>
                      </a:lnTo>
                      <a:lnTo>
                        <a:pt x="110" y="211"/>
                      </a:lnTo>
                      <a:lnTo>
                        <a:pt x="115" y="201"/>
                      </a:lnTo>
                      <a:lnTo>
                        <a:pt x="123" y="195"/>
                      </a:lnTo>
                      <a:lnTo>
                        <a:pt x="124" y="188"/>
                      </a:lnTo>
                      <a:lnTo>
                        <a:pt x="130" y="183"/>
                      </a:lnTo>
                      <a:lnTo>
                        <a:pt x="130" y="179"/>
                      </a:lnTo>
                      <a:lnTo>
                        <a:pt x="144" y="179"/>
                      </a:lnTo>
                      <a:lnTo>
                        <a:pt x="147" y="170"/>
                      </a:lnTo>
                      <a:lnTo>
                        <a:pt x="147" y="163"/>
                      </a:lnTo>
                      <a:lnTo>
                        <a:pt x="156" y="153"/>
                      </a:lnTo>
                      <a:lnTo>
                        <a:pt x="158" y="144"/>
                      </a:lnTo>
                      <a:lnTo>
                        <a:pt x="154" y="135"/>
                      </a:lnTo>
                      <a:lnTo>
                        <a:pt x="149" y="130"/>
                      </a:lnTo>
                      <a:lnTo>
                        <a:pt x="153" y="124"/>
                      </a:lnTo>
                      <a:lnTo>
                        <a:pt x="147" y="121"/>
                      </a:lnTo>
                      <a:lnTo>
                        <a:pt x="142" y="119"/>
                      </a:lnTo>
                      <a:lnTo>
                        <a:pt x="137" y="107"/>
                      </a:lnTo>
                      <a:lnTo>
                        <a:pt x="128" y="96"/>
                      </a:lnTo>
                      <a:lnTo>
                        <a:pt x="128" y="89"/>
                      </a:lnTo>
                      <a:lnTo>
                        <a:pt x="124" y="80"/>
                      </a:lnTo>
                      <a:lnTo>
                        <a:pt x="119" y="78"/>
                      </a:lnTo>
                      <a:lnTo>
                        <a:pt x="119" y="71"/>
                      </a:lnTo>
                      <a:lnTo>
                        <a:pt x="115" y="69"/>
                      </a:lnTo>
                      <a:lnTo>
                        <a:pt x="114" y="57"/>
                      </a:lnTo>
                      <a:lnTo>
                        <a:pt x="108" y="54"/>
                      </a:lnTo>
                      <a:lnTo>
                        <a:pt x="108" y="54"/>
                      </a:lnTo>
                      <a:lnTo>
                        <a:pt x="108" y="54"/>
                      </a:lnTo>
                      <a:lnTo>
                        <a:pt x="108" y="54"/>
                      </a:lnTo>
                      <a:close/>
                      <a:moveTo>
                        <a:pt x="0" y="275"/>
                      </a:moveTo>
                      <a:lnTo>
                        <a:pt x="16" y="275"/>
                      </a:lnTo>
                      <a:lnTo>
                        <a:pt x="32" y="273"/>
                      </a:lnTo>
                      <a:lnTo>
                        <a:pt x="2" y="275"/>
                      </a:lnTo>
                      <a:lnTo>
                        <a:pt x="0" y="275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8" name="Freeform 12">
                  <a:extLst>
                    <a:ext uri="{FF2B5EF4-FFF2-40B4-BE49-F238E27FC236}">
                      <a16:creationId xmlns:a16="http://schemas.microsoft.com/office/drawing/2014/main" id="{E3A3DC7B-CD1C-7C69-50E4-FDD44324F1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05648" y="3671878"/>
                  <a:ext cx="385764" cy="373062"/>
                </a:xfrm>
                <a:custGeom>
                  <a:avLst/>
                  <a:gdLst>
                    <a:gd name="T0" fmla="*/ 188 w 243"/>
                    <a:gd name="T1" fmla="*/ 164 h 235"/>
                    <a:gd name="T2" fmla="*/ 200 w 243"/>
                    <a:gd name="T3" fmla="*/ 147 h 235"/>
                    <a:gd name="T4" fmla="*/ 209 w 243"/>
                    <a:gd name="T5" fmla="*/ 134 h 235"/>
                    <a:gd name="T6" fmla="*/ 215 w 243"/>
                    <a:gd name="T7" fmla="*/ 125 h 235"/>
                    <a:gd name="T8" fmla="*/ 232 w 243"/>
                    <a:gd name="T9" fmla="*/ 116 h 235"/>
                    <a:gd name="T10" fmla="*/ 241 w 243"/>
                    <a:gd name="T11" fmla="*/ 99 h 235"/>
                    <a:gd name="T12" fmla="*/ 239 w 243"/>
                    <a:gd name="T13" fmla="*/ 81 h 235"/>
                    <a:gd name="T14" fmla="*/ 238 w 243"/>
                    <a:gd name="T15" fmla="*/ 70 h 235"/>
                    <a:gd name="T16" fmla="*/ 227 w 243"/>
                    <a:gd name="T17" fmla="*/ 65 h 235"/>
                    <a:gd name="T18" fmla="*/ 213 w 243"/>
                    <a:gd name="T19" fmla="*/ 42 h 235"/>
                    <a:gd name="T20" fmla="*/ 209 w 243"/>
                    <a:gd name="T21" fmla="*/ 26 h 235"/>
                    <a:gd name="T22" fmla="*/ 204 w 243"/>
                    <a:gd name="T23" fmla="*/ 17 h 235"/>
                    <a:gd name="T24" fmla="*/ 199 w 243"/>
                    <a:gd name="T25" fmla="*/ 3 h 235"/>
                    <a:gd name="T26" fmla="*/ 184 w 243"/>
                    <a:gd name="T27" fmla="*/ 7 h 235"/>
                    <a:gd name="T28" fmla="*/ 170 w 243"/>
                    <a:gd name="T29" fmla="*/ 17 h 235"/>
                    <a:gd name="T30" fmla="*/ 146 w 243"/>
                    <a:gd name="T31" fmla="*/ 15 h 235"/>
                    <a:gd name="T32" fmla="*/ 130 w 243"/>
                    <a:gd name="T33" fmla="*/ 19 h 235"/>
                    <a:gd name="T34" fmla="*/ 121 w 243"/>
                    <a:gd name="T35" fmla="*/ 19 h 235"/>
                    <a:gd name="T36" fmla="*/ 115 w 243"/>
                    <a:gd name="T37" fmla="*/ 31 h 235"/>
                    <a:gd name="T38" fmla="*/ 101 w 243"/>
                    <a:gd name="T39" fmla="*/ 28 h 235"/>
                    <a:gd name="T40" fmla="*/ 94 w 243"/>
                    <a:gd name="T41" fmla="*/ 19 h 235"/>
                    <a:gd name="T42" fmla="*/ 76 w 243"/>
                    <a:gd name="T43" fmla="*/ 17 h 235"/>
                    <a:gd name="T44" fmla="*/ 62 w 243"/>
                    <a:gd name="T45" fmla="*/ 19 h 235"/>
                    <a:gd name="T46" fmla="*/ 64 w 243"/>
                    <a:gd name="T47" fmla="*/ 28 h 235"/>
                    <a:gd name="T48" fmla="*/ 64 w 243"/>
                    <a:gd name="T49" fmla="*/ 30 h 235"/>
                    <a:gd name="T50" fmla="*/ 57 w 243"/>
                    <a:gd name="T51" fmla="*/ 44 h 235"/>
                    <a:gd name="T52" fmla="*/ 55 w 243"/>
                    <a:gd name="T53" fmla="*/ 69 h 235"/>
                    <a:gd name="T54" fmla="*/ 59 w 243"/>
                    <a:gd name="T55" fmla="*/ 83 h 235"/>
                    <a:gd name="T56" fmla="*/ 66 w 243"/>
                    <a:gd name="T57" fmla="*/ 95 h 235"/>
                    <a:gd name="T58" fmla="*/ 45 w 243"/>
                    <a:gd name="T59" fmla="*/ 127 h 235"/>
                    <a:gd name="T60" fmla="*/ 27 w 243"/>
                    <a:gd name="T61" fmla="*/ 148 h 235"/>
                    <a:gd name="T62" fmla="*/ 9 w 243"/>
                    <a:gd name="T63" fmla="*/ 182 h 235"/>
                    <a:gd name="T64" fmla="*/ 7 w 243"/>
                    <a:gd name="T65" fmla="*/ 209 h 235"/>
                    <a:gd name="T66" fmla="*/ 2 w 243"/>
                    <a:gd name="T67" fmla="*/ 233 h 235"/>
                    <a:gd name="T68" fmla="*/ 2 w 243"/>
                    <a:gd name="T69" fmla="*/ 235 h 235"/>
                    <a:gd name="T70" fmla="*/ 16 w 243"/>
                    <a:gd name="T71" fmla="*/ 230 h 235"/>
                    <a:gd name="T72" fmla="*/ 25 w 243"/>
                    <a:gd name="T73" fmla="*/ 235 h 235"/>
                    <a:gd name="T74" fmla="*/ 34 w 243"/>
                    <a:gd name="T75" fmla="*/ 232 h 235"/>
                    <a:gd name="T76" fmla="*/ 41 w 243"/>
                    <a:gd name="T77" fmla="*/ 225 h 235"/>
                    <a:gd name="T78" fmla="*/ 45 w 243"/>
                    <a:gd name="T79" fmla="*/ 223 h 235"/>
                    <a:gd name="T80" fmla="*/ 52 w 243"/>
                    <a:gd name="T81" fmla="*/ 221 h 235"/>
                    <a:gd name="T82" fmla="*/ 87 w 243"/>
                    <a:gd name="T83" fmla="*/ 221 h 235"/>
                    <a:gd name="T84" fmla="*/ 176 w 243"/>
                    <a:gd name="T85" fmla="*/ 216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43" h="235">
                      <a:moveTo>
                        <a:pt x="186" y="177"/>
                      </a:moveTo>
                      <a:lnTo>
                        <a:pt x="188" y="164"/>
                      </a:lnTo>
                      <a:lnTo>
                        <a:pt x="195" y="157"/>
                      </a:lnTo>
                      <a:lnTo>
                        <a:pt x="200" y="147"/>
                      </a:lnTo>
                      <a:lnTo>
                        <a:pt x="208" y="141"/>
                      </a:lnTo>
                      <a:lnTo>
                        <a:pt x="209" y="134"/>
                      </a:lnTo>
                      <a:lnTo>
                        <a:pt x="215" y="129"/>
                      </a:lnTo>
                      <a:lnTo>
                        <a:pt x="215" y="125"/>
                      </a:lnTo>
                      <a:lnTo>
                        <a:pt x="229" y="125"/>
                      </a:lnTo>
                      <a:lnTo>
                        <a:pt x="232" y="116"/>
                      </a:lnTo>
                      <a:lnTo>
                        <a:pt x="232" y="109"/>
                      </a:lnTo>
                      <a:lnTo>
                        <a:pt x="241" y="99"/>
                      </a:lnTo>
                      <a:lnTo>
                        <a:pt x="243" y="90"/>
                      </a:lnTo>
                      <a:lnTo>
                        <a:pt x="239" y="81"/>
                      </a:lnTo>
                      <a:lnTo>
                        <a:pt x="234" y="76"/>
                      </a:lnTo>
                      <a:lnTo>
                        <a:pt x="238" y="70"/>
                      </a:lnTo>
                      <a:lnTo>
                        <a:pt x="232" y="67"/>
                      </a:lnTo>
                      <a:lnTo>
                        <a:pt x="227" y="65"/>
                      </a:lnTo>
                      <a:lnTo>
                        <a:pt x="222" y="53"/>
                      </a:lnTo>
                      <a:lnTo>
                        <a:pt x="213" y="42"/>
                      </a:lnTo>
                      <a:lnTo>
                        <a:pt x="213" y="35"/>
                      </a:lnTo>
                      <a:lnTo>
                        <a:pt x="209" y="26"/>
                      </a:lnTo>
                      <a:lnTo>
                        <a:pt x="204" y="24"/>
                      </a:lnTo>
                      <a:lnTo>
                        <a:pt x="204" y="17"/>
                      </a:lnTo>
                      <a:lnTo>
                        <a:pt x="200" y="15"/>
                      </a:lnTo>
                      <a:lnTo>
                        <a:pt x="199" y="3"/>
                      </a:lnTo>
                      <a:lnTo>
                        <a:pt x="193" y="0"/>
                      </a:lnTo>
                      <a:lnTo>
                        <a:pt x="184" y="7"/>
                      </a:lnTo>
                      <a:lnTo>
                        <a:pt x="179" y="12"/>
                      </a:lnTo>
                      <a:lnTo>
                        <a:pt x="170" y="17"/>
                      </a:lnTo>
                      <a:lnTo>
                        <a:pt x="160" y="14"/>
                      </a:lnTo>
                      <a:lnTo>
                        <a:pt x="146" y="15"/>
                      </a:lnTo>
                      <a:lnTo>
                        <a:pt x="137" y="19"/>
                      </a:lnTo>
                      <a:lnTo>
                        <a:pt x="130" y="19"/>
                      </a:lnTo>
                      <a:lnTo>
                        <a:pt x="126" y="21"/>
                      </a:lnTo>
                      <a:lnTo>
                        <a:pt x="121" y="19"/>
                      </a:lnTo>
                      <a:lnTo>
                        <a:pt x="115" y="24"/>
                      </a:lnTo>
                      <a:lnTo>
                        <a:pt x="115" y="31"/>
                      </a:lnTo>
                      <a:lnTo>
                        <a:pt x="112" y="31"/>
                      </a:lnTo>
                      <a:lnTo>
                        <a:pt x="101" y="28"/>
                      </a:lnTo>
                      <a:lnTo>
                        <a:pt x="101" y="21"/>
                      </a:lnTo>
                      <a:lnTo>
                        <a:pt x="94" y="19"/>
                      </a:lnTo>
                      <a:lnTo>
                        <a:pt x="87" y="21"/>
                      </a:lnTo>
                      <a:lnTo>
                        <a:pt x="76" y="17"/>
                      </a:lnTo>
                      <a:lnTo>
                        <a:pt x="68" y="14"/>
                      </a:lnTo>
                      <a:lnTo>
                        <a:pt x="62" y="19"/>
                      </a:lnTo>
                      <a:lnTo>
                        <a:pt x="62" y="24"/>
                      </a:lnTo>
                      <a:lnTo>
                        <a:pt x="64" y="28"/>
                      </a:lnTo>
                      <a:lnTo>
                        <a:pt x="64" y="30"/>
                      </a:lnTo>
                      <a:lnTo>
                        <a:pt x="64" y="30"/>
                      </a:lnTo>
                      <a:lnTo>
                        <a:pt x="62" y="39"/>
                      </a:lnTo>
                      <a:lnTo>
                        <a:pt x="57" y="44"/>
                      </a:lnTo>
                      <a:lnTo>
                        <a:pt x="57" y="54"/>
                      </a:lnTo>
                      <a:lnTo>
                        <a:pt x="55" y="69"/>
                      </a:lnTo>
                      <a:lnTo>
                        <a:pt x="55" y="79"/>
                      </a:lnTo>
                      <a:lnTo>
                        <a:pt x="59" y="83"/>
                      </a:lnTo>
                      <a:lnTo>
                        <a:pt x="62" y="88"/>
                      </a:lnTo>
                      <a:lnTo>
                        <a:pt x="66" y="95"/>
                      </a:lnTo>
                      <a:lnTo>
                        <a:pt x="66" y="99"/>
                      </a:lnTo>
                      <a:lnTo>
                        <a:pt x="45" y="127"/>
                      </a:lnTo>
                      <a:lnTo>
                        <a:pt x="30" y="143"/>
                      </a:lnTo>
                      <a:lnTo>
                        <a:pt x="27" y="148"/>
                      </a:lnTo>
                      <a:lnTo>
                        <a:pt x="11" y="178"/>
                      </a:lnTo>
                      <a:lnTo>
                        <a:pt x="9" y="182"/>
                      </a:lnTo>
                      <a:lnTo>
                        <a:pt x="7" y="193"/>
                      </a:lnTo>
                      <a:lnTo>
                        <a:pt x="7" y="209"/>
                      </a:lnTo>
                      <a:lnTo>
                        <a:pt x="2" y="223"/>
                      </a:lnTo>
                      <a:lnTo>
                        <a:pt x="2" y="233"/>
                      </a:lnTo>
                      <a:lnTo>
                        <a:pt x="0" y="235"/>
                      </a:lnTo>
                      <a:lnTo>
                        <a:pt x="2" y="235"/>
                      </a:lnTo>
                      <a:lnTo>
                        <a:pt x="9" y="235"/>
                      </a:lnTo>
                      <a:lnTo>
                        <a:pt x="16" y="230"/>
                      </a:lnTo>
                      <a:lnTo>
                        <a:pt x="22" y="232"/>
                      </a:lnTo>
                      <a:lnTo>
                        <a:pt x="25" y="235"/>
                      </a:lnTo>
                      <a:lnTo>
                        <a:pt x="30" y="235"/>
                      </a:lnTo>
                      <a:lnTo>
                        <a:pt x="34" y="232"/>
                      </a:lnTo>
                      <a:lnTo>
                        <a:pt x="34" y="226"/>
                      </a:lnTo>
                      <a:lnTo>
                        <a:pt x="41" y="225"/>
                      </a:lnTo>
                      <a:lnTo>
                        <a:pt x="41" y="226"/>
                      </a:lnTo>
                      <a:lnTo>
                        <a:pt x="45" y="223"/>
                      </a:lnTo>
                      <a:lnTo>
                        <a:pt x="48" y="225"/>
                      </a:lnTo>
                      <a:lnTo>
                        <a:pt x="52" y="221"/>
                      </a:lnTo>
                      <a:lnTo>
                        <a:pt x="85" y="221"/>
                      </a:lnTo>
                      <a:lnTo>
                        <a:pt x="87" y="221"/>
                      </a:lnTo>
                      <a:lnTo>
                        <a:pt x="117" y="219"/>
                      </a:lnTo>
                      <a:lnTo>
                        <a:pt x="176" y="216"/>
                      </a:lnTo>
                      <a:lnTo>
                        <a:pt x="186" y="17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49" name="Freeform 13">
                  <a:extLst>
                    <a:ext uri="{FF2B5EF4-FFF2-40B4-BE49-F238E27FC236}">
                      <a16:creationId xmlns:a16="http://schemas.microsoft.com/office/drawing/2014/main" id="{1BA85602-BBC9-CACA-30FD-D41CBB7BD6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18219" y="3213093"/>
                  <a:ext cx="855665" cy="579437"/>
                </a:xfrm>
                <a:custGeom>
                  <a:avLst/>
                  <a:gdLst>
                    <a:gd name="T0" fmla="*/ 342 w 539"/>
                    <a:gd name="T1" fmla="*/ 14 h 365"/>
                    <a:gd name="T2" fmla="*/ 371 w 539"/>
                    <a:gd name="T3" fmla="*/ 56 h 365"/>
                    <a:gd name="T4" fmla="*/ 367 w 539"/>
                    <a:gd name="T5" fmla="*/ 83 h 365"/>
                    <a:gd name="T6" fmla="*/ 387 w 539"/>
                    <a:gd name="T7" fmla="*/ 97 h 365"/>
                    <a:gd name="T8" fmla="*/ 401 w 539"/>
                    <a:gd name="T9" fmla="*/ 113 h 365"/>
                    <a:gd name="T10" fmla="*/ 431 w 539"/>
                    <a:gd name="T11" fmla="*/ 127 h 365"/>
                    <a:gd name="T12" fmla="*/ 452 w 539"/>
                    <a:gd name="T13" fmla="*/ 142 h 365"/>
                    <a:gd name="T14" fmla="*/ 440 w 539"/>
                    <a:gd name="T15" fmla="*/ 159 h 365"/>
                    <a:gd name="T16" fmla="*/ 465 w 539"/>
                    <a:gd name="T17" fmla="*/ 170 h 365"/>
                    <a:gd name="T18" fmla="*/ 486 w 539"/>
                    <a:gd name="T19" fmla="*/ 195 h 365"/>
                    <a:gd name="T20" fmla="*/ 500 w 539"/>
                    <a:gd name="T21" fmla="*/ 212 h 365"/>
                    <a:gd name="T22" fmla="*/ 523 w 539"/>
                    <a:gd name="T23" fmla="*/ 230 h 365"/>
                    <a:gd name="T24" fmla="*/ 539 w 539"/>
                    <a:gd name="T25" fmla="*/ 255 h 365"/>
                    <a:gd name="T26" fmla="*/ 521 w 539"/>
                    <a:gd name="T27" fmla="*/ 251 h 365"/>
                    <a:gd name="T28" fmla="*/ 484 w 539"/>
                    <a:gd name="T29" fmla="*/ 251 h 365"/>
                    <a:gd name="T30" fmla="*/ 461 w 539"/>
                    <a:gd name="T31" fmla="*/ 248 h 365"/>
                    <a:gd name="T32" fmla="*/ 452 w 539"/>
                    <a:gd name="T33" fmla="*/ 250 h 365"/>
                    <a:gd name="T34" fmla="*/ 426 w 539"/>
                    <a:gd name="T35" fmla="*/ 260 h 365"/>
                    <a:gd name="T36" fmla="*/ 413 w 539"/>
                    <a:gd name="T37" fmla="*/ 257 h 365"/>
                    <a:gd name="T38" fmla="*/ 383 w 539"/>
                    <a:gd name="T39" fmla="*/ 264 h 365"/>
                    <a:gd name="T40" fmla="*/ 351 w 539"/>
                    <a:gd name="T41" fmla="*/ 267 h 365"/>
                    <a:gd name="T42" fmla="*/ 323 w 539"/>
                    <a:gd name="T43" fmla="*/ 280 h 365"/>
                    <a:gd name="T44" fmla="*/ 318 w 539"/>
                    <a:gd name="T45" fmla="*/ 294 h 365"/>
                    <a:gd name="T46" fmla="*/ 291 w 539"/>
                    <a:gd name="T47" fmla="*/ 287 h 365"/>
                    <a:gd name="T48" fmla="*/ 261 w 539"/>
                    <a:gd name="T49" fmla="*/ 281 h 365"/>
                    <a:gd name="T50" fmla="*/ 233 w 539"/>
                    <a:gd name="T51" fmla="*/ 269 h 365"/>
                    <a:gd name="T52" fmla="*/ 206 w 539"/>
                    <a:gd name="T53" fmla="*/ 253 h 365"/>
                    <a:gd name="T54" fmla="*/ 186 w 539"/>
                    <a:gd name="T55" fmla="*/ 262 h 365"/>
                    <a:gd name="T56" fmla="*/ 178 w 539"/>
                    <a:gd name="T57" fmla="*/ 280 h 365"/>
                    <a:gd name="T58" fmla="*/ 176 w 539"/>
                    <a:gd name="T59" fmla="*/ 296 h 365"/>
                    <a:gd name="T60" fmla="*/ 165 w 539"/>
                    <a:gd name="T61" fmla="*/ 313 h 365"/>
                    <a:gd name="T62" fmla="*/ 146 w 539"/>
                    <a:gd name="T63" fmla="*/ 308 h 365"/>
                    <a:gd name="T64" fmla="*/ 110 w 539"/>
                    <a:gd name="T65" fmla="*/ 317 h 365"/>
                    <a:gd name="T66" fmla="*/ 71 w 539"/>
                    <a:gd name="T67" fmla="*/ 365 h 365"/>
                    <a:gd name="T68" fmla="*/ 66 w 539"/>
                    <a:gd name="T69" fmla="*/ 345 h 365"/>
                    <a:gd name="T70" fmla="*/ 32 w 539"/>
                    <a:gd name="T71" fmla="*/ 303 h 365"/>
                    <a:gd name="T72" fmla="*/ 8 w 539"/>
                    <a:gd name="T73" fmla="*/ 278 h 365"/>
                    <a:gd name="T74" fmla="*/ 4 w 539"/>
                    <a:gd name="T75" fmla="*/ 230 h 365"/>
                    <a:gd name="T76" fmla="*/ 9 w 539"/>
                    <a:gd name="T77" fmla="*/ 204 h 365"/>
                    <a:gd name="T78" fmla="*/ 32 w 539"/>
                    <a:gd name="T79" fmla="*/ 159 h 365"/>
                    <a:gd name="T80" fmla="*/ 50 w 539"/>
                    <a:gd name="T81" fmla="*/ 149 h 365"/>
                    <a:gd name="T82" fmla="*/ 78 w 539"/>
                    <a:gd name="T83" fmla="*/ 156 h 365"/>
                    <a:gd name="T84" fmla="*/ 93 w 539"/>
                    <a:gd name="T85" fmla="*/ 136 h 365"/>
                    <a:gd name="T86" fmla="*/ 117 w 539"/>
                    <a:gd name="T87" fmla="*/ 142 h 365"/>
                    <a:gd name="T88" fmla="*/ 174 w 539"/>
                    <a:gd name="T89" fmla="*/ 124 h 365"/>
                    <a:gd name="T90" fmla="*/ 185 w 539"/>
                    <a:gd name="T91" fmla="*/ 104 h 365"/>
                    <a:gd name="T92" fmla="*/ 192 w 539"/>
                    <a:gd name="T93" fmla="*/ 87 h 365"/>
                    <a:gd name="T94" fmla="*/ 229 w 539"/>
                    <a:gd name="T95" fmla="*/ 88 h 365"/>
                    <a:gd name="T96" fmla="*/ 263 w 539"/>
                    <a:gd name="T97" fmla="*/ 71 h 365"/>
                    <a:gd name="T98" fmla="*/ 268 w 539"/>
                    <a:gd name="T99" fmla="*/ 48 h 365"/>
                    <a:gd name="T100" fmla="*/ 289 w 539"/>
                    <a:gd name="T101" fmla="*/ 30 h 365"/>
                    <a:gd name="T102" fmla="*/ 305 w 539"/>
                    <a:gd name="T103" fmla="*/ 10 h 365"/>
                    <a:gd name="T104" fmla="*/ 339 w 539"/>
                    <a:gd name="T105" fmla="*/ 3 h 3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539" h="365">
                      <a:moveTo>
                        <a:pt x="341" y="0"/>
                      </a:moveTo>
                      <a:lnTo>
                        <a:pt x="344" y="5"/>
                      </a:lnTo>
                      <a:lnTo>
                        <a:pt x="344" y="10"/>
                      </a:lnTo>
                      <a:lnTo>
                        <a:pt x="342" y="14"/>
                      </a:lnTo>
                      <a:lnTo>
                        <a:pt x="351" y="21"/>
                      </a:lnTo>
                      <a:lnTo>
                        <a:pt x="353" y="25"/>
                      </a:lnTo>
                      <a:lnTo>
                        <a:pt x="364" y="41"/>
                      </a:lnTo>
                      <a:lnTo>
                        <a:pt x="371" y="56"/>
                      </a:lnTo>
                      <a:lnTo>
                        <a:pt x="374" y="62"/>
                      </a:lnTo>
                      <a:lnTo>
                        <a:pt x="372" y="71"/>
                      </a:lnTo>
                      <a:lnTo>
                        <a:pt x="369" y="74"/>
                      </a:lnTo>
                      <a:lnTo>
                        <a:pt x="367" y="83"/>
                      </a:lnTo>
                      <a:lnTo>
                        <a:pt x="367" y="95"/>
                      </a:lnTo>
                      <a:lnTo>
                        <a:pt x="372" y="101"/>
                      </a:lnTo>
                      <a:lnTo>
                        <a:pt x="383" y="101"/>
                      </a:lnTo>
                      <a:lnTo>
                        <a:pt x="387" y="97"/>
                      </a:lnTo>
                      <a:lnTo>
                        <a:pt x="399" y="97"/>
                      </a:lnTo>
                      <a:lnTo>
                        <a:pt x="403" y="101"/>
                      </a:lnTo>
                      <a:lnTo>
                        <a:pt x="399" y="106"/>
                      </a:lnTo>
                      <a:lnTo>
                        <a:pt x="401" y="113"/>
                      </a:lnTo>
                      <a:lnTo>
                        <a:pt x="408" y="118"/>
                      </a:lnTo>
                      <a:lnTo>
                        <a:pt x="417" y="124"/>
                      </a:lnTo>
                      <a:lnTo>
                        <a:pt x="424" y="124"/>
                      </a:lnTo>
                      <a:lnTo>
                        <a:pt x="431" y="127"/>
                      </a:lnTo>
                      <a:lnTo>
                        <a:pt x="433" y="133"/>
                      </a:lnTo>
                      <a:lnTo>
                        <a:pt x="442" y="136"/>
                      </a:lnTo>
                      <a:lnTo>
                        <a:pt x="449" y="138"/>
                      </a:lnTo>
                      <a:lnTo>
                        <a:pt x="452" y="142"/>
                      </a:lnTo>
                      <a:lnTo>
                        <a:pt x="450" y="149"/>
                      </a:lnTo>
                      <a:lnTo>
                        <a:pt x="445" y="152"/>
                      </a:lnTo>
                      <a:lnTo>
                        <a:pt x="443" y="156"/>
                      </a:lnTo>
                      <a:lnTo>
                        <a:pt x="440" y="159"/>
                      </a:lnTo>
                      <a:lnTo>
                        <a:pt x="449" y="166"/>
                      </a:lnTo>
                      <a:lnTo>
                        <a:pt x="456" y="168"/>
                      </a:lnTo>
                      <a:lnTo>
                        <a:pt x="459" y="166"/>
                      </a:lnTo>
                      <a:lnTo>
                        <a:pt x="465" y="170"/>
                      </a:lnTo>
                      <a:lnTo>
                        <a:pt x="468" y="170"/>
                      </a:lnTo>
                      <a:lnTo>
                        <a:pt x="482" y="177"/>
                      </a:lnTo>
                      <a:lnTo>
                        <a:pt x="486" y="182"/>
                      </a:lnTo>
                      <a:lnTo>
                        <a:pt x="486" y="195"/>
                      </a:lnTo>
                      <a:lnTo>
                        <a:pt x="489" y="200"/>
                      </a:lnTo>
                      <a:lnTo>
                        <a:pt x="498" y="202"/>
                      </a:lnTo>
                      <a:lnTo>
                        <a:pt x="500" y="205"/>
                      </a:lnTo>
                      <a:lnTo>
                        <a:pt x="500" y="212"/>
                      </a:lnTo>
                      <a:lnTo>
                        <a:pt x="504" y="218"/>
                      </a:lnTo>
                      <a:lnTo>
                        <a:pt x="518" y="221"/>
                      </a:lnTo>
                      <a:lnTo>
                        <a:pt x="525" y="225"/>
                      </a:lnTo>
                      <a:lnTo>
                        <a:pt x="523" y="230"/>
                      </a:lnTo>
                      <a:lnTo>
                        <a:pt x="525" y="242"/>
                      </a:lnTo>
                      <a:lnTo>
                        <a:pt x="528" y="246"/>
                      </a:lnTo>
                      <a:lnTo>
                        <a:pt x="537" y="250"/>
                      </a:lnTo>
                      <a:lnTo>
                        <a:pt x="539" y="255"/>
                      </a:lnTo>
                      <a:lnTo>
                        <a:pt x="539" y="257"/>
                      </a:lnTo>
                      <a:lnTo>
                        <a:pt x="539" y="257"/>
                      </a:lnTo>
                      <a:lnTo>
                        <a:pt x="530" y="251"/>
                      </a:lnTo>
                      <a:lnTo>
                        <a:pt x="521" y="251"/>
                      </a:lnTo>
                      <a:lnTo>
                        <a:pt x="509" y="257"/>
                      </a:lnTo>
                      <a:lnTo>
                        <a:pt x="505" y="255"/>
                      </a:lnTo>
                      <a:lnTo>
                        <a:pt x="491" y="255"/>
                      </a:lnTo>
                      <a:lnTo>
                        <a:pt x="484" y="251"/>
                      </a:lnTo>
                      <a:lnTo>
                        <a:pt x="479" y="250"/>
                      </a:lnTo>
                      <a:lnTo>
                        <a:pt x="475" y="248"/>
                      </a:lnTo>
                      <a:lnTo>
                        <a:pt x="470" y="248"/>
                      </a:lnTo>
                      <a:lnTo>
                        <a:pt x="461" y="248"/>
                      </a:lnTo>
                      <a:lnTo>
                        <a:pt x="458" y="242"/>
                      </a:lnTo>
                      <a:lnTo>
                        <a:pt x="450" y="244"/>
                      </a:lnTo>
                      <a:lnTo>
                        <a:pt x="450" y="246"/>
                      </a:lnTo>
                      <a:lnTo>
                        <a:pt x="452" y="250"/>
                      </a:lnTo>
                      <a:lnTo>
                        <a:pt x="447" y="258"/>
                      </a:lnTo>
                      <a:lnTo>
                        <a:pt x="442" y="258"/>
                      </a:lnTo>
                      <a:lnTo>
                        <a:pt x="436" y="258"/>
                      </a:lnTo>
                      <a:lnTo>
                        <a:pt x="426" y="260"/>
                      </a:lnTo>
                      <a:lnTo>
                        <a:pt x="420" y="264"/>
                      </a:lnTo>
                      <a:lnTo>
                        <a:pt x="417" y="264"/>
                      </a:lnTo>
                      <a:lnTo>
                        <a:pt x="415" y="258"/>
                      </a:lnTo>
                      <a:lnTo>
                        <a:pt x="413" y="257"/>
                      </a:lnTo>
                      <a:lnTo>
                        <a:pt x="411" y="255"/>
                      </a:lnTo>
                      <a:lnTo>
                        <a:pt x="406" y="255"/>
                      </a:lnTo>
                      <a:lnTo>
                        <a:pt x="388" y="262"/>
                      </a:lnTo>
                      <a:lnTo>
                        <a:pt x="383" y="264"/>
                      </a:lnTo>
                      <a:lnTo>
                        <a:pt x="380" y="267"/>
                      </a:lnTo>
                      <a:lnTo>
                        <a:pt x="362" y="271"/>
                      </a:lnTo>
                      <a:lnTo>
                        <a:pt x="357" y="273"/>
                      </a:lnTo>
                      <a:lnTo>
                        <a:pt x="351" y="267"/>
                      </a:lnTo>
                      <a:lnTo>
                        <a:pt x="344" y="266"/>
                      </a:lnTo>
                      <a:lnTo>
                        <a:pt x="335" y="266"/>
                      </a:lnTo>
                      <a:lnTo>
                        <a:pt x="330" y="273"/>
                      </a:lnTo>
                      <a:lnTo>
                        <a:pt x="323" y="280"/>
                      </a:lnTo>
                      <a:lnTo>
                        <a:pt x="325" y="285"/>
                      </a:lnTo>
                      <a:lnTo>
                        <a:pt x="328" y="289"/>
                      </a:lnTo>
                      <a:lnTo>
                        <a:pt x="326" y="290"/>
                      </a:lnTo>
                      <a:lnTo>
                        <a:pt x="318" y="294"/>
                      </a:lnTo>
                      <a:lnTo>
                        <a:pt x="314" y="290"/>
                      </a:lnTo>
                      <a:lnTo>
                        <a:pt x="303" y="289"/>
                      </a:lnTo>
                      <a:lnTo>
                        <a:pt x="296" y="287"/>
                      </a:lnTo>
                      <a:lnTo>
                        <a:pt x="291" y="287"/>
                      </a:lnTo>
                      <a:lnTo>
                        <a:pt x="286" y="289"/>
                      </a:lnTo>
                      <a:lnTo>
                        <a:pt x="280" y="287"/>
                      </a:lnTo>
                      <a:lnTo>
                        <a:pt x="270" y="287"/>
                      </a:lnTo>
                      <a:lnTo>
                        <a:pt x="261" y="281"/>
                      </a:lnTo>
                      <a:lnTo>
                        <a:pt x="252" y="283"/>
                      </a:lnTo>
                      <a:lnTo>
                        <a:pt x="250" y="280"/>
                      </a:lnTo>
                      <a:lnTo>
                        <a:pt x="238" y="271"/>
                      </a:lnTo>
                      <a:lnTo>
                        <a:pt x="233" y="269"/>
                      </a:lnTo>
                      <a:lnTo>
                        <a:pt x="220" y="258"/>
                      </a:lnTo>
                      <a:lnTo>
                        <a:pt x="215" y="258"/>
                      </a:lnTo>
                      <a:lnTo>
                        <a:pt x="210" y="253"/>
                      </a:lnTo>
                      <a:lnTo>
                        <a:pt x="206" y="253"/>
                      </a:lnTo>
                      <a:lnTo>
                        <a:pt x="204" y="257"/>
                      </a:lnTo>
                      <a:lnTo>
                        <a:pt x="197" y="257"/>
                      </a:lnTo>
                      <a:lnTo>
                        <a:pt x="190" y="262"/>
                      </a:lnTo>
                      <a:lnTo>
                        <a:pt x="186" y="262"/>
                      </a:lnTo>
                      <a:lnTo>
                        <a:pt x="183" y="266"/>
                      </a:lnTo>
                      <a:lnTo>
                        <a:pt x="181" y="271"/>
                      </a:lnTo>
                      <a:lnTo>
                        <a:pt x="178" y="274"/>
                      </a:lnTo>
                      <a:lnTo>
                        <a:pt x="178" y="280"/>
                      </a:lnTo>
                      <a:lnTo>
                        <a:pt x="174" y="283"/>
                      </a:lnTo>
                      <a:lnTo>
                        <a:pt x="169" y="283"/>
                      </a:lnTo>
                      <a:lnTo>
                        <a:pt x="169" y="289"/>
                      </a:lnTo>
                      <a:lnTo>
                        <a:pt x="176" y="296"/>
                      </a:lnTo>
                      <a:lnTo>
                        <a:pt x="172" y="299"/>
                      </a:lnTo>
                      <a:lnTo>
                        <a:pt x="171" y="306"/>
                      </a:lnTo>
                      <a:lnTo>
                        <a:pt x="171" y="313"/>
                      </a:lnTo>
                      <a:lnTo>
                        <a:pt x="165" y="313"/>
                      </a:lnTo>
                      <a:lnTo>
                        <a:pt x="162" y="315"/>
                      </a:lnTo>
                      <a:lnTo>
                        <a:pt x="155" y="312"/>
                      </a:lnTo>
                      <a:lnTo>
                        <a:pt x="151" y="308"/>
                      </a:lnTo>
                      <a:lnTo>
                        <a:pt x="146" y="308"/>
                      </a:lnTo>
                      <a:lnTo>
                        <a:pt x="139" y="308"/>
                      </a:lnTo>
                      <a:lnTo>
                        <a:pt x="135" y="312"/>
                      </a:lnTo>
                      <a:lnTo>
                        <a:pt x="128" y="310"/>
                      </a:lnTo>
                      <a:lnTo>
                        <a:pt x="110" y="317"/>
                      </a:lnTo>
                      <a:lnTo>
                        <a:pt x="107" y="322"/>
                      </a:lnTo>
                      <a:lnTo>
                        <a:pt x="100" y="324"/>
                      </a:lnTo>
                      <a:lnTo>
                        <a:pt x="89" y="333"/>
                      </a:lnTo>
                      <a:lnTo>
                        <a:pt x="71" y="365"/>
                      </a:lnTo>
                      <a:lnTo>
                        <a:pt x="70" y="363"/>
                      </a:lnTo>
                      <a:lnTo>
                        <a:pt x="68" y="361"/>
                      </a:lnTo>
                      <a:lnTo>
                        <a:pt x="68" y="354"/>
                      </a:lnTo>
                      <a:lnTo>
                        <a:pt x="66" y="345"/>
                      </a:lnTo>
                      <a:lnTo>
                        <a:pt x="54" y="335"/>
                      </a:lnTo>
                      <a:lnTo>
                        <a:pt x="48" y="331"/>
                      </a:lnTo>
                      <a:lnTo>
                        <a:pt x="43" y="319"/>
                      </a:lnTo>
                      <a:lnTo>
                        <a:pt x="32" y="303"/>
                      </a:lnTo>
                      <a:lnTo>
                        <a:pt x="31" y="294"/>
                      </a:lnTo>
                      <a:lnTo>
                        <a:pt x="24" y="287"/>
                      </a:lnTo>
                      <a:lnTo>
                        <a:pt x="11" y="281"/>
                      </a:lnTo>
                      <a:lnTo>
                        <a:pt x="8" y="278"/>
                      </a:lnTo>
                      <a:lnTo>
                        <a:pt x="8" y="260"/>
                      </a:lnTo>
                      <a:lnTo>
                        <a:pt x="6" y="251"/>
                      </a:lnTo>
                      <a:lnTo>
                        <a:pt x="2" y="241"/>
                      </a:lnTo>
                      <a:lnTo>
                        <a:pt x="4" y="230"/>
                      </a:lnTo>
                      <a:lnTo>
                        <a:pt x="2" y="219"/>
                      </a:lnTo>
                      <a:lnTo>
                        <a:pt x="0" y="211"/>
                      </a:lnTo>
                      <a:lnTo>
                        <a:pt x="4" y="205"/>
                      </a:lnTo>
                      <a:lnTo>
                        <a:pt x="9" y="204"/>
                      </a:lnTo>
                      <a:lnTo>
                        <a:pt x="16" y="193"/>
                      </a:lnTo>
                      <a:lnTo>
                        <a:pt x="22" y="182"/>
                      </a:lnTo>
                      <a:lnTo>
                        <a:pt x="29" y="168"/>
                      </a:lnTo>
                      <a:lnTo>
                        <a:pt x="32" y="159"/>
                      </a:lnTo>
                      <a:lnTo>
                        <a:pt x="39" y="157"/>
                      </a:lnTo>
                      <a:lnTo>
                        <a:pt x="47" y="147"/>
                      </a:lnTo>
                      <a:lnTo>
                        <a:pt x="47" y="143"/>
                      </a:lnTo>
                      <a:lnTo>
                        <a:pt x="50" y="149"/>
                      </a:lnTo>
                      <a:lnTo>
                        <a:pt x="52" y="157"/>
                      </a:lnTo>
                      <a:lnTo>
                        <a:pt x="61" y="157"/>
                      </a:lnTo>
                      <a:lnTo>
                        <a:pt x="66" y="156"/>
                      </a:lnTo>
                      <a:lnTo>
                        <a:pt x="78" y="156"/>
                      </a:lnTo>
                      <a:lnTo>
                        <a:pt x="84" y="145"/>
                      </a:lnTo>
                      <a:lnTo>
                        <a:pt x="84" y="138"/>
                      </a:lnTo>
                      <a:lnTo>
                        <a:pt x="87" y="133"/>
                      </a:lnTo>
                      <a:lnTo>
                        <a:pt x="93" y="136"/>
                      </a:lnTo>
                      <a:lnTo>
                        <a:pt x="94" y="147"/>
                      </a:lnTo>
                      <a:lnTo>
                        <a:pt x="98" y="150"/>
                      </a:lnTo>
                      <a:lnTo>
                        <a:pt x="107" y="149"/>
                      </a:lnTo>
                      <a:lnTo>
                        <a:pt x="117" y="142"/>
                      </a:lnTo>
                      <a:lnTo>
                        <a:pt x="128" y="136"/>
                      </a:lnTo>
                      <a:lnTo>
                        <a:pt x="139" y="129"/>
                      </a:lnTo>
                      <a:lnTo>
                        <a:pt x="163" y="124"/>
                      </a:lnTo>
                      <a:lnTo>
                        <a:pt x="174" y="124"/>
                      </a:lnTo>
                      <a:lnTo>
                        <a:pt x="179" y="117"/>
                      </a:lnTo>
                      <a:lnTo>
                        <a:pt x="192" y="110"/>
                      </a:lnTo>
                      <a:lnTo>
                        <a:pt x="190" y="104"/>
                      </a:lnTo>
                      <a:lnTo>
                        <a:pt x="185" y="104"/>
                      </a:lnTo>
                      <a:lnTo>
                        <a:pt x="179" y="95"/>
                      </a:lnTo>
                      <a:lnTo>
                        <a:pt x="179" y="88"/>
                      </a:lnTo>
                      <a:lnTo>
                        <a:pt x="185" y="85"/>
                      </a:lnTo>
                      <a:lnTo>
                        <a:pt x="192" y="87"/>
                      </a:lnTo>
                      <a:lnTo>
                        <a:pt x="201" y="85"/>
                      </a:lnTo>
                      <a:lnTo>
                        <a:pt x="208" y="88"/>
                      </a:lnTo>
                      <a:lnTo>
                        <a:pt x="218" y="90"/>
                      </a:lnTo>
                      <a:lnTo>
                        <a:pt x="229" y="88"/>
                      </a:lnTo>
                      <a:lnTo>
                        <a:pt x="245" y="87"/>
                      </a:lnTo>
                      <a:lnTo>
                        <a:pt x="254" y="80"/>
                      </a:lnTo>
                      <a:lnTo>
                        <a:pt x="261" y="76"/>
                      </a:lnTo>
                      <a:lnTo>
                        <a:pt x="263" y="71"/>
                      </a:lnTo>
                      <a:lnTo>
                        <a:pt x="261" y="64"/>
                      </a:lnTo>
                      <a:lnTo>
                        <a:pt x="263" y="56"/>
                      </a:lnTo>
                      <a:lnTo>
                        <a:pt x="268" y="53"/>
                      </a:lnTo>
                      <a:lnTo>
                        <a:pt x="268" y="48"/>
                      </a:lnTo>
                      <a:lnTo>
                        <a:pt x="273" y="41"/>
                      </a:lnTo>
                      <a:lnTo>
                        <a:pt x="277" y="42"/>
                      </a:lnTo>
                      <a:lnTo>
                        <a:pt x="282" y="42"/>
                      </a:lnTo>
                      <a:lnTo>
                        <a:pt x="289" y="30"/>
                      </a:lnTo>
                      <a:lnTo>
                        <a:pt x="295" y="28"/>
                      </a:lnTo>
                      <a:lnTo>
                        <a:pt x="293" y="23"/>
                      </a:lnTo>
                      <a:lnTo>
                        <a:pt x="295" y="16"/>
                      </a:lnTo>
                      <a:lnTo>
                        <a:pt x="305" y="10"/>
                      </a:lnTo>
                      <a:lnTo>
                        <a:pt x="312" y="5"/>
                      </a:lnTo>
                      <a:lnTo>
                        <a:pt x="323" y="5"/>
                      </a:lnTo>
                      <a:lnTo>
                        <a:pt x="328" y="9"/>
                      </a:lnTo>
                      <a:lnTo>
                        <a:pt x="339" y="3"/>
                      </a:lnTo>
                      <a:lnTo>
                        <a:pt x="341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0" name="Freeform 14">
                  <a:extLst>
                    <a:ext uri="{FF2B5EF4-FFF2-40B4-BE49-F238E27FC236}">
                      <a16:creationId xmlns:a16="http://schemas.microsoft.com/office/drawing/2014/main" id="{887C9D33-E1F2-2B3C-B2B8-E17888AAF3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4206" y="1689097"/>
                  <a:ext cx="1020765" cy="947735"/>
                </a:xfrm>
                <a:custGeom>
                  <a:avLst/>
                  <a:gdLst>
                    <a:gd name="T0" fmla="*/ 604 w 643"/>
                    <a:gd name="T1" fmla="*/ 582 h 597"/>
                    <a:gd name="T2" fmla="*/ 626 w 643"/>
                    <a:gd name="T3" fmla="*/ 170 h 597"/>
                    <a:gd name="T4" fmla="*/ 617 w 643"/>
                    <a:gd name="T5" fmla="*/ 136 h 597"/>
                    <a:gd name="T6" fmla="*/ 627 w 643"/>
                    <a:gd name="T7" fmla="*/ 110 h 597"/>
                    <a:gd name="T8" fmla="*/ 622 w 643"/>
                    <a:gd name="T9" fmla="*/ 90 h 597"/>
                    <a:gd name="T10" fmla="*/ 629 w 643"/>
                    <a:gd name="T11" fmla="*/ 65 h 597"/>
                    <a:gd name="T12" fmla="*/ 619 w 643"/>
                    <a:gd name="T13" fmla="*/ 48 h 597"/>
                    <a:gd name="T14" fmla="*/ 604 w 643"/>
                    <a:gd name="T15" fmla="*/ 48 h 597"/>
                    <a:gd name="T16" fmla="*/ 571 w 643"/>
                    <a:gd name="T17" fmla="*/ 39 h 597"/>
                    <a:gd name="T18" fmla="*/ 546 w 643"/>
                    <a:gd name="T19" fmla="*/ 33 h 597"/>
                    <a:gd name="T20" fmla="*/ 546 w 643"/>
                    <a:gd name="T21" fmla="*/ 28 h 597"/>
                    <a:gd name="T22" fmla="*/ 526 w 643"/>
                    <a:gd name="T23" fmla="*/ 12 h 597"/>
                    <a:gd name="T24" fmla="*/ 503 w 643"/>
                    <a:gd name="T25" fmla="*/ 9 h 597"/>
                    <a:gd name="T26" fmla="*/ 496 w 643"/>
                    <a:gd name="T27" fmla="*/ 10 h 597"/>
                    <a:gd name="T28" fmla="*/ 484 w 643"/>
                    <a:gd name="T29" fmla="*/ 7 h 597"/>
                    <a:gd name="T30" fmla="*/ 450 w 643"/>
                    <a:gd name="T31" fmla="*/ 16 h 597"/>
                    <a:gd name="T32" fmla="*/ 424 w 643"/>
                    <a:gd name="T33" fmla="*/ 33 h 597"/>
                    <a:gd name="T34" fmla="*/ 415 w 643"/>
                    <a:gd name="T35" fmla="*/ 48 h 597"/>
                    <a:gd name="T36" fmla="*/ 422 w 643"/>
                    <a:gd name="T37" fmla="*/ 81 h 597"/>
                    <a:gd name="T38" fmla="*/ 424 w 643"/>
                    <a:gd name="T39" fmla="*/ 108 h 597"/>
                    <a:gd name="T40" fmla="*/ 411 w 643"/>
                    <a:gd name="T41" fmla="*/ 122 h 597"/>
                    <a:gd name="T42" fmla="*/ 388 w 643"/>
                    <a:gd name="T43" fmla="*/ 138 h 597"/>
                    <a:gd name="T44" fmla="*/ 355 w 643"/>
                    <a:gd name="T45" fmla="*/ 117 h 597"/>
                    <a:gd name="T46" fmla="*/ 323 w 643"/>
                    <a:gd name="T47" fmla="*/ 97 h 597"/>
                    <a:gd name="T48" fmla="*/ 278 w 643"/>
                    <a:gd name="T49" fmla="*/ 83 h 597"/>
                    <a:gd name="T50" fmla="*/ 259 w 643"/>
                    <a:gd name="T51" fmla="*/ 85 h 597"/>
                    <a:gd name="T52" fmla="*/ 232 w 643"/>
                    <a:gd name="T53" fmla="*/ 53 h 597"/>
                    <a:gd name="T54" fmla="*/ 222 w 643"/>
                    <a:gd name="T55" fmla="*/ 26 h 597"/>
                    <a:gd name="T56" fmla="*/ 181 w 643"/>
                    <a:gd name="T57" fmla="*/ 14 h 597"/>
                    <a:gd name="T58" fmla="*/ 146 w 643"/>
                    <a:gd name="T59" fmla="*/ 9 h 597"/>
                    <a:gd name="T60" fmla="*/ 96 w 643"/>
                    <a:gd name="T61" fmla="*/ 9 h 597"/>
                    <a:gd name="T62" fmla="*/ 78 w 643"/>
                    <a:gd name="T63" fmla="*/ 0 h 597"/>
                    <a:gd name="T64" fmla="*/ 80 w 643"/>
                    <a:gd name="T65" fmla="*/ 19 h 597"/>
                    <a:gd name="T66" fmla="*/ 75 w 643"/>
                    <a:gd name="T67" fmla="*/ 37 h 597"/>
                    <a:gd name="T68" fmla="*/ 50 w 643"/>
                    <a:gd name="T69" fmla="*/ 56 h 597"/>
                    <a:gd name="T70" fmla="*/ 32 w 643"/>
                    <a:gd name="T71" fmla="*/ 65 h 597"/>
                    <a:gd name="T72" fmla="*/ 27 w 643"/>
                    <a:gd name="T73" fmla="*/ 74 h 597"/>
                    <a:gd name="T74" fmla="*/ 29 w 643"/>
                    <a:gd name="T75" fmla="*/ 94 h 597"/>
                    <a:gd name="T76" fmla="*/ 29 w 643"/>
                    <a:gd name="T77" fmla="*/ 106 h 597"/>
                    <a:gd name="T78" fmla="*/ 25 w 643"/>
                    <a:gd name="T79" fmla="*/ 113 h 597"/>
                    <a:gd name="T80" fmla="*/ 14 w 643"/>
                    <a:gd name="T81" fmla="*/ 125 h 597"/>
                    <a:gd name="T82" fmla="*/ 7 w 643"/>
                    <a:gd name="T83" fmla="*/ 127 h 597"/>
                    <a:gd name="T84" fmla="*/ 4 w 643"/>
                    <a:gd name="T85" fmla="*/ 131 h 597"/>
                    <a:gd name="T86" fmla="*/ 7 w 643"/>
                    <a:gd name="T87" fmla="*/ 147 h 597"/>
                    <a:gd name="T88" fmla="*/ 13 w 643"/>
                    <a:gd name="T89" fmla="*/ 184 h 597"/>
                    <a:gd name="T90" fmla="*/ 13 w 643"/>
                    <a:gd name="T91" fmla="*/ 203 h 597"/>
                    <a:gd name="T92" fmla="*/ 20 w 643"/>
                    <a:gd name="T93" fmla="*/ 237 h 597"/>
                    <a:gd name="T94" fmla="*/ 14 w 643"/>
                    <a:gd name="T95" fmla="*/ 264 h 597"/>
                    <a:gd name="T96" fmla="*/ 20 w 643"/>
                    <a:gd name="T97" fmla="*/ 288 h 597"/>
                    <a:gd name="T98" fmla="*/ 7 w 643"/>
                    <a:gd name="T99" fmla="*/ 301 h 597"/>
                    <a:gd name="T100" fmla="*/ 0 w 643"/>
                    <a:gd name="T101" fmla="*/ 308 h 597"/>
                    <a:gd name="T102" fmla="*/ 16 w 643"/>
                    <a:gd name="T103" fmla="*/ 327 h 597"/>
                    <a:gd name="T104" fmla="*/ 27 w 643"/>
                    <a:gd name="T105" fmla="*/ 345 h 597"/>
                    <a:gd name="T106" fmla="*/ 29 w 643"/>
                    <a:gd name="T107" fmla="*/ 361 h 597"/>
                    <a:gd name="T108" fmla="*/ 34 w 643"/>
                    <a:gd name="T109" fmla="*/ 379 h 597"/>
                    <a:gd name="T110" fmla="*/ 39 w 643"/>
                    <a:gd name="T111" fmla="*/ 391 h 597"/>
                    <a:gd name="T112" fmla="*/ 73 w 643"/>
                    <a:gd name="T113" fmla="*/ 391 h 597"/>
                    <a:gd name="T114" fmla="*/ 85 w 643"/>
                    <a:gd name="T115" fmla="*/ 405 h 597"/>
                    <a:gd name="T116" fmla="*/ 98 w 643"/>
                    <a:gd name="T117" fmla="*/ 427 h 597"/>
                    <a:gd name="T118" fmla="*/ 108 w 643"/>
                    <a:gd name="T119" fmla="*/ 437 h 597"/>
                    <a:gd name="T120" fmla="*/ 186 w 643"/>
                    <a:gd name="T121" fmla="*/ 462 h 597"/>
                    <a:gd name="T122" fmla="*/ 604 w 643"/>
                    <a:gd name="T123" fmla="*/ 597 h 597"/>
                    <a:gd name="T124" fmla="*/ 604 w 643"/>
                    <a:gd name="T125" fmla="*/ 597 h 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643" h="597">
                      <a:moveTo>
                        <a:pt x="604" y="597"/>
                      </a:moveTo>
                      <a:lnTo>
                        <a:pt x="604" y="582"/>
                      </a:lnTo>
                      <a:lnTo>
                        <a:pt x="643" y="579"/>
                      </a:lnTo>
                      <a:lnTo>
                        <a:pt x="626" y="170"/>
                      </a:lnTo>
                      <a:lnTo>
                        <a:pt x="622" y="149"/>
                      </a:lnTo>
                      <a:lnTo>
                        <a:pt x="617" y="136"/>
                      </a:lnTo>
                      <a:lnTo>
                        <a:pt x="622" y="124"/>
                      </a:lnTo>
                      <a:lnTo>
                        <a:pt x="627" y="110"/>
                      </a:lnTo>
                      <a:lnTo>
                        <a:pt x="627" y="101"/>
                      </a:lnTo>
                      <a:lnTo>
                        <a:pt x="622" y="90"/>
                      </a:lnTo>
                      <a:lnTo>
                        <a:pt x="626" y="72"/>
                      </a:lnTo>
                      <a:lnTo>
                        <a:pt x="629" y="65"/>
                      </a:lnTo>
                      <a:lnTo>
                        <a:pt x="626" y="53"/>
                      </a:lnTo>
                      <a:lnTo>
                        <a:pt x="619" y="48"/>
                      </a:lnTo>
                      <a:lnTo>
                        <a:pt x="611" y="46"/>
                      </a:lnTo>
                      <a:lnTo>
                        <a:pt x="604" y="48"/>
                      </a:lnTo>
                      <a:lnTo>
                        <a:pt x="576" y="44"/>
                      </a:lnTo>
                      <a:lnTo>
                        <a:pt x="571" y="39"/>
                      </a:lnTo>
                      <a:lnTo>
                        <a:pt x="560" y="37"/>
                      </a:lnTo>
                      <a:lnTo>
                        <a:pt x="546" y="33"/>
                      </a:lnTo>
                      <a:lnTo>
                        <a:pt x="542" y="28"/>
                      </a:lnTo>
                      <a:lnTo>
                        <a:pt x="546" y="28"/>
                      </a:lnTo>
                      <a:lnTo>
                        <a:pt x="544" y="23"/>
                      </a:lnTo>
                      <a:lnTo>
                        <a:pt x="526" y="12"/>
                      </a:lnTo>
                      <a:lnTo>
                        <a:pt x="518" y="12"/>
                      </a:lnTo>
                      <a:lnTo>
                        <a:pt x="503" y="9"/>
                      </a:lnTo>
                      <a:lnTo>
                        <a:pt x="500" y="7"/>
                      </a:lnTo>
                      <a:lnTo>
                        <a:pt x="496" y="10"/>
                      </a:lnTo>
                      <a:lnTo>
                        <a:pt x="487" y="7"/>
                      </a:lnTo>
                      <a:lnTo>
                        <a:pt x="484" y="7"/>
                      </a:lnTo>
                      <a:lnTo>
                        <a:pt x="471" y="12"/>
                      </a:lnTo>
                      <a:lnTo>
                        <a:pt x="450" y="16"/>
                      </a:lnTo>
                      <a:lnTo>
                        <a:pt x="433" y="23"/>
                      </a:lnTo>
                      <a:lnTo>
                        <a:pt x="424" y="33"/>
                      </a:lnTo>
                      <a:lnTo>
                        <a:pt x="420" y="44"/>
                      </a:lnTo>
                      <a:lnTo>
                        <a:pt x="415" y="48"/>
                      </a:lnTo>
                      <a:lnTo>
                        <a:pt x="415" y="69"/>
                      </a:lnTo>
                      <a:lnTo>
                        <a:pt x="422" y="81"/>
                      </a:lnTo>
                      <a:lnTo>
                        <a:pt x="427" y="97"/>
                      </a:lnTo>
                      <a:lnTo>
                        <a:pt x="424" y="108"/>
                      </a:lnTo>
                      <a:lnTo>
                        <a:pt x="413" y="118"/>
                      </a:lnTo>
                      <a:lnTo>
                        <a:pt x="411" y="122"/>
                      </a:lnTo>
                      <a:lnTo>
                        <a:pt x="397" y="134"/>
                      </a:lnTo>
                      <a:lnTo>
                        <a:pt x="388" y="138"/>
                      </a:lnTo>
                      <a:lnTo>
                        <a:pt x="371" y="129"/>
                      </a:lnTo>
                      <a:lnTo>
                        <a:pt x="355" y="117"/>
                      </a:lnTo>
                      <a:lnTo>
                        <a:pt x="342" y="106"/>
                      </a:lnTo>
                      <a:lnTo>
                        <a:pt x="323" y="97"/>
                      </a:lnTo>
                      <a:lnTo>
                        <a:pt x="293" y="85"/>
                      </a:lnTo>
                      <a:lnTo>
                        <a:pt x="278" y="83"/>
                      </a:lnTo>
                      <a:lnTo>
                        <a:pt x="275" y="85"/>
                      </a:lnTo>
                      <a:lnTo>
                        <a:pt x="259" y="85"/>
                      </a:lnTo>
                      <a:lnTo>
                        <a:pt x="245" y="78"/>
                      </a:lnTo>
                      <a:lnTo>
                        <a:pt x="232" y="53"/>
                      </a:lnTo>
                      <a:lnTo>
                        <a:pt x="232" y="40"/>
                      </a:lnTo>
                      <a:lnTo>
                        <a:pt x="222" y="26"/>
                      </a:lnTo>
                      <a:lnTo>
                        <a:pt x="195" y="23"/>
                      </a:lnTo>
                      <a:lnTo>
                        <a:pt x="181" y="14"/>
                      </a:lnTo>
                      <a:lnTo>
                        <a:pt x="158" y="14"/>
                      </a:lnTo>
                      <a:lnTo>
                        <a:pt x="146" y="9"/>
                      </a:lnTo>
                      <a:lnTo>
                        <a:pt x="115" y="14"/>
                      </a:lnTo>
                      <a:lnTo>
                        <a:pt x="96" y="9"/>
                      </a:lnTo>
                      <a:lnTo>
                        <a:pt x="89" y="1"/>
                      </a:lnTo>
                      <a:lnTo>
                        <a:pt x="78" y="0"/>
                      </a:lnTo>
                      <a:lnTo>
                        <a:pt x="76" y="3"/>
                      </a:lnTo>
                      <a:lnTo>
                        <a:pt x="80" y="19"/>
                      </a:lnTo>
                      <a:lnTo>
                        <a:pt x="84" y="23"/>
                      </a:lnTo>
                      <a:lnTo>
                        <a:pt x="75" y="37"/>
                      </a:lnTo>
                      <a:lnTo>
                        <a:pt x="50" y="51"/>
                      </a:lnTo>
                      <a:lnTo>
                        <a:pt x="50" y="56"/>
                      </a:lnTo>
                      <a:lnTo>
                        <a:pt x="43" y="67"/>
                      </a:lnTo>
                      <a:lnTo>
                        <a:pt x="32" y="65"/>
                      </a:lnTo>
                      <a:lnTo>
                        <a:pt x="27" y="71"/>
                      </a:lnTo>
                      <a:lnTo>
                        <a:pt x="27" y="74"/>
                      </a:lnTo>
                      <a:lnTo>
                        <a:pt x="25" y="81"/>
                      </a:lnTo>
                      <a:lnTo>
                        <a:pt x="29" y="94"/>
                      </a:lnTo>
                      <a:lnTo>
                        <a:pt x="30" y="104"/>
                      </a:lnTo>
                      <a:lnTo>
                        <a:pt x="29" y="106"/>
                      </a:lnTo>
                      <a:lnTo>
                        <a:pt x="29" y="110"/>
                      </a:lnTo>
                      <a:lnTo>
                        <a:pt x="25" y="113"/>
                      </a:lnTo>
                      <a:lnTo>
                        <a:pt x="22" y="120"/>
                      </a:lnTo>
                      <a:lnTo>
                        <a:pt x="14" y="125"/>
                      </a:lnTo>
                      <a:lnTo>
                        <a:pt x="13" y="127"/>
                      </a:lnTo>
                      <a:lnTo>
                        <a:pt x="7" y="127"/>
                      </a:lnTo>
                      <a:lnTo>
                        <a:pt x="7" y="127"/>
                      </a:lnTo>
                      <a:lnTo>
                        <a:pt x="4" y="131"/>
                      </a:lnTo>
                      <a:lnTo>
                        <a:pt x="4" y="145"/>
                      </a:lnTo>
                      <a:lnTo>
                        <a:pt x="7" y="147"/>
                      </a:lnTo>
                      <a:lnTo>
                        <a:pt x="13" y="157"/>
                      </a:lnTo>
                      <a:lnTo>
                        <a:pt x="13" y="184"/>
                      </a:lnTo>
                      <a:lnTo>
                        <a:pt x="14" y="200"/>
                      </a:lnTo>
                      <a:lnTo>
                        <a:pt x="13" y="203"/>
                      </a:lnTo>
                      <a:lnTo>
                        <a:pt x="14" y="225"/>
                      </a:lnTo>
                      <a:lnTo>
                        <a:pt x="20" y="237"/>
                      </a:lnTo>
                      <a:lnTo>
                        <a:pt x="16" y="260"/>
                      </a:lnTo>
                      <a:lnTo>
                        <a:pt x="14" y="264"/>
                      </a:lnTo>
                      <a:lnTo>
                        <a:pt x="20" y="274"/>
                      </a:lnTo>
                      <a:lnTo>
                        <a:pt x="20" y="288"/>
                      </a:lnTo>
                      <a:lnTo>
                        <a:pt x="16" y="294"/>
                      </a:lnTo>
                      <a:lnTo>
                        <a:pt x="7" y="301"/>
                      </a:lnTo>
                      <a:lnTo>
                        <a:pt x="4" y="304"/>
                      </a:lnTo>
                      <a:lnTo>
                        <a:pt x="0" y="308"/>
                      </a:lnTo>
                      <a:lnTo>
                        <a:pt x="7" y="315"/>
                      </a:lnTo>
                      <a:lnTo>
                        <a:pt x="16" y="327"/>
                      </a:lnTo>
                      <a:lnTo>
                        <a:pt x="25" y="343"/>
                      </a:lnTo>
                      <a:lnTo>
                        <a:pt x="27" y="345"/>
                      </a:lnTo>
                      <a:lnTo>
                        <a:pt x="30" y="356"/>
                      </a:lnTo>
                      <a:lnTo>
                        <a:pt x="29" y="361"/>
                      </a:lnTo>
                      <a:lnTo>
                        <a:pt x="29" y="373"/>
                      </a:lnTo>
                      <a:lnTo>
                        <a:pt x="34" y="379"/>
                      </a:lnTo>
                      <a:lnTo>
                        <a:pt x="36" y="386"/>
                      </a:lnTo>
                      <a:lnTo>
                        <a:pt x="39" y="391"/>
                      </a:lnTo>
                      <a:lnTo>
                        <a:pt x="57" y="391"/>
                      </a:lnTo>
                      <a:lnTo>
                        <a:pt x="73" y="391"/>
                      </a:lnTo>
                      <a:lnTo>
                        <a:pt x="80" y="397"/>
                      </a:lnTo>
                      <a:lnTo>
                        <a:pt x="85" y="405"/>
                      </a:lnTo>
                      <a:lnTo>
                        <a:pt x="92" y="423"/>
                      </a:lnTo>
                      <a:lnTo>
                        <a:pt x="98" y="427"/>
                      </a:lnTo>
                      <a:lnTo>
                        <a:pt x="103" y="432"/>
                      </a:lnTo>
                      <a:lnTo>
                        <a:pt x="108" y="437"/>
                      </a:lnTo>
                      <a:lnTo>
                        <a:pt x="181" y="455"/>
                      </a:lnTo>
                      <a:lnTo>
                        <a:pt x="186" y="462"/>
                      </a:lnTo>
                      <a:lnTo>
                        <a:pt x="271" y="428"/>
                      </a:lnTo>
                      <a:lnTo>
                        <a:pt x="604" y="597"/>
                      </a:lnTo>
                      <a:lnTo>
                        <a:pt x="604" y="597"/>
                      </a:lnTo>
                      <a:lnTo>
                        <a:pt x="604" y="59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1" name="Freeform 15">
                  <a:extLst>
                    <a:ext uri="{FF2B5EF4-FFF2-40B4-BE49-F238E27FC236}">
                      <a16:creationId xmlns:a16="http://schemas.microsoft.com/office/drawing/2014/main" id="{3AB36510-6683-6563-408D-EE83496D0DE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38794" y="1379534"/>
                  <a:ext cx="258764" cy="511173"/>
                </a:xfrm>
                <a:custGeom>
                  <a:avLst/>
                  <a:gdLst>
                    <a:gd name="T0" fmla="*/ 92 w 163"/>
                    <a:gd name="T1" fmla="*/ 322 h 322"/>
                    <a:gd name="T2" fmla="*/ 101 w 163"/>
                    <a:gd name="T3" fmla="*/ 315 h 322"/>
                    <a:gd name="T4" fmla="*/ 108 w 163"/>
                    <a:gd name="T5" fmla="*/ 305 h 322"/>
                    <a:gd name="T6" fmla="*/ 109 w 163"/>
                    <a:gd name="T7" fmla="*/ 299 h 322"/>
                    <a:gd name="T8" fmla="*/ 104 w 163"/>
                    <a:gd name="T9" fmla="*/ 276 h 322"/>
                    <a:gd name="T10" fmla="*/ 106 w 163"/>
                    <a:gd name="T11" fmla="*/ 266 h 322"/>
                    <a:gd name="T12" fmla="*/ 122 w 163"/>
                    <a:gd name="T13" fmla="*/ 262 h 322"/>
                    <a:gd name="T14" fmla="*/ 129 w 163"/>
                    <a:gd name="T15" fmla="*/ 246 h 322"/>
                    <a:gd name="T16" fmla="*/ 163 w 163"/>
                    <a:gd name="T17" fmla="*/ 218 h 322"/>
                    <a:gd name="T18" fmla="*/ 155 w 163"/>
                    <a:gd name="T19" fmla="*/ 198 h 322"/>
                    <a:gd name="T20" fmla="*/ 152 w 163"/>
                    <a:gd name="T21" fmla="*/ 193 h 322"/>
                    <a:gd name="T22" fmla="*/ 139 w 163"/>
                    <a:gd name="T23" fmla="*/ 182 h 322"/>
                    <a:gd name="T24" fmla="*/ 132 w 163"/>
                    <a:gd name="T25" fmla="*/ 172 h 322"/>
                    <a:gd name="T26" fmla="*/ 131 w 163"/>
                    <a:gd name="T27" fmla="*/ 177 h 322"/>
                    <a:gd name="T28" fmla="*/ 122 w 163"/>
                    <a:gd name="T29" fmla="*/ 177 h 322"/>
                    <a:gd name="T30" fmla="*/ 115 w 163"/>
                    <a:gd name="T31" fmla="*/ 172 h 322"/>
                    <a:gd name="T32" fmla="*/ 95 w 163"/>
                    <a:gd name="T33" fmla="*/ 152 h 322"/>
                    <a:gd name="T34" fmla="*/ 120 w 163"/>
                    <a:gd name="T35" fmla="*/ 126 h 322"/>
                    <a:gd name="T36" fmla="*/ 134 w 163"/>
                    <a:gd name="T37" fmla="*/ 110 h 322"/>
                    <a:gd name="T38" fmla="*/ 136 w 163"/>
                    <a:gd name="T39" fmla="*/ 99 h 322"/>
                    <a:gd name="T40" fmla="*/ 131 w 163"/>
                    <a:gd name="T41" fmla="*/ 92 h 322"/>
                    <a:gd name="T42" fmla="*/ 118 w 163"/>
                    <a:gd name="T43" fmla="*/ 74 h 322"/>
                    <a:gd name="T44" fmla="*/ 111 w 163"/>
                    <a:gd name="T45" fmla="*/ 49 h 322"/>
                    <a:gd name="T46" fmla="*/ 122 w 163"/>
                    <a:gd name="T47" fmla="*/ 35 h 322"/>
                    <a:gd name="T48" fmla="*/ 129 w 163"/>
                    <a:gd name="T49" fmla="*/ 14 h 322"/>
                    <a:gd name="T50" fmla="*/ 111 w 163"/>
                    <a:gd name="T51" fmla="*/ 25 h 322"/>
                    <a:gd name="T52" fmla="*/ 102 w 163"/>
                    <a:gd name="T53" fmla="*/ 28 h 322"/>
                    <a:gd name="T54" fmla="*/ 92 w 163"/>
                    <a:gd name="T55" fmla="*/ 12 h 322"/>
                    <a:gd name="T56" fmla="*/ 86 w 163"/>
                    <a:gd name="T57" fmla="*/ 0 h 322"/>
                    <a:gd name="T58" fmla="*/ 77 w 163"/>
                    <a:gd name="T59" fmla="*/ 7 h 322"/>
                    <a:gd name="T60" fmla="*/ 62 w 163"/>
                    <a:gd name="T61" fmla="*/ 3 h 322"/>
                    <a:gd name="T62" fmla="*/ 37 w 163"/>
                    <a:gd name="T63" fmla="*/ 21 h 322"/>
                    <a:gd name="T64" fmla="*/ 35 w 163"/>
                    <a:gd name="T65" fmla="*/ 26 h 322"/>
                    <a:gd name="T66" fmla="*/ 35 w 163"/>
                    <a:gd name="T67" fmla="*/ 44 h 322"/>
                    <a:gd name="T68" fmla="*/ 28 w 163"/>
                    <a:gd name="T69" fmla="*/ 76 h 322"/>
                    <a:gd name="T70" fmla="*/ 37 w 163"/>
                    <a:gd name="T71" fmla="*/ 94 h 322"/>
                    <a:gd name="T72" fmla="*/ 33 w 163"/>
                    <a:gd name="T73" fmla="*/ 99 h 322"/>
                    <a:gd name="T74" fmla="*/ 35 w 163"/>
                    <a:gd name="T75" fmla="*/ 111 h 322"/>
                    <a:gd name="T76" fmla="*/ 28 w 163"/>
                    <a:gd name="T77" fmla="*/ 129 h 322"/>
                    <a:gd name="T78" fmla="*/ 21 w 163"/>
                    <a:gd name="T79" fmla="*/ 138 h 322"/>
                    <a:gd name="T80" fmla="*/ 5 w 163"/>
                    <a:gd name="T81" fmla="*/ 150 h 322"/>
                    <a:gd name="T82" fmla="*/ 3 w 163"/>
                    <a:gd name="T83" fmla="*/ 173 h 322"/>
                    <a:gd name="T84" fmla="*/ 7 w 163"/>
                    <a:gd name="T85" fmla="*/ 189 h 322"/>
                    <a:gd name="T86" fmla="*/ 15 w 163"/>
                    <a:gd name="T87" fmla="*/ 198 h 322"/>
                    <a:gd name="T88" fmla="*/ 30 w 163"/>
                    <a:gd name="T89" fmla="*/ 218 h 322"/>
                    <a:gd name="T90" fmla="*/ 44 w 163"/>
                    <a:gd name="T91" fmla="*/ 227 h 322"/>
                    <a:gd name="T92" fmla="*/ 60 w 163"/>
                    <a:gd name="T93" fmla="*/ 239 h 322"/>
                    <a:gd name="T94" fmla="*/ 86 w 163"/>
                    <a:gd name="T95" fmla="*/ 322 h 322"/>
                    <a:gd name="T96" fmla="*/ 124 w 163"/>
                    <a:gd name="T97" fmla="*/ 163 h 322"/>
                    <a:gd name="T98" fmla="*/ 134 w 163"/>
                    <a:gd name="T99" fmla="*/ 166 h 322"/>
                    <a:gd name="T100" fmla="*/ 122 w 163"/>
                    <a:gd name="T101" fmla="*/ 166 h 3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63" h="322">
                      <a:moveTo>
                        <a:pt x="86" y="322"/>
                      </a:moveTo>
                      <a:lnTo>
                        <a:pt x="92" y="322"/>
                      </a:lnTo>
                      <a:lnTo>
                        <a:pt x="93" y="320"/>
                      </a:lnTo>
                      <a:lnTo>
                        <a:pt x="101" y="315"/>
                      </a:lnTo>
                      <a:lnTo>
                        <a:pt x="104" y="308"/>
                      </a:lnTo>
                      <a:lnTo>
                        <a:pt x="108" y="305"/>
                      </a:lnTo>
                      <a:lnTo>
                        <a:pt x="108" y="301"/>
                      </a:lnTo>
                      <a:lnTo>
                        <a:pt x="109" y="299"/>
                      </a:lnTo>
                      <a:lnTo>
                        <a:pt x="108" y="289"/>
                      </a:lnTo>
                      <a:lnTo>
                        <a:pt x="104" y="276"/>
                      </a:lnTo>
                      <a:lnTo>
                        <a:pt x="106" y="269"/>
                      </a:lnTo>
                      <a:lnTo>
                        <a:pt x="106" y="266"/>
                      </a:lnTo>
                      <a:lnTo>
                        <a:pt x="111" y="260"/>
                      </a:lnTo>
                      <a:lnTo>
                        <a:pt x="122" y="262"/>
                      </a:lnTo>
                      <a:lnTo>
                        <a:pt x="129" y="251"/>
                      </a:lnTo>
                      <a:lnTo>
                        <a:pt x="129" y="246"/>
                      </a:lnTo>
                      <a:lnTo>
                        <a:pt x="154" y="232"/>
                      </a:lnTo>
                      <a:lnTo>
                        <a:pt x="163" y="218"/>
                      </a:lnTo>
                      <a:lnTo>
                        <a:pt x="159" y="214"/>
                      </a:lnTo>
                      <a:lnTo>
                        <a:pt x="155" y="198"/>
                      </a:lnTo>
                      <a:lnTo>
                        <a:pt x="157" y="195"/>
                      </a:lnTo>
                      <a:lnTo>
                        <a:pt x="152" y="193"/>
                      </a:lnTo>
                      <a:lnTo>
                        <a:pt x="141" y="186"/>
                      </a:lnTo>
                      <a:lnTo>
                        <a:pt x="139" y="182"/>
                      </a:lnTo>
                      <a:lnTo>
                        <a:pt x="139" y="175"/>
                      </a:lnTo>
                      <a:lnTo>
                        <a:pt x="132" y="172"/>
                      </a:lnTo>
                      <a:lnTo>
                        <a:pt x="131" y="175"/>
                      </a:lnTo>
                      <a:lnTo>
                        <a:pt x="131" y="177"/>
                      </a:lnTo>
                      <a:lnTo>
                        <a:pt x="127" y="181"/>
                      </a:lnTo>
                      <a:lnTo>
                        <a:pt x="122" y="177"/>
                      </a:lnTo>
                      <a:lnTo>
                        <a:pt x="120" y="172"/>
                      </a:lnTo>
                      <a:lnTo>
                        <a:pt x="115" y="172"/>
                      </a:lnTo>
                      <a:lnTo>
                        <a:pt x="101" y="163"/>
                      </a:lnTo>
                      <a:lnTo>
                        <a:pt x="95" y="152"/>
                      </a:lnTo>
                      <a:lnTo>
                        <a:pt x="99" y="140"/>
                      </a:lnTo>
                      <a:lnTo>
                        <a:pt x="120" y="126"/>
                      </a:lnTo>
                      <a:lnTo>
                        <a:pt x="131" y="113"/>
                      </a:lnTo>
                      <a:lnTo>
                        <a:pt x="134" y="110"/>
                      </a:lnTo>
                      <a:lnTo>
                        <a:pt x="131" y="104"/>
                      </a:lnTo>
                      <a:lnTo>
                        <a:pt x="136" y="99"/>
                      </a:lnTo>
                      <a:lnTo>
                        <a:pt x="134" y="94"/>
                      </a:lnTo>
                      <a:lnTo>
                        <a:pt x="131" y="92"/>
                      </a:lnTo>
                      <a:lnTo>
                        <a:pt x="131" y="78"/>
                      </a:lnTo>
                      <a:lnTo>
                        <a:pt x="118" y="74"/>
                      </a:lnTo>
                      <a:lnTo>
                        <a:pt x="109" y="60"/>
                      </a:lnTo>
                      <a:lnTo>
                        <a:pt x="111" y="49"/>
                      </a:lnTo>
                      <a:lnTo>
                        <a:pt x="120" y="42"/>
                      </a:lnTo>
                      <a:lnTo>
                        <a:pt x="122" y="35"/>
                      </a:lnTo>
                      <a:lnTo>
                        <a:pt x="129" y="23"/>
                      </a:lnTo>
                      <a:lnTo>
                        <a:pt x="129" y="14"/>
                      </a:lnTo>
                      <a:lnTo>
                        <a:pt x="125" y="12"/>
                      </a:lnTo>
                      <a:lnTo>
                        <a:pt x="111" y="25"/>
                      </a:lnTo>
                      <a:lnTo>
                        <a:pt x="106" y="30"/>
                      </a:lnTo>
                      <a:lnTo>
                        <a:pt x="102" y="28"/>
                      </a:lnTo>
                      <a:lnTo>
                        <a:pt x="95" y="14"/>
                      </a:lnTo>
                      <a:lnTo>
                        <a:pt x="92" y="12"/>
                      </a:lnTo>
                      <a:lnTo>
                        <a:pt x="92" y="5"/>
                      </a:lnTo>
                      <a:lnTo>
                        <a:pt x="86" y="0"/>
                      </a:lnTo>
                      <a:lnTo>
                        <a:pt x="77" y="2"/>
                      </a:lnTo>
                      <a:lnTo>
                        <a:pt x="77" y="7"/>
                      </a:lnTo>
                      <a:lnTo>
                        <a:pt x="74" y="2"/>
                      </a:lnTo>
                      <a:lnTo>
                        <a:pt x="62" y="3"/>
                      </a:lnTo>
                      <a:lnTo>
                        <a:pt x="47" y="10"/>
                      </a:lnTo>
                      <a:lnTo>
                        <a:pt x="37" y="21"/>
                      </a:lnTo>
                      <a:lnTo>
                        <a:pt x="37" y="21"/>
                      </a:lnTo>
                      <a:lnTo>
                        <a:pt x="35" y="26"/>
                      </a:lnTo>
                      <a:lnTo>
                        <a:pt x="37" y="32"/>
                      </a:lnTo>
                      <a:lnTo>
                        <a:pt x="35" y="44"/>
                      </a:lnTo>
                      <a:lnTo>
                        <a:pt x="35" y="57"/>
                      </a:lnTo>
                      <a:lnTo>
                        <a:pt x="28" y="76"/>
                      </a:lnTo>
                      <a:lnTo>
                        <a:pt x="31" y="87"/>
                      </a:lnTo>
                      <a:lnTo>
                        <a:pt x="37" y="94"/>
                      </a:lnTo>
                      <a:lnTo>
                        <a:pt x="37" y="96"/>
                      </a:lnTo>
                      <a:lnTo>
                        <a:pt x="33" y="99"/>
                      </a:lnTo>
                      <a:lnTo>
                        <a:pt x="30" y="104"/>
                      </a:lnTo>
                      <a:lnTo>
                        <a:pt x="35" y="111"/>
                      </a:lnTo>
                      <a:lnTo>
                        <a:pt x="31" y="115"/>
                      </a:lnTo>
                      <a:lnTo>
                        <a:pt x="28" y="129"/>
                      </a:lnTo>
                      <a:lnTo>
                        <a:pt x="24" y="133"/>
                      </a:lnTo>
                      <a:lnTo>
                        <a:pt x="21" y="138"/>
                      </a:lnTo>
                      <a:lnTo>
                        <a:pt x="14" y="140"/>
                      </a:lnTo>
                      <a:lnTo>
                        <a:pt x="5" y="150"/>
                      </a:lnTo>
                      <a:lnTo>
                        <a:pt x="0" y="172"/>
                      </a:lnTo>
                      <a:lnTo>
                        <a:pt x="3" y="173"/>
                      </a:lnTo>
                      <a:lnTo>
                        <a:pt x="8" y="184"/>
                      </a:lnTo>
                      <a:lnTo>
                        <a:pt x="7" y="189"/>
                      </a:lnTo>
                      <a:lnTo>
                        <a:pt x="10" y="196"/>
                      </a:lnTo>
                      <a:lnTo>
                        <a:pt x="15" y="198"/>
                      </a:lnTo>
                      <a:lnTo>
                        <a:pt x="26" y="207"/>
                      </a:lnTo>
                      <a:lnTo>
                        <a:pt x="30" y="218"/>
                      </a:lnTo>
                      <a:lnTo>
                        <a:pt x="40" y="221"/>
                      </a:lnTo>
                      <a:lnTo>
                        <a:pt x="44" y="227"/>
                      </a:lnTo>
                      <a:lnTo>
                        <a:pt x="49" y="228"/>
                      </a:lnTo>
                      <a:lnTo>
                        <a:pt x="60" y="239"/>
                      </a:lnTo>
                      <a:lnTo>
                        <a:pt x="86" y="322"/>
                      </a:lnTo>
                      <a:lnTo>
                        <a:pt x="86" y="322"/>
                      </a:lnTo>
                      <a:close/>
                      <a:moveTo>
                        <a:pt x="122" y="166"/>
                      </a:moveTo>
                      <a:lnTo>
                        <a:pt x="124" y="163"/>
                      </a:lnTo>
                      <a:lnTo>
                        <a:pt x="131" y="163"/>
                      </a:lnTo>
                      <a:lnTo>
                        <a:pt x="134" y="166"/>
                      </a:lnTo>
                      <a:lnTo>
                        <a:pt x="129" y="170"/>
                      </a:lnTo>
                      <a:lnTo>
                        <a:pt x="122" y="16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2" name="Freeform 16">
                  <a:extLst>
                    <a:ext uri="{FF2B5EF4-FFF2-40B4-BE49-F238E27FC236}">
                      <a16:creationId xmlns:a16="http://schemas.microsoft.com/office/drawing/2014/main" id="{99E5FBEF-E11F-D9BC-9618-6641747670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18029" y="1395411"/>
                  <a:ext cx="1317628" cy="1279521"/>
                </a:xfrm>
                <a:custGeom>
                  <a:avLst/>
                  <a:gdLst>
                    <a:gd name="T0" fmla="*/ 820 w 830"/>
                    <a:gd name="T1" fmla="*/ 612 h 806"/>
                    <a:gd name="T2" fmla="*/ 802 w 830"/>
                    <a:gd name="T3" fmla="*/ 582 h 806"/>
                    <a:gd name="T4" fmla="*/ 761 w 830"/>
                    <a:gd name="T5" fmla="*/ 576 h 806"/>
                    <a:gd name="T6" fmla="*/ 751 w 830"/>
                    <a:gd name="T7" fmla="*/ 558 h 806"/>
                    <a:gd name="T8" fmla="*/ 749 w 830"/>
                    <a:gd name="T9" fmla="*/ 530 h 806"/>
                    <a:gd name="T10" fmla="*/ 729 w 830"/>
                    <a:gd name="T11" fmla="*/ 500 h 806"/>
                    <a:gd name="T12" fmla="*/ 729 w 830"/>
                    <a:gd name="T13" fmla="*/ 486 h 806"/>
                    <a:gd name="T14" fmla="*/ 742 w 830"/>
                    <a:gd name="T15" fmla="*/ 459 h 806"/>
                    <a:gd name="T16" fmla="*/ 742 w 830"/>
                    <a:gd name="T17" fmla="*/ 422 h 806"/>
                    <a:gd name="T18" fmla="*/ 736 w 830"/>
                    <a:gd name="T19" fmla="*/ 385 h 806"/>
                    <a:gd name="T20" fmla="*/ 729 w 830"/>
                    <a:gd name="T21" fmla="*/ 332 h 806"/>
                    <a:gd name="T22" fmla="*/ 729 w 830"/>
                    <a:gd name="T23" fmla="*/ 312 h 806"/>
                    <a:gd name="T24" fmla="*/ 687 w 830"/>
                    <a:gd name="T25" fmla="*/ 217 h 806"/>
                    <a:gd name="T26" fmla="*/ 669 w 830"/>
                    <a:gd name="T27" fmla="*/ 197 h 806"/>
                    <a:gd name="T28" fmla="*/ 650 w 830"/>
                    <a:gd name="T29" fmla="*/ 179 h 806"/>
                    <a:gd name="T30" fmla="*/ 643 w 830"/>
                    <a:gd name="T31" fmla="*/ 162 h 806"/>
                    <a:gd name="T32" fmla="*/ 664 w 830"/>
                    <a:gd name="T33" fmla="*/ 128 h 806"/>
                    <a:gd name="T34" fmla="*/ 674 w 830"/>
                    <a:gd name="T35" fmla="*/ 105 h 806"/>
                    <a:gd name="T36" fmla="*/ 676 w 830"/>
                    <a:gd name="T37" fmla="*/ 89 h 806"/>
                    <a:gd name="T38" fmla="*/ 674 w 830"/>
                    <a:gd name="T39" fmla="*/ 77 h 806"/>
                    <a:gd name="T40" fmla="*/ 678 w 830"/>
                    <a:gd name="T41" fmla="*/ 34 h 806"/>
                    <a:gd name="T42" fmla="*/ 680 w 830"/>
                    <a:gd name="T43" fmla="*/ 11 h 806"/>
                    <a:gd name="T44" fmla="*/ 660 w 830"/>
                    <a:gd name="T45" fmla="*/ 9 h 806"/>
                    <a:gd name="T46" fmla="*/ 621 w 830"/>
                    <a:gd name="T47" fmla="*/ 2 h 806"/>
                    <a:gd name="T48" fmla="*/ 600 w 830"/>
                    <a:gd name="T49" fmla="*/ 11 h 806"/>
                    <a:gd name="T50" fmla="*/ 584 w 830"/>
                    <a:gd name="T51" fmla="*/ 4 h 806"/>
                    <a:gd name="T52" fmla="*/ 570 w 830"/>
                    <a:gd name="T53" fmla="*/ 16 h 806"/>
                    <a:gd name="T54" fmla="*/ 550 w 830"/>
                    <a:gd name="T55" fmla="*/ 22 h 806"/>
                    <a:gd name="T56" fmla="*/ 524 w 830"/>
                    <a:gd name="T57" fmla="*/ 11 h 806"/>
                    <a:gd name="T58" fmla="*/ 499 w 830"/>
                    <a:gd name="T59" fmla="*/ 11 h 806"/>
                    <a:gd name="T60" fmla="*/ 483 w 830"/>
                    <a:gd name="T61" fmla="*/ 11 h 806"/>
                    <a:gd name="T62" fmla="*/ 462 w 830"/>
                    <a:gd name="T63" fmla="*/ 16 h 806"/>
                    <a:gd name="T64" fmla="*/ 435 w 830"/>
                    <a:gd name="T65" fmla="*/ 20 h 806"/>
                    <a:gd name="T66" fmla="*/ 402 w 830"/>
                    <a:gd name="T67" fmla="*/ 24 h 806"/>
                    <a:gd name="T68" fmla="*/ 364 w 830"/>
                    <a:gd name="T69" fmla="*/ 41 h 806"/>
                    <a:gd name="T70" fmla="*/ 348 w 830"/>
                    <a:gd name="T71" fmla="*/ 59 h 806"/>
                    <a:gd name="T72" fmla="*/ 336 w 830"/>
                    <a:gd name="T73" fmla="*/ 57 h 806"/>
                    <a:gd name="T74" fmla="*/ 317 w 830"/>
                    <a:gd name="T75" fmla="*/ 64 h 806"/>
                    <a:gd name="T76" fmla="*/ 301 w 830"/>
                    <a:gd name="T77" fmla="*/ 78 h 806"/>
                    <a:gd name="T78" fmla="*/ 269 w 830"/>
                    <a:gd name="T79" fmla="*/ 93 h 806"/>
                    <a:gd name="T80" fmla="*/ 279 w 830"/>
                    <a:gd name="T81" fmla="*/ 107 h 806"/>
                    <a:gd name="T82" fmla="*/ 281 w 830"/>
                    <a:gd name="T83" fmla="*/ 132 h 806"/>
                    <a:gd name="T84" fmla="*/ 286 w 830"/>
                    <a:gd name="T85" fmla="*/ 185 h 806"/>
                    <a:gd name="T86" fmla="*/ 301 w 830"/>
                    <a:gd name="T87" fmla="*/ 206 h 806"/>
                    <a:gd name="T88" fmla="*/ 313 w 830"/>
                    <a:gd name="T89" fmla="*/ 213 h 806"/>
                    <a:gd name="T90" fmla="*/ 304 w 830"/>
                    <a:gd name="T91" fmla="*/ 236 h 806"/>
                    <a:gd name="T92" fmla="*/ 235 w 830"/>
                    <a:gd name="T93" fmla="*/ 254 h 806"/>
                    <a:gd name="T94" fmla="*/ 223 w 830"/>
                    <a:gd name="T95" fmla="*/ 284 h 806"/>
                    <a:gd name="T96" fmla="*/ 147 w 830"/>
                    <a:gd name="T97" fmla="*/ 337 h 806"/>
                    <a:gd name="T98" fmla="*/ 81 w 830"/>
                    <a:gd name="T99" fmla="*/ 360 h 806"/>
                    <a:gd name="T100" fmla="*/ 38 w 830"/>
                    <a:gd name="T101" fmla="*/ 367 h 806"/>
                    <a:gd name="T102" fmla="*/ 0 w 830"/>
                    <a:gd name="T103" fmla="*/ 399 h 806"/>
                    <a:gd name="T104" fmla="*/ 0 w 830"/>
                    <a:gd name="T105" fmla="*/ 447 h 806"/>
                    <a:gd name="T106" fmla="*/ 150 w 830"/>
                    <a:gd name="T107" fmla="*/ 548 h 806"/>
                    <a:gd name="T108" fmla="*/ 425 w 830"/>
                    <a:gd name="T109" fmla="*/ 748 h 806"/>
                    <a:gd name="T110" fmla="*/ 460 w 830"/>
                    <a:gd name="T111" fmla="*/ 759 h 806"/>
                    <a:gd name="T112" fmla="*/ 487 w 830"/>
                    <a:gd name="T113" fmla="*/ 778 h 806"/>
                    <a:gd name="T114" fmla="*/ 485 w 830"/>
                    <a:gd name="T115" fmla="*/ 803 h 806"/>
                    <a:gd name="T116" fmla="*/ 529 w 830"/>
                    <a:gd name="T117" fmla="*/ 799 h 806"/>
                    <a:gd name="T118" fmla="*/ 593 w 830"/>
                    <a:gd name="T119" fmla="*/ 783 h 806"/>
                    <a:gd name="T120" fmla="*/ 830 w 830"/>
                    <a:gd name="T121" fmla="*/ 622 h 8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830" h="806">
                      <a:moveTo>
                        <a:pt x="830" y="622"/>
                      </a:moveTo>
                      <a:lnTo>
                        <a:pt x="825" y="617"/>
                      </a:lnTo>
                      <a:lnTo>
                        <a:pt x="820" y="612"/>
                      </a:lnTo>
                      <a:lnTo>
                        <a:pt x="814" y="608"/>
                      </a:lnTo>
                      <a:lnTo>
                        <a:pt x="807" y="590"/>
                      </a:lnTo>
                      <a:lnTo>
                        <a:pt x="802" y="582"/>
                      </a:lnTo>
                      <a:lnTo>
                        <a:pt x="795" y="576"/>
                      </a:lnTo>
                      <a:lnTo>
                        <a:pt x="779" y="576"/>
                      </a:lnTo>
                      <a:lnTo>
                        <a:pt x="761" y="576"/>
                      </a:lnTo>
                      <a:lnTo>
                        <a:pt x="758" y="571"/>
                      </a:lnTo>
                      <a:lnTo>
                        <a:pt x="756" y="564"/>
                      </a:lnTo>
                      <a:lnTo>
                        <a:pt x="751" y="558"/>
                      </a:lnTo>
                      <a:lnTo>
                        <a:pt x="751" y="546"/>
                      </a:lnTo>
                      <a:lnTo>
                        <a:pt x="752" y="541"/>
                      </a:lnTo>
                      <a:lnTo>
                        <a:pt x="749" y="530"/>
                      </a:lnTo>
                      <a:lnTo>
                        <a:pt x="747" y="528"/>
                      </a:lnTo>
                      <a:lnTo>
                        <a:pt x="738" y="512"/>
                      </a:lnTo>
                      <a:lnTo>
                        <a:pt x="729" y="500"/>
                      </a:lnTo>
                      <a:lnTo>
                        <a:pt x="722" y="493"/>
                      </a:lnTo>
                      <a:lnTo>
                        <a:pt x="726" y="489"/>
                      </a:lnTo>
                      <a:lnTo>
                        <a:pt x="729" y="486"/>
                      </a:lnTo>
                      <a:lnTo>
                        <a:pt x="738" y="479"/>
                      </a:lnTo>
                      <a:lnTo>
                        <a:pt x="742" y="473"/>
                      </a:lnTo>
                      <a:lnTo>
                        <a:pt x="742" y="459"/>
                      </a:lnTo>
                      <a:lnTo>
                        <a:pt x="736" y="449"/>
                      </a:lnTo>
                      <a:lnTo>
                        <a:pt x="738" y="445"/>
                      </a:lnTo>
                      <a:lnTo>
                        <a:pt x="742" y="422"/>
                      </a:lnTo>
                      <a:lnTo>
                        <a:pt x="736" y="410"/>
                      </a:lnTo>
                      <a:lnTo>
                        <a:pt x="735" y="388"/>
                      </a:lnTo>
                      <a:lnTo>
                        <a:pt x="736" y="385"/>
                      </a:lnTo>
                      <a:lnTo>
                        <a:pt x="735" y="369"/>
                      </a:lnTo>
                      <a:lnTo>
                        <a:pt x="735" y="342"/>
                      </a:lnTo>
                      <a:lnTo>
                        <a:pt x="729" y="332"/>
                      </a:lnTo>
                      <a:lnTo>
                        <a:pt x="726" y="330"/>
                      </a:lnTo>
                      <a:lnTo>
                        <a:pt x="726" y="316"/>
                      </a:lnTo>
                      <a:lnTo>
                        <a:pt x="729" y="312"/>
                      </a:lnTo>
                      <a:lnTo>
                        <a:pt x="703" y="229"/>
                      </a:lnTo>
                      <a:lnTo>
                        <a:pt x="692" y="218"/>
                      </a:lnTo>
                      <a:lnTo>
                        <a:pt x="687" y="217"/>
                      </a:lnTo>
                      <a:lnTo>
                        <a:pt x="683" y="211"/>
                      </a:lnTo>
                      <a:lnTo>
                        <a:pt x="673" y="208"/>
                      </a:lnTo>
                      <a:lnTo>
                        <a:pt x="669" y="197"/>
                      </a:lnTo>
                      <a:lnTo>
                        <a:pt x="658" y="188"/>
                      </a:lnTo>
                      <a:lnTo>
                        <a:pt x="653" y="186"/>
                      </a:lnTo>
                      <a:lnTo>
                        <a:pt x="650" y="179"/>
                      </a:lnTo>
                      <a:lnTo>
                        <a:pt x="651" y="174"/>
                      </a:lnTo>
                      <a:lnTo>
                        <a:pt x="646" y="163"/>
                      </a:lnTo>
                      <a:lnTo>
                        <a:pt x="643" y="162"/>
                      </a:lnTo>
                      <a:lnTo>
                        <a:pt x="648" y="140"/>
                      </a:lnTo>
                      <a:lnTo>
                        <a:pt x="657" y="130"/>
                      </a:lnTo>
                      <a:lnTo>
                        <a:pt x="664" y="128"/>
                      </a:lnTo>
                      <a:lnTo>
                        <a:pt x="667" y="123"/>
                      </a:lnTo>
                      <a:lnTo>
                        <a:pt x="671" y="119"/>
                      </a:lnTo>
                      <a:lnTo>
                        <a:pt x="674" y="105"/>
                      </a:lnTo>
                      <a:lnTo>
                        <a:pt x="678" y="101"/>
                      </a:lnTo>
                      <a:lnTo>
                        <a:pt x="673" y="94"/>
                      </a:lnTo>
                      <a:lnTo>
                        <a:pt x="676" y="89"/>
                      </a:lnTo>
                      <a:lnTo>
                        <a:pt x="680" y="86"/>
                      </a:lnTo>
                      <a:lnTo>
                        <a:pt x="680" y="84"/>
                      </a:lnTo>
                      <a:lnTo>
                        <a:pt x="674" y="77"/>
                      </a:lnTo>
                      <a:lnTo>
                        <a:pt x="671" y="66"/>
                      </a:lnTo>
                      <a:lnTo>
                        <a:pt x="678" y="47"/>
                      </a:lnTo>
                      <a:lnTo>
                        <a:pt x="678" y="34"/>
                      </a:lnTo>
                      <a:lnTo>
                        <a:pt x="680" y="22"/>
                      </a:lnTo>
                      <a:lnTo>
                        <a:pt x="678" y="16"/>
                      </a:lnTo>
                      <a:lnTo>
                        <a:pt x="680" y="11"/>
                      </a:lnTo>
                      <a:lnTo>
                        <a:pt x="678" y="8"/>
                      </a:lnTo>
                      <a:lnTo>
                        <a:pt x="666" y="11"/>
                      </a:lnTo>
                      <a:lnTo>
                        <a:pt x="660" y="9"/>
                      </a:lnTo>
                      <a:lnTo>
                        <a:pt x="643" y="15"/>
                      </a:lnTo>
                      <a:lnTo>
                        <a:pt x="634" y="6"/>
                      </a:lnTo>
                      <a:lnTo>
                        <a:pt x="621" y="2"/>
                      </a:lnTo>
                      <a:lnTo>
                        <a:pt x="621" y="6"/>
                      </a:lnTo>
                      <a:lnTo>
                        <a:pt x="614" y="13"/>
                      </a:lnTo>
                      <a:lnTo>
                        <a:pt x="600" y="11"/>
                      </a:lnTo>
                      <a:lnTo>
                        <a:pt x="598" y="6"/>
                      </a:lnTo>
                      <a:lnTo>
                        <a:pt x="593" y="0"/>
                      </a:lnTo>
                      <a:lnTo>
                        <a:pt x="584" y="4"/>
                      </a:lnTo>
                      <a:lnTo>
                        <a:pt x="582" y="9"/>
                      </a:lnTo>
                      <a:lnTo>
                        <a:pt x="575" y="11"/>
                      </a:lnTo>
                      <a:lnTo>
                        <a:pt x="570" y="16"/>
                      </a:lnTo>
                      <a:lnTo>
                        <a:pt x="565" y="15"/>
                      </a:lnTo>
                      <a:lnTo>
                        <a:pt x="559" y="15"/>
                      </a:lnTo>
                      <a:lnTo>
                        <a:pt x="550" y="22"/>
                      </a:lnTo>
                      <a:lnTo>
                        <a:pt x="542" y="22"/>
                      </a:lnTo>
                      <a:lnTo>
                        <a:pt x="536" y="13"/>
                      </a:lnTo>
                      <a:lnTo>
                        <a:pt x="524" y="11"/>
                      </a:lnTo>
                      <a:lnTo>
                        <a:pt x="519" y="11"/>
                      </a:lnTo>
                      <a:lnTo>
                        <a:pt x="508" y="13"/>
                      </a:lnTo>
                      <a:lnTo>
                        <a:pt x="499" y="11"/>
                      </a:lnTo>
                      <a:lnTo>
                        <a:pt x="496" y="11"/>
                      </a:lnTo>
                      <a:lnTo>
                        <a:pt x="488" y="9"/>
                      </a:lnTo>
                      <a:lnTo>
                        <a:pt x="483" y="11"/>
                      </a:lnTo>
                      <a:lnTo>
                        <a:pt x="478" y="20"/>
                      </a:lnTo>
                      <a:lnTo>
                        <a:pt x="469" y="20"/>
                      </a:lnTo>
                      <a:lnTo>
                        <a:pt x="462" y="16"/>
                      </a:lnTo>
                      <a:lnTo>
                        <a:pt x="451" y="27"/>
                      </a:lnTo>
                      <a:lnTo>
                        <a:pt x="446" y="25"/>
                      </a:lnTo>
                      <a:lnTo>
                        <a:pt x="435" y="20"/>
                      </a:lnTo>
                      <a:lnTo>
                        <a:pt x="426" y="24"/>
                      </a:lnTo>
                      <a:lnTo>
                        <a:pt x="410" y="25"/>
                      </a:lnTo>
                      <a:lnTo>
                        <a:pt x="402" y="24"/>
                      </a:lnTo>
                      <a:lnTo>
                        <a:pt x="382" y="39"/>
                      </a:lnTo>
                      <a:lnTo>
                        <a:pt x="370" y="39"/>
                      </a:lnTo>
                      <a:lnTo>
                        <a:pt x="364" y="41"/>
                      </a:lnTo>
                      <a:lnTo>
                        <a:pt x="354" y="47"/>
                      </a:lnTo>
                      <a:lnTo>
                        <a:pt x="354" y="54"/>
                      </a:lnTo>
                      <a:lnTo>
                        <a:pt x="348" y="59"/>
                      </a:lnTo>
                      <a:lnTo>
                        <a:pt x="345" y="59"/>
                      </a:lnTo>
                      <a:lnTo>
                        <a:pt x="341" y="57"/>
                      </a:lnTo>
                      <a:lnTo>
                        <a:pt x="336" y="57"/>
                      </a:lnTo>
                      <a:lnTo>
                        <a:pt x="331" y="61"/>
                      </a:lnTo>
                      <a:lnTo>
                        <a:pt x="329" y="64"/>
                      </a:lnTo>
                      <a:lnTo>
                        <a:pt x="317" y="64"/>
                      </a:lnTo>
                      <a:lnTo>
                        <a:pt x="308" y="70"/>
                      </a:lnTo>
                      <a:lnTo>
                        <a:pt x="302" y="75"/>
                      </a:lnTo>
                      <a:lnTo>
                        <a:pt x="301" y="78"/>
                      </a:lnTo>
                      <a:lnTo>
                        <a:pt x="294" y="87"/>
                      </a:lnTo>
                      <a:lnTo>
                        <a:pt x="279" y="93"/>
                      </a:lnTo>
                      <a:lnTo>
                        <a:pt x="269" y="93"/>
                      </a:lnTo>
                      <a:lnTo>
                        <a:pt x="272" y="96"/>
                      </a:lnTo>
                      <a:lnTo>
                        <a:pt x="274" y="101"/>
                      </a:lnTo>
                      <a:lnTo>
                        <a:pt x="279" y="107"/>
                      </a:lnTo>
                      <a:lnTo>
                        <a:pt x="279" y="116"/>
                      </a:lnTo>
                      <a:lnTo>
                        <a:pt x="281" y="117"/>
                      </a:lnTo>
                      <a:lnTo>
                        <a:pt x="281" y="132"/>
                      </a:lnTo>
                      <a:lnTo>
                        <a:pt x="281" y="148"/>
                      </a:lnTo>
                      <a:lnTo>
                        <a:pt x="283" y="155"/>
                      </a:lnTo>
                      <a:lnTo>
                        <a:pt x="286" y="185"/>
                      </a:lnTo>
                      <a:lnTo>
                        <a:pt x="292" y="197"/>
                      </a:lnTo>
                      <a:lnTo>
                        <a:pt x="295" y="204"/>
                      </a:lnTo>
                      <a:lnTo>
                        <a:pt x="301" y="206"/>
                      </a:lnTo>
                      <a:lnTo>
                        <a:pt x="306" y="211"/>
                      </a:lnTo>
                      <a:lnTo>
                        <a:pt x="310" y="211"/>
                      </a:lnTo>
                      <a:lnTo>
                        <a:pt x="313" y="213"/>
                      </a:lnTo>
                      <a:lnTo>
                        <a:pt x="310" y="225"/>
                      </a:lnTo>
                      <a:lnTo>
                        <a:pt x="310" y="227"/>
                      </a:lnTo>
                      <a:lnTo>
                        <a:pt x="304" y="236"/>
                      </a:lnTo>
                      <a:lnTo>
                        <a:pt x="255" y="236"/>
                      </a:lnTo>
                      <a:lnTo>
                        <a:pt x="246" y="238"/>
                      </a:lnTo>
                      <a:lnTo>
                        <a:pt x="235" y="254"/>
                      </a:lnTo>
                      <a:lnTo>
                        <a:pt x="226" y="261"/>
                      </a:lnTo>
                      <a:lnTo>
                        <a:pt x="223" y="270"/>
                      </a:lnTo>
                      <a:lnTo>
                        <a:pt x="223" y="284"/>
                      </a:lnTo>
                      <a:lnTo>
                        <a:pt x="219" y="291"/>
                      </a:lnTo>
                      <a:lnTo>
                        <a:pt x="191" y="312"/>
                      </a:lnTo>
                      <a:lnTo>
                        <a:pt x="147" y="337"/>
                      </a:lnTo>
                      <a:lnTo>
                        <a:pt x="113" y="357"/>
                      </a:lnTo>
                      <a:lnTo>
                        <a:pt x="97" y="360"/>
                      </a:lnTo>
                      <a:lnTo>
                        <a:pt x="81" y="360"/>
                      </a:lnTo>
                      <a:lnTo>
                        <a:pt x="74" y="364"/>
                      </a:lnTo>
                      <a:lnTo>
                        <a:pt x="62" y="364"/>
                      </a:lnTo>
                      <a:lnTo>
                        <a:pt x="38" y="367"/>
                      </a:lnTo>
                      <a:lnTo>
                        <a:pt x="28" y="376"/>
                      </a:lnTo>
                      <a:lnTo>
                        <a:pt x="19" y="387"/>
                      </a:lnTo>
                      <a:lnTo>
                        <a:pt x="0" y="399"/>
                      </a:lnTo>
                      <a:lnTo>
                        <a:pt x="0" y="434"/>
                      </a:lnTo>
                      <a:lnTo>
                        <a:pt x="0" y="434"/>
                      </a:lnTo>
                      <a:lnTo>
                        <a:pt x="0" y="447"/>
                      </a:lnTo>
                      <a:lnTo>
                        <a:pt x="0" y="447"/>
                      </a:lnTo>
                      <a:lnTo>
                        <a:pt x="0" y="447"/>
                      </a:lnTo>
                      <a:lnTo>
                        <a:pt x="150" y="548"/>
                      </a:lnTo>
                      <a:lnTo>
                        <a:pt x="150" y="548"/>
                      </a:lnTo>
                      <a:lnTo>
                        <a:pt x="421" y="727"/>
                      </a:lnTo>
                      <a:lnTo>
                        <a:pt x="425" y="748"/>
                      </a:lnTo>
                      <a:lnTo>
                        <a:pt x="434" y="755"/>
                      </a:lnTo>
                      <a:lnTo>
                        <a:pt x="449" y="755"/>
                      </a:lnTo>
                      <a:lnTo>
                        <a:pt x="460" y="759"/>
                      </a:lnTo>
                      <a:lnTo>
                        <a:pt x="469" y="767"/>
                      </a:lnTo>
                      <a:lnTo>
                        <a:pt x="478" y="771"/>
                      </a:lnTo>
                      <a:lnTo>
                        <a:pt x="487" y="778"/>
                      </a:lnTo>
                      <a:lnTo>
                        <a:pt x="487" y="783"/>
                      </a:lnTo>
                      <a:lnTo>
                        <a:pt x="481" y="796"/>
                      </a:lnTo>
                      <a:lnTo>
                        <a:pt x="485" y="803"/>
                      </a:lnTo>
                      <a:lnTo>
                        <a:pt x="494" y="806"/>
                      </a:lnTo>
                      <a:lnTo>
                        <a:pt x="513" y="805"/>
                      </a:lnTo>
                      <a:lnTo>
                        <a:pt x="529" y="799"/>
                      </a:lnTo>
                      <a:lnTo>
                        <a:pt x="529" y="799"/>
                      </a:lnTo>
                      <a:lnTo>
                        <a:pt x="529" y="799"/>
                      </a:lnTo>
                      <a:lnTo>
                        <a:pt x="593" y="783"/>
                      </a:lnTo>
                      <a:lnTo>
                        <a:pt x="644" y="737"/>
                      </a:lnTo>
                      <a:lnTo>
                        <a:pt x="830" y="622"/>
                      </a:lnTo>
                      <a:lnTo>
                        <a:pt x="830" y="62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3" name="Freeform 17">
                  <a:extLst>
                    <a:ext uri="{FF2B5EF4-FFF2-40B4-BE49-F238E27FC236}">
                      <a16:creationId xmlns:a16="http://schemas.microsoft.com/office/drawing/2014/main" id="{DEC30423-A2B6-8F44-D6B7-D58627BE0A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2915" y="1482724"/>
                  <a:ext cx="762001" cy="601661"/>
                </a:xfrm>
                <a:custGeom>
                  <a:avLst/>
                  <a:gdLst>
                    <a:gd name="T0" fmla="*/ 167 w 480"/>
                    <a:gd name="T1" fmla="*/ 344 h 379"/>
                    <a:gd name="T2" fmla="*/ 195 w 480"/>
                    <a:gd name="T3" fmla="*/ 321 h 379"/>
                    <a:gd name="T4" fmla="*/ 229 w 480"/>
                    <a:gd name="T5" fmla="*/ 309 h 379"/>
                    <a:gd name="T6" fmla="*/ 248 w 480"/>
                    <a:gd name="T7" fmla="*/ 305 h 379"/>
                    <a:gd name="T8" fmla="*/ 280 w 480"/>
                    <a:gd name="T9" fmla="*/ 302 h 379"/>
                    <a:gd name="T10" fmla="*/ 358 w 480"/>
                    <a:gd name="T11" fmla="*/ 257 h 379"/>
                    <a:gd name="T12" fmla="*/ 390 w 480"/>
                    <a:gd name="T13" fmla="*/ 229 h 379"/>
                    <a:gd name="T14" fmla="*/ 393 w 480"/>
                    <a:gd name="T15" fmla="*/ 206 h 379"/>
                    <a:gd name="T16" fmla="*/ 413 w 480"/>
                    <a:gd name="T17" fmla="*/ 183 h 379"/>
                    <a:gd name="T18" fmla="*/ 471 w 480"/>
                    <a:gd name="T19" fmla="*/ 181 h 379"/>
                    <a:gd name="T20" fmla="*/ 477 w 480"/>
                    <a:gd name="T21" fmla="*/ 170 h 379"/>
                    <a:gd name="T22" fmla="*/ 477 w 480"/>
                    <a:gd name="T23" fmla="*/ 156 h 379"/>
                    <a:gd name="T24" fmla="*/ 468 w 480"/>
                    <a:gd name="T25" fmla="*/ 151 h 379"/>
                    <a:gd name="T26" fmla="*/ 459 w 480"/>
                    <a:gd name="T27" fmla="*/ 142 h 379"/>
                    <a:gd name="T28" fmla="*/ 450 w 480"/>
                    <a:gd name="T29" fmla="*/ 100 h 379"/>
                    <a:gd name="T30" fmla="*/ 448 w 480"/>
                    <a:gd name="T31" fmla="*/ 77 h 379"/>
                    <a:gd name="T32" fmla="*/ 446 w 480"/>
                    <a:gd name="T33" fmla="*/ 61 h 379"/>
                    <a:gd name="T34" fmla="*/ 441 w 480"/>
                    <a:gd name="T35" fmla="*/ 46 h 379"/>
                    <a:gd name="T36" fmla="*/ 436 w 480"/>
                    <a:gd name="T37" fmla="*/ 38 h 379"/>
                    <a:gd name="T38" fmla="*/ 407 w 480"/>
                    <a:gd name="T39" fmla="*/ 36 h 379"/>
                    <a:gd name="T40" fmla="*/ 399 w 480"/>
                    <a:gd name="T41" fmla="*/ 22 h 379"/>
                    <a:gd name="T42" fmla="*/ 397 w 480"/>
                    <a:gd name="T43" fmla="*/ 22 h 379"/>
                    <a:gd name="T44" fmla="*/ 376 w 480"/>
                    <a:gd name="T45" fmla="*/ 32 h 379"/>
                    <a:gd name="T46" fmla="*/ 356 w 480"/>
                    <a:gd name="T47" fmla="*/ 29 h 379"/>
                    <a:gd name="T48" fmla="*/ 335 w 480"/>
                    <a:gd name="T49" fmla="*/ 34 h 379"/>
                    <a:gd name="T50" fmla="*/ 314 w 480"/>
                    <a:gd name="T51" fmla="*/ 20 h 379"/>
                    <a:gd name="T52" fmla="*/ 308 w 480"/>
                    <a:gd name="T53" fmla="*/ 11 h 379"/>
                    <a:gd name="T54" fmla="*/ 308 w 480"/>
                    <a:gd name="T55" fmla="*/ 4 h 379"/>
                    <a:gd name="T56" fmla="*/ 298 w 480"/>
                    <a:gd name="T57" fmla="*/ 4 h 379"/>
                    <a:gd name="T58" fmla="*/ 289 w 480"/>
                    <a:gd name="T59" fmla="*/ 6 h 379"/>
                    <a:gd name="T60" fmla="*/ 278 w 480"/>
                    <a:gd name="T61" fmla="*/ 38 h 379"/>
                    <a:gd name="T62" fmla="*/ 267 w 480"/>
                    <a:gd name="T63" fmla="*/ 66 h 379"/>
                    <a:gd name="T64" fmla="*/ 244 w 480"/>
                    <a:gd name="T65" fmla="*/ 94 h 379"/>
                    <a:gd name="T66" fmla="*/ 230 w 480"/>
                    <a:gd name="T67" fmla="*/ 101 h 379"/>
                    <a:gd name="T68" fmla="*/ 204 w 480"/>
                    <a:gd name="T69" fmla="*/ 117 h 379"/>
                    <a:gd name="T70" fmla="*/ 182 w 480"/>
                    <a:gd name="T71" fmla="*/ 130 h 379"/>
                    <a:gd name="T72" fmla="*/ 167 w 480"/>
                    <a:gd name="T73" fmla="*/ 140 h 379"/>
                    <a:gd name="T74" fmla="*/ 154 w 480"/>
                    <a:gd name="T75" fmla="*/ 169 h 379"/>
                    <a:gd name="T76" fmla="*/ 136 w 480"/>
                    <a:gd name="T77" fmla="*/ 193 h 379"/>
                    <a:gd name="T78" fmla="*/ 126 w 480"/>
                    <a:gd name="T79" fmla="*/ 225 h 379"/>
                    <a:gd name="T80" fmla="*/ 128 w 480"/>
                    <a:gd name="T81" fmla="*/ 254 h 379"/>
                    <a:gd name="T82" fmla="*/ 135 w 480"/>
                    <a:gd name="T83" fmla="*/ 264 h 379"/>
                    <a:gd name="T84" fmla="*/ 106 w 480"/>
                    <a:gd name="T85" fmla="*/ 305 h 379"/>
                    <a:gd name="T86" fmla="*/ 92 w 480"/>
                    <a:gd name="T87" fmla="*/ 330 h 379"/>
                    <a:gd name="T88" fmla="*/ 50 w 480"/>
                    <a:gd name="T89" fmla="*/ 356 h 379"/>
                    <a:gd name="T90" fmla="*/ 0 w 480"/>
                    <a:gd name="T91" fmla="*/ 378 h 379"/>
                    <a:gd name="T92" fmla="*/ 167 w 480"/>
                    <a:gd name="T93" fmla="*/ 379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480" h="379">
                      <a:moveTo>
                        <a:pt x="167" y="379"/>
                      </a:moveTo>
                      <a:lnTo>
                        <a:pt x="167" y="344"/>
                      </a:lnTo>
                      <a:lnTo>
                        <a:pt x="186" y="332"/>
                      </a:lnTo>
                      <a:lnTo>
                        <a:pt x="195" y="321"/>
                      </a:lnTo>
                      <a:lnTo>
                        <a:pt x="205" y="312"/>
                      </a:lnTo>
                      <a:lnTo>
                        <a:pt x="229" y="309"/>
                      </a:lnTo>
                      <a:lnTo>
                        <a:pt x="241" y="309"/>
                      </a:lnTo>
                      <a:lnTo>
                        <a:pt x="248" y="305"/>
                      </a:lnTo>
                      <a:lnTo>
                        <a:pt x="264" y="305"/>
                      </a:lnTo>
                      <a:lnTo>
                        <a:pt x="280" y="302"/>
                      </a:lnTo>
                      <a:lnTo>
                        <a:pt x="314" y="282"/>
                      </a:lnTo>
                      <a:lnTo>
                        <a:pt x="358" y="257"/>
                      </a:lnTo>
                      <a:lnTo>
                        <a:pt x="386" y="236"/>
                      </a:lnTo>
                      <a:lnTo>
                        <a:pt x="390" y="229"/>
                      </a:lnTo>
                      <a:lnTo>
                        <a:pt x="390" y="215"/>
                      </a:lnTo>
                      <a:lnTo>
                        <a:pt x="393" y="206"/>
                      </a:lnTo>
                      <a:lnTo>
                        <a:pt x="402" y="199"/>
                      </a:lnTo>
                      <a:lnTo>
                        <a:pt x="413" y="183"/>
                      </a:lnTo>
                      <a:lnTo>
                        <a:pt x="422" y="181"/>
                      </a:lnTo>
                      <a:lnTo>
                        <a:pt x="471" y="181"/>
                      </a:lnTo>
                      <a:lnTo>
                        <a:pt x="477" y="172"/>
                      </a:lnTo>
                      <a:lnTo>
                        <a:pt x="477" y="170"/>
                      </a:lnTo>
                      <a:lnTo>
                        <a:pt x="480" y="158"/>
                      </a:lnTo>
                      <a:lnTo>
                        <a:pt x="477" y="156"/>
                      </a:lnTo>
                      <a:lnTo>
                        <a:pt x="473" y="156"/>
                      </a:lnTo>
                      <a:lnTo>
                        <a:pt x="468" y="151"/>
                      </a:lnTo>
                      <a:lnTo>
                        <a:pt x="462" y="149"/>
                      </a:lnTo>
                      <a:lnTo>
                        <a:pt x="459" y="142"/>
                      </a:lnTo>
                      <a:lnTo>
                        <a:pt x="453" y="130"/>
                      </a:lnTo>
                      <a:lnTo>
                        <a:pt x="450" y="100"/>
                      </a:lnTo>
                      <a:lnTo>
                        <a:pt x="448" y="93"/>
                      </a:lnTo>
                      <a:lnTo>
                        <a:pt x="448" y="77"/>
                      </a:lnTo>
                      <a:lnTo>
                        <a:pt x="448" y="62"/>
                      </a:lnTo>
                      <a:lnTo>
                        <a:pt x="446" y="61"/>
                      </a:lnTo>
                      <a:lnTo>
                        <a:pt x="446" y="52"/>
                      </a:lnTo>
                      <a:lnTo>
                        <a:pt x="441" y="46"/>
                      </a:lnTo>
                      <a:lnTo>
                        <a:pt x="439" y="41"/>
                      </a:lnTo>
                      <a:lnTo>
                        <a:pt x="436" y="38"/>
                      </a:lnTo>
                      <a:lnTo>
                        <a:pt x="430" y="38"/>
                      </a:lnTo>
                      <a:lnTo>
                        <a:pt x="407" y="36"/>
                      </a:lnTo>
                      <a:lnTo>
                        <a:pt x="402" y="31"/>
                      </a:lnTo>
                      <a:lnTo>
                        <a:pt x="399" y="22"/>
                      </a:lnTo>
                      <a:lnTo>
                        <a:pt x="397" y="22"/>
                      </a:lnTo>
                      <a:lnTo>
                        <a:pt x="397" y="22"/>
                      </a:lnTo>
                      <a:lnTo>
                        <a:pt x="388" y="29"/>
                      </a:lnTo>
                      <a:lnTo>
                        <a:pt x="376" y="32"/>
                      </a:lnTo>
                      <a:lnTo>
                        <a:pt x="363" y="29"/>
                      </a:lnTo>
                      <a:lnTo>
                        <a:pt x="356" y="29"/>
                      </a:lnTo>
                      <a:lnTo>
                        <a:pt x="347" y="32"/>
                      </a:lnTo>
                      <a:lnTo>
                        <a:pt x="335" y="34"/>
                      </a:lnTo>
                      <a:lnTo>
                        <a:pt x="326" y="32"/>
                      </a:lnTo>
                      <a:lnTo>
                        <a:pt x="314" y="20"/>
                      </a:lnTo>
                      <a:lnTo>
                        <a:pt x="310" y="16"/>
                      </a:lnTo>
                      <a:lnTo>
                        <a:pt x="308" y="11"/>
                      </a:lnTo>
                      <a:lnTo>
                        <a:pt x="308" y="6"/>
                      </a:lnTo>
                      <a:lnTo>
                        <a:pt x="308" y="4"/>
                      </a:lnTo>
                      <a:lnTo>
                        <a:pt x="306" y="0"/>
                      </a:lnTo>
                      <a:lnTo>
                        <a:pt x="298" y="4"/>
                      </a:lnTo>
                      <a:lnTo>
                        <a:pt x="296" y="6"/>
                      </a:lnTo>
                      <a:lnTo>
                        <a:pt x="289" y="6"/>
                      </a:lnTo>
                      <a:lnTo>
                        <a:pt x="280" y="15"/>
                      </a:lnTo>
                      <a:lnTo>
                        <a:pt x="278" y="38"/>
                      </a:lnTo>
                      <a:lnTo>
                        <a:pt x="269" y="48"/>
                      </a:lnTo>
                      <a:lnTo>
                        <a:pt x="267" y="66"/>
                      </a:lnTo>
                      <a:lnTo>
                        <a:pt x="262" y="77"/>
                      </a:lnTo>
                      <a:lnTo>
                        <a:pt x="244" y="94"/>
                      </a:lnTo>
                      <a:lnTo>
                        <a:pt x="239" y="94"/>
                      </a:lnTo>
                      <a:lnTo>
                        <a:pt x="230" y="101"/>
                      </a:lnTo>
                      <a:lnTo>
                        <a:pt x="214" y="105"/>
                      </a:lnTo>
                      <a:lnTo>
                        <a:pt x="204" y="117"/>
                      </a:lnTo>
                      <a:lnTo>
                        <a:pt x="198" y="117"/>
                      </a:lnTo>
                      <a:lnTo>
                        <a:pt x="182" y="130"/>
                      </a:lnTo>
                      <a:lnTo>
                        <a:pt x="174" y="131"/>
                      </a:lnTo>
                      <a:lnTo>
                        <a:pt x="167" y="140"/>
                      </a:lnTo>
                      <a:lnTo>
                        <a:pt x="149" y="155"/>
                      </a:lnTo>
                      <a:lnTo>
                        <a:pt x="154" y="169"/>
                      </a:lnTo>
                      <a:lnTo>
                        <a:pt x="154" y="179"/>
                      </a:lnTo>
                      <a:lnTo>
                        <a:pt x="136" y="193"/>
                      </a:lnTo>
                      <a:lnTo>
                        <a:pt x="126" y="217"/>
                      </a:lnTo>
                      <a:lnTo>
                        <a:pt x="126" y="225"/>
                      </a:lnTo>
                      <a:lnTo>
                        <a:pt x="133" y="240"/>
                      </a:lnTo>
                      <a:lnTo>
                        <a:pt x="128" y="254"/>
                      </a:lnTo>
                      <a:lnTo>
                        <a:pt x="131" y="257"/>
                      </a:lnTo>
                      <a:lnTo>
                        <a:pt x="135" y="264"/>
                      </a:lnTo>
                      <a:lnTo>
                        <a:pt x="133" y="275"/>
                      </a:lnTo>
                      <a:lnTo>
                        <a:pt x="106" y="305"/>
                      </a:lnTo>
                      <a:lnTo>
                        <a:pt x="105" y="316"/>
                      </a:lnTo>
                      <a:lnTo>
                        <a:pt x="92" y="330"/>
                      </a:lnTo>
                      <a:lnTo>
                        <a:pt x="78" y="330"/>
                      </a:lnTo>
                      <a:lnTo>
                        <a:pt x="50" y="356"/>
                      </a:lnTo>
                      <a:lnTo>
                        <a:pt x="9" y="364"/>
                      </a:lnTo>
                      <a:lnTo>
                        <a:pt x="0" y="378"/>
                      </a:lnTo>
                      <a:lnTo>
                        <a:pt x="167" y="379"/>
                      </a:lnTo>
                      <a:lnTo>
                        <a:pt x="167" y="379"/>
                      </a:lnTo>
                      <a:lnTo>
                        <a:pt x="167" y="379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4" name="Freeform 18">
                  <a:extLst>
                    <a:ext uri="{FF2B5EF4-FFF2-40B4-BE49-F238E27FC236}">
                      <a16:creationId xmlns:a16="http://schemas.microsoft.com/office/drawing/2014/main" id="{D337A38C-51A0-589E-CC01-FFBFE68A2D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9865" y="2082795"/>
                  <a:ext cx="538164" cy="438149"/>
                </a:xfrm>
                <a:custGeom>
                  <a:avLst/>
                  <a:gdLst>
                    <a:gd name="T0" fmla="*/ 339 w 339"/>
                    <a:gd name="T1" fmla="*/ 14 h 276"/>
                    <a:gd name="T2" fmla="*/ 339 w 339"/>
                    <a:gd name="T3" fmla="*/ 1 h 276"/>
                    <a:gd name="T4" fmla="*/ 172 w 339"/>
                    <a:gd name="T5" fmla="*/ 0 h 276"/>
                    <a:gd name="T6" fmla="*/ 156 w 339"/>
                    <a:gd name="T7" fmla="*/ 23 h 276"/>
                    <a:gd name="T8" fmla="*/ 156 w 339"/>
                    <a:gd name="T9" fmla="*/ 39 h 276"/>
                    <a:gd name="T10" fmla="*/ 147 w 339"/>
                    <a:gd name="T11" fmla="*/ 39 h 276"/>
                    <a:gd name="T12" fmla="*/ 119 w 339"/>
                    <a:gd name="T13" fmla="*/ 55 h 276"/>
                    <a:gd name="T14" fmla="*/ 117 w 339"/>
                    <a:gd name="T15" fmla="*/ 62 h 276"/>
                    <a:gd name="T16" fmla="*/ 105 w 339"/>
                    <a:gd name="T17" fmla="*/ 69 h 276"/>
                    <a:gd name="T18" fmla="*/ 108 w 339"/>
                    <a:gd name="T19" fmla="*/ 79 h 276"/>
                    <a:gd name="T20" fmla="*/ 83 w 339"/>
                    <a:gd name="T21" fmla="*/ 117 h 276"/>
                    <a:gd name="T22" fmla="*/ 82 w 339"/>
                    <a:gd name="T23" fmla="*/ 129 h 276"/>
                    <a:gd name="T24" fmla="*/ 62 w 339"/>
                    <a:gd name="T25" fmla="*/ 147 h 276"/>
                    <a:gd name="T26" fmla="*/ 57 w 339"/>
                    <a:gd name="T27" fmla="*/ 150 h 276"/>
                    <a:gd name="T28" fmla="*/ 46 w 339"/>
                    <a:gd name="T29" fmla="*/ 172 h 276"/>
                    <a:gd name="T30" fmla="*/ 46 w 339"/>
                    <a:gd name="T31" fmla="*/ 179 h 276"/>
                    <a:gd name="T32" fmla="*/ 30 w 339"/>
                    <a:gd name="T33" fmla="*/ 200 h 276"/>
                    <a:gd name="T34" fmla="*/ 30 w 339"/>
                    <a:gd name="T35" fmla="*/ 203 h 276"/>
                    <a:gd name="T36" fmla="*/ 36 w 339"/>
                    <a:gd name="T37" fmla="*/ 209 h 276"/>
                    <a:gd name="T38" fmla="*/ 27 w 339"/>
                    <a:gd name="T39" fmla="*/ 211 h 276"/>
                    <a:gd name="T40" fmla="*/ 14 w 339"/>
                    <a:gd name="T41" fmla="*/ 235 h 276"/>
                    <a:gd name="T42" fmla="*/ 9 w 339"/>
                    <a:gd name="T43" fmla="*/ 235 h 276"/>
                    <a:gd name="T44" fmla="*/ 4 w 339"/>
                    <a:gd name="T45" fmla="*/ 242 h 276"/>
                    <a:gd name="T46" fmla="*/ 4 w 339"/>
                    <a:gd name="T47" fmla="*/ 253 h 276"/>
                    <a:gd name="T48" fmla="*/ 0 w 339"/>
                    <a:gd name="T49" fmla="*/ 262 h 276"/>
                    <a:gd name="T50" fmla="*/ 0 w 339"/>
                    <a:gd name="T51" fmla="*/ 276 h 276"/>
                    <a:gd name="T52" fmla="*/ 167 w 339"/>
                    <a:gd name="T53" fmla="*/ 274 h 276"/>
                    <a:gd name="T54" fmla="*/ 165 w 339"/>
                    <a:gd name="T55" fmla="*/ 198 h 276"/>
                    <a:gd name="T56" fmla="*/ 170 w 339"/>
                    <a:gd name="T57" fmla="*/ 187 h 276"/>
                    <a:gd name="T58" fmla="*/ 179 w 339"/>
                    <a:gd name="T59" fmla="*/ 180 h 276"/>
                    <a:gd name="T60" fmla="*/ 190 w 339"/>
                    <a:gd name="T61" fmla="*/ 179 h 276"/>
                    <a:gd name="T62" fmla="*/ 204 w 339"/>
                    <a:gd name="T63" fmla="*/ 179 h 276"/>
                    <a:gd name="T64" fmla="*/ 206 w 339"/>
                    <a:gd name="T65" fmla="*/ 71 h 276"/>
                    <a:gd name="T66" fmla="*/ 337 w 339"/>
                    <a:gd name="T67" fmla="*/ 72 h 276"/>
                    <a:gd name="T68" fmla="*/ 339 w 339"/>
                    <a:gd name="T69" fmla="*/ 14 h 276"/>
                    <a:gd name="T70" fmla="*/ 339 w 339"/>
                    <a:gd name="T71" fmla="*/ 14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39" h="276">
                      <a:moveTo>
                        <a:pt x="339" y="14"/>
                      </a:moveTo>
                      <a:lnTo>
                        <a:pt x="339" y="1"/>
                      </a:lnTo>
                      <a:lnTo>
                        <a:pt x="172" y="0"/>
                      </a:lnTo>
                      <a:lnTo>
                        <a:pt x="156" y="23"/>
                      </a:lnTo>
                      <a:lnTo>
                        <a:pt x="156" y="39"/>
                      </a:lnTo>
                      <a:lnTo>
                        <a:pt x="147" y="39"/>
                      </a:lnTo>
                      <a:lnTo>
                        <a:pt x="119" y="55"/>
                      </a:lnTo>
                      <a:lnTo>
                        <a:pt x="117" y="62"/>
                      </a:lnTo>
                      <a:lnTo>
                        <a:pt x="105" y="69"/>
                      </a:lnTo>
                      <a:lnTo>
                        <a:pt x="108" y="79"/>
                      </a:lnTo>
                      <a:lnTo>
                        <a:pt x="83" y="117"/>
                      </a:lnTo>
                      <a:lnTo>
                        <a:pt x="82" y="129"/>
                      </a:lnTo>
                      <a:lnTo>
                        <a:pt x="62" y="147"/>
                      </a:lnTo>
                      <a:lnTo>
                        <a:pt x="57" y="150"/>
                      </a:lnTo>
                      <a:lnTo>
                        <a:pt x="46" y="172"/>
                      </a:lnTo>
                      <a:lnTo>
                        <a:pt x="46" y="179"/>
                      </a:lnTo>
                      <a:lnTo>
                        <a:pt x="30" y="200"/>
                      </a:lnTo>
                      <a:lnTo>
                        <a:pt x="30" y="203"/>
                      </a:lnTo>
                      <a:lnTo>
                        <a:pt x="36" y="209"/>
                      </a:lnTo>
                      <a:lnTo>
                        <a:pt x="27" y="211"/>
                      </a:lnTo>
                      <a:lnTo>
                        <a:pt x="14" y="235"/>
                      </a:lnTo>
                      <a:lnTo>
                        <a:pt x="9" y="235"/>
                      </a:lnTo>
                      <a:lnTo>
                        <a:pt x="4" y="242"/>
                      </a:lnTo>
                      <a:lnTo>
                        <a:pt x="4" y="253"/>
                      </a:lnTo>
                      <a:lnTo>
                        <a:pt x="0" y="262"/>
                      </a:lnTo>
                      <a:lnTo>
                        <a:pt x="0" y="276"/>
                      </a:lnTo>
                      <a:lnTo>
                        <a:pt x="167" y="274"/>
                      </a:lnTo>
                      <a:lnTo>
                        <a:pt x="165" y="198"/>
                      </a:lnTo>
                      <a:lnTo>
                        <a:pt x="170" y="187"/>
                      </a:lnTo>
                      <a:lnTo>
                        <a:pt x="179" y="180"/>
                      </a:lnTo>
                      <a:lnTo>
                        <a:pt x="190" y="179"/>
                      </a:lnTo>
                      <a:lnTo>
                        <a:pt x="204" y="179"/>
                      </a:lnTo>
                      <a:lnTo>
                        <a:pt x="206" y="71"/>
                      </a:lnTo>
                      <a:lnTo>
                        <a:pt x="337" y="72"/>
                      </a:lnTo>
                      <a:lnTo>
                        <a:pt x="339" y="14"/>
                      </a:lnTo>
                      <a:lnTo>
                        <a:pt x="339" y="1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5" name="Freeform 19">
                  <a:extLst>
                    <a:ext uri="{FF2B5EF4-FFF2-40B4-BE49-F238E27FC236}">
                      <a16:creationId xmlns:a16="http://schemas.microsoft.com/office/drawing/2014/main" id="{C92F84DC-36E9-942B-4A05-832D33E384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5102" y="2105020"/>
                  <a:ext cx="781053" cy="854073"/>
                </a:xfrm>
                <a:custGeom>
                  <a:avLst/>
                  <a:gdLst>
                    <a:gd name="T0" fmla="*/ 170 w 492"/>
                    <a:gd name="T1" fmla="*/ 260 h 538"/>
                    <a:gd name="T2" fmla="*/ 173 w 492"/>
                    <a:gd name="T3" fmla="*/ 173 h 538"/>
                    <a:gd name="T4" fmla="*/ 193 w 492"/>
                    <a:gd name="T5" fmla="*/ 165 h 538"/>
                    <a:gd name="T6" fmla="*/ 209 w 492"/>
                    <a:gd name="T7" fmla="*/ 57 h 538"/>
                    <a:gd name="T8" fmla="*/ 342 w 492"/>
                    <a:gd name="T9" fmla="*/ 0 h 538"/>
                    <a:gd name="T10" fmla="*/ 492 w 492"/>
                    <a:gd name="T11" fmla="*/ 101 h 538"/>
                    <a:gd name="T12" fmla="*/ 441 w 492"/>
                    <a:gd name="T13" fmla="*/ 101 h 538"/>
                    <a:gd name="T14" fmla="*/ 485 w 492"/>
                    <a:gd name="T15" fmla="*/ 475 h 538"/>
                    <a:gd name="T16" fmla="*/ 324 w 492"/>
                    <a:gd name="T17" fmla="*/ 512 h 538"/>
                    <a:gd name="T18" fmla="*/ 315 w 492"/>
                    <a:gd name="T19" fmla="*/ 505 h 538"/>
                    <a:gd name="T20" fmla="*/ 303 w 492"/>
                    <a:gd name="T21" fmla="*/ 512 h 538"/>
                    <a:gd name="T22" fmla="*/ 297 w 492"/>
                    <a:gd name="T23" fmla="*/ 496 h 538"/>
                    <a:gd name="T24" fmla="*/ 267 w 492"/>
                    <a:gd name="T25" fmla="*/ 501 h 538"/>
                    <a:gd name="T26" fmla="*/ 253 w 492"/>
                    <a:gd name="T27" fmla="*/ 517 h 538"/>
                    <a:gd name="T28" fmla="*/ 244 w 492"/>
                    <a:gd name="T29" fmla="*/ 494 h 538"/>
                    <a:gd name="T30" fmla="*/ 221 w 492"/>
                    <a:gd name="T31" fmla="*/ 498 h 538"/>
                    <a:gd name="T32" fmla="*/ 223 w 492"/>
                    <a:gd name="T33" fmla="*/ 519 h 538"/>
                    <a:gd name="T34" fmla="*/ 205 w 492"/>
                    <a:gd name="T35" fmla="*/ 531 h 538"/>
                    <a:gd name="T36" fmla="*/ 194 w 492"/>
                    <a:gd name="T37" fmla="*/ 538 h 538"/>
                    <a:gd name="T38" fmla="*/ 182 w 492"/>
                    <a:gd name="T39" fmla="*/ 526 h 538"/>
                    <a:gd name="T40" fmla="*/ 173 w 492"/>
                    <a:gd name="T41" fmla="*/ 514 h 538"/>
                    <a:gd name="T42" fmla="*/ 163 w 492"/>
                    <a:gd name="T43" fmla="*/ 503 h 538"/>
                    <a:gd name="T44" fmla="*/ 154 w 492"/>
                    <a:gd name="T45" fmla="*/ 485 h 538"/>
                    <a:gd name="T46" fmla="*/ 143 w 492"/>
                    <a:gd name="T47" fmla="*/ 483 h 538"/>
                    <a:gd name="T48" fmla="*/ 132 w 492"/>
                    <a:gd name="T49" fmla="*/ 483 h 538"/>
                    <a:gd name="T50" fmla="*/ 127 w 492"/>
                    <a:gd name="T51" fmla="*/ 476 h 538"/>
                    <a:gd name="T52" fmla="*/ 108 w 492"/>
                    <a:gd name="T53" fmla="*/ 464 h 538"/>
                    <a:gd name="T54" fmla="*/ 81 w 492"/>
                    <a:gd name="T55" fmla="*/ 457 h 538"/>
                    <a:gd name="T56" fmla="*/ 37 w 492"/>
                    <a:gd name="T57" fmla="*/ 469 h 538"/>
                    <a:gd name="T58" fmla="*/ 23 w 492"/>
                    <a:gd name="T59" fmla="*/ 476 h 538"/>
                    <a:gd name="T60" fmla="*/ 19 w 492"/>
                    <a:gd name="T61" fmla="*/ 466 h 538"/>
                    <a:gd name="T62" fmla="*/ 35 w 492"/>
                    <a:gd name="T63" fmla="*/ 425 h 538"/>
                    <a:gd name="T64" fmla="*/ 30 w 492"/>
                    <a:gd name="T65" fmla="*/ 352 h 538"/>
                    <a:gd name="T66" fmla="*/ 23 w 492"/>
                    <a:gd name="T67" fmla="*/ 331 h 538"/>
                    <a:gd name="T68" fmla="*/ 31 w 492"/>
                    <a:gd name="T69" fmla="*/ 317 h 538"/>
                    <a:gd name="T70" fmla="*/ 33 w 492"/>
                    <a:gd name="T71" fmla="*/ 303 h 538"/>
                    <a:gd name="T72" fmla="*/ 16 w 492"/>
                    <a:gd name="T73" fmla="*/ 289 h 538"/>
                    <a:gd name="T74" fmla="*/ 8 w 492"/>
                    <a:gd name="T75" fmla="*/ 278 h 538"/>
                    <a:gd name="T76" fmla="*/ 0 w 492"/>
                    <a:gd name="T77" fmla="*/ 273 h 538"/>
                    <a:gd name="T78" fmla="*/ 3 w 492"/>
                    <a:gd name="T79" fmla="*/ 262 h 5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92" h="538">
                      <a:moveTo>
                        <a:pt x="3" y="262"/>
                      </a:moveTo>
                      <a:lnTo>
                        <a:pt x="170" y="260"/>
                      </a:lnTo>
                      <a:lnTo>
                        <a:pt x="168" y="184"/>
                      </a:lnTo>
                      <a:lnTo>
                        <a:pt x="173" y="173"/>
                      </a:lnTo>
                      <a:lnTo>
                        <a:pt x="182" y="166"/>
                      </a:lnTo>
                      <a:lnTo>
                        <a:pt x="193" y="165"/>
                      </a:lnTo>
                      <a:lnTo>
                        <a:pt x="207" y="165"/>
                      </a:lnTo>
                      <a:lnTo>
                        <a:pt x="209" y="57"/>
                      </a:lnTo>
                      <a:lnTo>
                        <a:pt x="340" y="58"/>
                      </a:lnTo>
                      <a:lnTo>
                        <a:pt x="342" y="0"/>
                      </a:lnTo>
                      <a:lnTo>
                        <a:pt x="492" y="101"/>
                      </a:lnTo>
                      <a:lnTo>
                        <a:pt x="492" y="101"/>
                      </a:lnTo>
                      <a:lnTo>
                        <a:pt x="490" y="101"/>
                      </a:lnTo>
                      <a:lnTo>
                        <a:pt x="441" y="101"/>
                      </a:lnTo>
                      <a:lnTo>
                        <a:pt x="473" y="466"/>
                      </a:lnTo>
                      <a:lnTo>
                        <a:pt x="485" y="475"/>
                      </a:lnTo>
                      <a:lnTo>
                        <a:pt x="473" y="512"/>
                      </a:lnTo>
                      <a:lnTo>
                        <a:pt x="324" y="512"/>
                      </a:lnTo>
                      <a:lnTo>
                        <a:pt x="320" y="510"/>
                      </a:lnTo>
                      <a:lnTo>
                        <a:pt x="315" y="505"/>
                      </a:lnTo>
                      <a:lnTo>
                        <a:pt x="310" y="505"/>
                      </a:lnTo>
                      <a:lnTo>
                        <a:pt x="303" y="512"/>
                      </a:lnTo>
                      <a:lnTo>
                        <a:pt x="299" y="508"/>
                      </a:lnTo>
                      <a:lnTo>
                        <a:pt x="297" y="496"/>
                      </a:lnTo>
                      <a:lnTo>
                        <a:pt x="288" y="492"/>
                      </a:lnTo>
                      <a:lnTo>
                        <a:pt x="267" y="501"/>
                      </a:lnTo>
                      <a:lnTo>
                        <a:pt x="256" y="521"/>
                      </a:lnTo>
                      <a:lnTo>
                        <a:pt x="253" y="517"/>
                      </a:lnTo>
                      <a:lnTo>
                        <a:pt x="246" y="505"/>
                      </a:lnTo>
                      <a:lnTo>
                        <a:pt x="244" y="494"/>
                      </a:lnTo>
                      <a:lnTo>
                        <a:pt x="235" y="494"/>
                      </a:lnTo>
                      <a:lnTo>
                        <a:pt x="221" y="498"/>
                      </a:lnTo>
                      <a:lnTo>
                        <a:pt x="221" y="514"/>
                      </a:lnTo>
                      <a:lnTo>
                        <a:pt x="223" y="519"/>
                      </a:lnTo>
                      <a:lnTo>
                        <a:pt x="217" y="531"/>
                      </a:lnTo>
                      <a:lnTo>
                        <a:pt x="205" y="531"/>
                      </a:lnTo>
                      <a:lnTo>
                        <a:pt x="194" y="538"/>
                      </a:lnTo>
                      <a:lnTo>
                        <a:pt x="194" y="538"/>
                      </a:lnTo>
                      <a:lnTo>
                        <a:pt x="193" y="533"/>
                      </a:lnTo>
                      <a:lnTo>
                        <a:pt x="182" y="526"/>
                      </a:lnTo>
                      <a:lnTo>
                        <a:pt x="175" y="522"/>
                      </a:lnTo>
                      <a:lnTo>
                        <a:pt x="173" y="514"/>
                      </a:lnTo>
                      <a:lnTo>
                        <a:pt x="163" y="512"/>
                      </a:lnTo>
                      <a:lnTo>
                        <a:pt x="163" y="503"/>
                      </a:lnTo>
                      <a:lnTo>
                        <a:pt x="155" y="496"/>
                      </a:lnTo>
                      <a:lnTo>
                        <a:pt x="154" y="485"/>
                      </a:lnTo>
                      <a:lnTo>
                        <a:pt x="150" y="482"/>
                      </a:lnTo>
                      <a:lnTo>
                        <a:pt x="143" y="483"/>
                      </a:lnTo>
                      <a:lnTo>
                        <a:pt x="140" y="482"/>
                      </a:lnTo>
                      <a:lnTo>
                        <a:pt x="132" y="483"/>
                      </a:lnTo>
                      <a:lnTo>
                        <a:pt x="127" y="482"/>
                      </a:lnTo>
                      <a:lnTo>
                        <a:pt x="127" y="476"/>
                      </a:lnTo>
                      <a:lnTo>
                        <a:pt x="118" y="466"/>
                      </a:lnTo>
                      <a:lnTo>
                        <a:pt x="108" y="464"/>
                      </a:lnTo>
                      <a:lnTo>
                        <a:pt x="88" y="457"/>
                      </a:lnTo>
                      <a:lnTo>
                        <a:pt x="81" y="457"/>
                      </a:lnTo>
                      <a:lnTo>
                        <a:pt x="60" y="466"/>
                      </a:lnTo>
                      <a:lnTo>
                        <a:pt x="37" y="469"/>
                      </a:lnTo>
                      <a:lnTo>
                        <a:pt x="30" y="476"/>
                      </a:lnTo>
                      <a:lnTo>
                        <a:pt x="23" y="476"/>
                      </a:lnTo>
                      <a:lnTo>
                        <a:pt x="16" y="482"/>
                      </a:lnTo>
                      <a:lnTo>
                        <a:pt x="19" y="466"/>
                      </a:lnTo>
                      <a:lnTo>
                        <a:pt x="24" y="439"/>
                      </a:lnTo>
                      <a:lnTo>
                        <a:pt x="35" y="425"/>
                      </a:lnTo>
                      <a:lnTo>
                        <a:pt x="39" y="397"/>
                      </a:lnTo>
                      <a:lnTo>
                        <a:pt x="30" y="352"/>
                      </a:lnTo>
                      <a:lnTo>
                        <a:pt x="17" y="335"/>
                      </a:lnTo>
                      <a:lnTo>
                        <a:pt x="23" y="331"/>
                      </a:lnTo>
                      <a:lnTo>
                        <a:pt x="28" y="331"/>
                      </a:lnTo>
                      <a:lnTo>
                        <a:pt x="31" y="317"/>
                      </a:lnTo>
                      <a:lnTo>
                        <a:pt x="28" y="308"/>
                      </a:lnTo>
                      <a:lnTo>
                        <a:pt x="33" y="303"/>
                      </a:lnTo>
                      <a:lnTo>
                        <a:pt x="21" y="285"/>
                      </a:lnTo>
                      <a:lnTo>
                        <a:pt x="16" y="289"/>
                      </a:lnTo>
                      <a:lnTo>
                        <a:pt x="12" y="287"/>
                      </a:lnTo>
                      <a:lnTo>
                        <a:pt x="8" y="278"/>
                      </a:lnTo>
                      <a:lnTo>
                        <a:pt x="0" y="289"/>
                      </a:lnTo>
                      <a:lnTo>
                        <a:pt x="0" y="273"/>
                      </a:lnTo>
                      <a:lnTo>
                        <a:pt x="3" y="262"/>
                      </a:lnTo>
                      <a:lnTo>
                        <a:pt x="3" y="26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6" name="Freeform 20">
                  <a:extLst>
                    <a:ext uri="{FF2B5EF4-FFF2-40B4-BE49-F238E27FC236}">
                      <a16:creationId xmlns:a16="http://schemas.microsoft.com/office/drawing/2014/main" id="{3CAE2497-BE51-67A4-FADB-68310CEA6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83078" y="2265357"/>
                  <a:ext cx="1074741" cy="995358"/>
                </a:xfrm>
                <a:custGeom>
                  <a:avLst/>
                  <a:gdLst>
                    <a:gd name="T0" fmla="*/ 23 w 677"/>
                    <a:gd name="T1" fmla="*/ 430 h 627"/>
                    <a:gd name="T2" fmla="*/ 27 w 677"/>
                    <a:gd name="T3" fmla="*/ 397 h 627"/>
                    <a:gd name="T4" fmla="*/ 52 w 677"/>
                    <a:gd name="T5" fmla="*/ 404 h 627"/>
                    <a:gd name="T6" fmla="*/ 73 w 677"/>
                    <a:gd name="T7" fmla="*/ 400 h 627"/>
                    <a:gd name="T8" fmla="*/ 105 w 677"/>
                    <a:gd name="T9" fmla="*/ 407 h 627"/>
                    <a:gd name="T10" fmla="*/ 121 w 677"/>
                    <a:gd name="T11" fmla="*/ 404 h 627"/>
                    <a:gd name="T12" fmla="*/ 279 w 677"/>
                    <a:gd name="T13" fmla="*/ 411 h 627"/>
                    <a:gd name="T14" fmla="*/ 247 w 677"/>
                    <a:gd name="T15" fmla="*/ 0 h 627"/>
                    <a:gd name="T16" fmla="*/ 573 w 677"/>
                    <a:gd name="T17" fmla="*/ 200 h 627"/>
                    <a:gd name="T18" fmla="*/ 608 w 677"/>
                    <a:gd name="T19" fmla="*/ 211 h 627"/>
                    <a:gd name="T20" fmla="*/ 635 w 677"/>
                    <a:gd name="T21" fmla="*/ 230 h 627"/>
                    <a:gd name="T22" fmla="*/ 633 w 677"/>
                    <a:gd name="T23" fmla="*/ 255 h 627"/>
                    <a:gd name="T24" fmla="*/ 677 w 677"/>
                    <a:gd name="T25" fmla="*/ 251 h 627"/>
                    <a:gd name="T26" fmla="*/ 672 w 677"/>
                    <a:gd name="T27" fmla="*/ 368 h 627"/>
                    <a:gd name="T28" fmla="*/ 661 w 677"/>
                    <a:gd name="T29" fmla="*/ 397 h 627"/>
                    <a:gd name="T30" fmla="*/ 617 w 677"/>
                    <a:gd name="T31" fmla="*/ 414 h 627"/>
                    <a:gd name="T32" fmla="*/ 578 w 677"/>
                    <a:gd name="T33" fmla="*/ 423 h 627"/>
                    <a:gd name="T34" fmla="*/ 530 w 677"/>
                    <a:gd name="T35" fmla="*/ 430 h 627"/>
                    <a:gd name="T36" fmla="*/ 516 w 677"/>
                    <a:gd name="T37" fmla="*/ 427 h 627"/>
                    <a:gd name="T38" fmla="*/ 486 w 677"/>
                    <a:gd name="T39" fmla="*/ 423 h 627"/>
                    <a:gd name="T40" fmla="*/ 443 w 677"/>
                    <a:gd name="T41" fmla="*/ 443 h 627"/>
                    <a:gd name="T42" fmla="*/ 385 w 677"/>
                    <a:gd name="T43" fmla="*/ 483 h 627"/>
                    <a:gd name="T44" fmla="*/ 346 w 677"/>
                    <a:gd name="T45" fmla="*/ 489 h 627"/>
                    <a:gd name="T46" fmla="*/ 330 w 677"/>
                    <a:gd name="T47" fmla="*/ 514 h 627"/>
                    <a:gd name="T48" fmla="*/ 309 w 677"/>
                    <a:gd name="T49" fmla="*/ 553 h 627"/>
                    <a:gd name="T50" fmla="*/ 293 w 677"/>
                    <a:gd name="T51" fmla="*/ 574 h 627"/>
                    <a:gd name="T52" fmla="*/ 286 w 677"/>
                    <a:gd name="T53" fmla="*/ 597 h 627"/>
                    <a:gd name="T54" fmla="*/ 282 w 677"/>
                    <a:gd name="T55" fmla="*/ 616 h 627"/>
                    <a:gd name="T56" fmla="*/ 259 w 677"/>
                    <a:gd name="T57" fmla="*/ 618 h 627"/>
                    <a:gd name="T58" fmla="*/ 236 w 677"/>
                    <a:gd name="T59" fmla="*/ 616 h 627"/>
                    <a:gd name="T60" fmla="*/ 215 w 677"/>
                    <a:gd name="T61" fmla="*/ 623 h 627"/>
                    <a:gd name="T62" fmla="*/ 188 w 677"/>
                    <a:gd name="T63" fmla="*/ 625 h 627"/>
                    <a:gd name="T64" fmla="*/ 174 w 677"/>
                    <a:gd name="T65" fmla="*/ 615 h 627"/>
                    <a:gd name="T66" fmla="*/ 171 w 677"/>
                    <a:gd name="T67" fmla="*/ 597 h 627"/>
                    <a:gd name="T68" fmla="*/ 153 w 677"/>
                    <a:gd name="T69" fmla="*/ 604 h 627"/>
                    <a:gd name="T70" fmla="*/ 165 w 677"/>
                    <a:gd name="T71" fmla="*/ 577 h 627"/>
                    <a:gd name="T72" fmla="*/ 155 w 677"/>
                    <a:gd name="T73" fmla="*/ 561 h 627"/>
                    <a:gd name="T74" fmla="*/ 140 w 677"/>
                    <a:gd name="T75" fmla="*/ 540 h 627"/>
                    <a:gd name="T76" fmla="*/ 117 w 677"/>
                    <a:gd name="T77" fmla="*/ 540 h 627"/>
                    <a:gd name="T78" fmla="*/ 96 w 677"/>
                    <a:gd name="T79" fmla="*/ 553 h 627"/>
                    <a:gd name="T80" fmla="*/ 68 w 677"/>
                    <a:gd name="T81" fmla="*/ 553 h 627"/>
                    <a:gd name="T82" fmla="*/ 48 w 677"/>
                    <a:gd name="T83" fmla="*/ 553 h 627"/>
                    <a:gd name="T84" fmla="*/ 50 w 677"/>
                    <a:gd name="T85" fmla="*/ 540 h 627"/>
                    <a:gd name="T86" fmla="*/ 43 w 677"/>
                    <a:gd name="T87" fmla="*/ 522 h 627"/>
                    <a:gd name="T88" fmla="*/ 36 w 677"/>
                    <a:gd name="T89" fmla="*/ 505 h 627"/>
                    <a:gd name="T90" fmla="*/ 20 w 677"/>
                    <a:gd name="T91" fmla="*/ 498 h 627"/>
                    <a:gd name="T92" fmla="*/ 6 w 677"/>
                    <a:gd name="T93" fmla="*/ 473 h 627"/>
                    <a:gd name="T94" fmla="*/ 8 w 677"/>
                    <a:gd name="T95" fmla="*/ 443 h 6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677" h="627">
                      <a:moveTo>
                        <a:pt x="0" y="437"/>
                      </a:moveTo>
                      <a:lnTo>
                        <a:pt x="11" y="430"/>
                      </a:lnTo>
                      <a:lnTo>
                        <a:pt x="23" y="430"/>
                      </a:lnTo>
                      <a:lnTo>
                        <a:pt x="29" y="418"/>
                      </a:lnTo>
                      <a:lnTo>
                        <a:pt x="27" y="413"/>
                      </a:lnTo>
                      <a:lnTo>
                        <a:pt x="27" y="397"/>
                      </a:lnTo>
                      <a:lnTo>
                        <a:pt x="41" y="393"/>
                      </a:lnTo>
                      <a:lnTo>
                        <a:pt x="50" y="393"/>
                      </a:lnTo>
                      <a:lnTo>
                        <a:pt x="52" y="404"/>
                      </a:lnTo>
                      <a:lnTo>
                        <a:pt x="59" y="416"/>
                      </a:lnTo>
                      <a:lnTo>
                        <a:pt x="62" y="420"/>
                      </a:lnTo>
                      <a:lnTo>
                        <a:pt x="73" y="400"/>
                      </a:lnTo>
                      <a:lnTo>
                        <a:pt x="94" y="391"/>
                      </a:lnTo>
                      <a:lnTo>
                        <a:pt x="103" y="395"/>
                      </a:lnTo>
                      <a:lnTo>
                        <a:pt x="105" y="407"/>
                      </a:lnTo>
                      <a:lnTo>
                        <a:pt x="109" y="411"/>
                      </a:lnTo>
                      <a:lnTo>
                        <a:pt x="116" y="404"/>
                      </a:lnTo>
                      <a:lnTo>
                        <a:pt x="121" y="404"/>
                      </a:lnTo>
                      <a:lnTo>
                        <a:pt x="126" y="409"/>
                      </a:lnTo>
                      <a:lnTo>
                        <a:pt x="130" y="411"/>
                      </a:lnTo>
                      <a:lnTo>
                        <a:pt x="279" y="411"/>
                      </a:lnTo>
                      <a:lnTo>
                        <a:pt x="291" y="374"/>
                      </a:lnTo>
                      <a:lnTo>
                        <a:pt x="279" y="365"/>
                      </a:lnTo>
                      <a:lnTo>
                        <a:pt x="247" y="0"/>
                      </a:lnTo>
                      <a:lnTo>
                        <a:pt x="296" y="0"/>
                      </a:lnTo>
                      <a:lnTo>
                        <a:pt x="569" y="179"/>
                      </a:lnTo>
                      <a:lnTo>
                        <a:pt x="573" y="200"/>
                      </a:lnTo>
                      <a:lnTo>
                        <a:pt x="582" y="207"/>
                      </a:lnTo>
                      <a:lnTo>
                        <a:pt x="597" y="207"/>
                      </a:lnTo>
                      <a:lnTo>
                        <a:pt x="608" y="211"/>
                      </a:lnTo>
                      <a:lnTo>
                        <a:pt x="617" y="219"/>
                      </a:lnTo>
                      <a:lnTo>
                        <a:pt x="626" y="223"/>
                      </a:lnTo>
                      <a:lnTo>
                        <a:pt x="635" y="230"/>
                      </a:lnTo>
                      <a:lnTo>
                        <a:pt x="635" y="235"/>
                      </a:lnTo>
                      <a:lnTo>
                        <a:pt x="629" y="248"/>
                      </a:lnTo>
                      <a:lnTo>
                        <a:pt x="633" y="255"/>
                      </a:lnTo>
                      <a:lnTo>
                        <a:pt x="642" y="258"/>
                      </a:lnTo>
                      <a:lnTo>
                        <a:pt x="661" y="257"/>
                      </a:lnTo>
                      <a:lnTo>
                        <a:pt x="677" y="251"/>
                      </a:lnTo>
                      <a:lnTo>
                        <a:pt x="677" y="251"/>
                      </a:lnTo>
                      <a:lnTo>
                        <a:pt x="675" y="331"/>
                      </a:lnTo>
                      <a:lnTo>
                        <a:pt x="672" y="368"/>
                      </a:lnTo>
                      <a:lnTo>
                        <a:pt x="665" y="372"/>
                      </a:lnTo>
                      <a:lnTo>
                        <a:pt x="665" y="388"/>
                      </a:lnTo>
                      <a:lnTo>
                        <a:pt x="661" y="397"/>
                      </a:lnTo>
                      <a:lnTo>
                        <a:pt x="642" y="407"/>
                      </a:lnTo>
                      <a:lnTo>
                        <a:pt x="629" y="414"/>
                      </a:lnTo>
                      <a:lnTo>
                        <a:pt x="617" y="414"/>
                      </a:lnTo>
                      <a:lnTo>
                        <a:pt x="605" y="423"/>
                      </a:lnTo>
                      <a:lnTo>
                        <a:pt x="596" y="423"/>
                      </a:lnTo>
                      <a:lnTo>
                        <a:pt x="578" y="423"/>
                      </a:lnTo>
                      <a:lnTo>
                        <a:pt x="567" y="429"/>
                      </a:lnTo>
                      <a:lnTo>
                        <a:pt x="558" y="427"/>
                      </a:lnTo>
                      <a:lnTo>
                        <a:pt x="530" y="430"/>
                      </a:lnTo>
                      <a:lnTo>
                        <a:pt x="520" y="427"/>
                      </a:lnTo>
                      <a:lnTo>
                        <a:pt x="518" y="430"/>
                      </a:lnTo>
                      <a:lnTo>
                        <a:pt x="516" y="427"/>
                      </a:lnTo>
                      <a:lnTo>
                        <a:pt x="507" y="427"/>
                      </a:lnTo>
                      <a:lnTo>
                        <a:pt x="496" y="423"/>
                      </a:lnTo>
                      <a:lnTo>
                        <a:pt x="486" y="423"/>
                      </a:lnTo>
                      <a:lnTo>
                        <a:pt x="466" y="427"/>
                      </a:lnTo>
                      <a:lnTo>
                        <a:pt x="454" y="434"/>
                      </a:lnTo>
                      <a:lnTo>
                        <a:pt x="443" y="443"/>
                      </a:lnTo>
                      <a:lnTo>
                        <a:pt x="411" y="460"/>
                      </a:lnTo>
                      <a:lnTo>
                        <a:pt x="388" y="475"/>
                      </a:lnTo>
                      <a:lnTo>
                        <a:pt x="385" y="483"/>
                      </a:lnTo>
                      <a:lnTo>
                        <a:pt x="364" y="491"/>
                      </a:lnTo>
                      <a:lnTo>
                        <a:pt x="358" y="489"/>
                      </a:lnTo>
                      <a:lnTo>
                        <a:pt x="346" y="489"/>
                      </a:lnTo>
                      <a:lnTo>
                        <a:pt x="344" y="494"/>
                      </a:lnTo>
                      <a:lnTo>
                        <a:pt x="339" y="496"/>
                      </a:lnTo>
                      <a:lnTo>
                        <a:pt x="330" y="514"/>
                      </a:lnTo>
                      <a:lnTo>
                        <a:pt x="330" y="519"/>
                      </a:lnTo>
                      <a:lnTo>
                        <a:pt x="321" y="531"/>
                      </a:lnTo>
                      <a:lnTo>
                        <a:pt x="309" y="553"/>
                      </a:lnTo>
                      <a:lnTo>
                        <a:pt x="298" y="561"/>
                      </a:lnTo>
                      <a:lnTo>
                        <a:pt x="291" y="567"/>
                      </a:lnTo>
                      <a:lnTo>
                        <a:pt x="293" y="574"/>
                      </a:lnTo>
                      <a:lnTo>
                        <a:pt x="295" y="586"/>
                      </a:lnTo>
                      <a:lnTo>
                        <a:pt x="287" y="588"/>
                      </a:lnTo>
                      <a:lnTo>
                        <a:pt x="286" y="597"/>
                      </a:lnTo>
                      <a:lnTo>
                        <a:pt x="289" y="602"/>
                      </a:lnTo>
                      <a:lnTo>
                        <a:pt x="287" y="613"/>
                      </a:lnTo>
                      <a:lnTo>
                        <a:pt x="282" y="616"/>
                      </a:lnTo>
                      <a:lnTo>
                        <a:pt x="275" y="627"/>
                      </a:lnTo>
                      <a:lnTo>
                        <a:pt x="261" y="623"/>
                      </a:lnTo>
                      <a:lnTo>
                        <a:pt x="259" y="618"/>
                      </a:lnTo>
                      <a:lnTo>
                        <a:pt x="261" y="616"/>
                      </a:lnTo>
                      <a:lnTo>
                        <a:pt x="250" y="615"/>
                      </a:lnTo>
                      <a:lnTo>
                        <a:pt x="236" y="616"/>
                      </a:lnTo>
                      <a:lnTo>
                        <a:pt x="236" y="622"/>
                      </a:lnTo>
                      <a:lnTo>
                        <a:pt x="233" y="623"/>
                      </a:lnTo>
                      <a:lnTo>
                        <a:pt x="215" y="623"/>
                      </a:lnTo>
                      <a:lnTo>
                        <a:pt x="206" y="618"/>
                      </a:lnTo>
                      <a:lnTo>
                        <a:pt x="201" y="618"/>
                      </a:lnTo>
                      <a:lnTo>
                        <a:pt x="188" y="625"/>
                      </a:lnTo>
                      <a:lnTo>
                        <a:pt x="188" y="620"/>
                      </a:lnTo>
                      <a:lnTo>
                        <a:pt x="185" y="615"/>
                      </a:lnTo>
                      <a:lnTo>
                        <a:pt x="174" y="615"/>
                      </a:lnTo>
                      <a:lnTo>
                        <a:pt x="174" y="609"/>
                      </a:lnTo>
                      <a:lnTo>
                        <a:pt x="171" y="606"/>
                      </a:lnTo>
                      <a:lnTo>
                        <a:pt x="171" y="597"/>
                      </a:lnTo>
                      <a:lnTo>
                        <a:pt x="165" y="597"/>
                      </a:lnTo>
                      <a:lnTo>
                        <a:pt x="160" y="602"/>
                      </a:lnTo>
                      <a:lnTo>
                        <a:pt x="153" y="604"/>
                      </a:lnTo>
                      <a:lnTo>
                        <a:pt x="158" y="593"/>
                      </a:lnTo>
                      <a:lnTo>
                        <a:pt x="165" y="583"/>
                      </a:lnTo>
                      <a:lnTo>
                        <a:pt x="165" y="577"/>
                      </a:lnTo>
                      <a:lnTo>
                        <a:pt x="156" y="576"/>
                      </a:lnTo>
                      <a:lnTo>
                        <a:pt x="151" y="572"/>
                      </a:lnTo>
                      <a:lnTo>
                        <a:pt x="155" y="561"/>
                      </a:lnTo>
                      <a:lnTo>
                        <a:pt x="149" y="553"/>
                      </a:lnTo>
                      <a:lnTo>
                        <a:pt x="140" y="544"/>
                      </a:lnTo>
                      <a:lnTo>
                        <a:pt x="140" y="540"/>
                      </a:lnTo>
                      <a:lnTo>
                        <a:pt x="132" y="542"/>
                      </a:lnTo>
                      <a:lnTo>
                        <a:pt x="128" y="545"/>
                      </a:lnTo>
                      <a:lnTo>
                        <a:pt x="117" y="540"/>
                      </a:lnTo>
                      <a:lnTo>
                        <a:pt x="109" y="542"/>
                      </a:lnTo>
                      <a:lnTo>
                        <a:pt x="101" y="553"/>
                      </a:lnTo>
                      <a:lnTo>
                        <a:pt x="96" y="553"/>
                      </a:lnTo>
                      <a:lnTo>
                        <a:pt x="87" y="560"/>
                      </a:lnTo>
                      <a:lnTo>
                        <a:pt x="77" y="560"/>
                      </a:lnTo>
                      <a:lnTo>
                        <a:pt x="68" y="553"/>
                      </a:lnTo>
                      <a:lnTo>
                        <a:pt x="62" y="551"/>
                      </a:lnTo>
                      <a:lnTo>
                        <a:pt x="54" y="554"/>
                      </a:lnTo>
                      <a:lnTo>
                        <a:pt x="48" y="553"/>
                      </a:lnTo>
                      <a:lnTo>
                        <a:pt x="48" y="551"/>
                      </a:lnTo>
                      <a:lnTo>
                        <a:pt x="50" y="547"/>
                      </a:lnTo>
                      <a:lnTo>
                        <a:pt x="50" y="540"/>
                      </a:lnTo>
                      <a:lnTo>
                        <a:pt x="39" y="533"/>
                      </a:lnTo>
                      <a:lnTo>
                        <a:pt x="39" y="528"/>
                      </a:lnTo>
                      <a:lnTo>
                        <a:pt x="43" y="522"/>
                      </a:lnTo>
                      <a:lnTo>
                        <a:pt x="43" y="517"/>
                      </a:lnTo>
                      <a:lnTo>
                        <a:pt x="38" y="512"/>
                      </a:lnTo>
                      <a:lnTo>
                        <a:pt x="36" y="505"/>
                      </a:lnTo>
                      <a:lnTo>
                        <a:pt x="31" y="501"/>
                      </a:lnTo>
                      <a:lnTo>
                        <a:pt x="25" y="503"/>
                      </a:lnTo>
                      <a:lnTo>
                        <a:pt x="20" y="498"/>
                      </a:lnTo>
                      <a:lnTo>
                        <a:pt x="16" y="487"/>
                      </a:lnTo>
                      <a:lnTo>
                        <a:pt x="6" y="478"/>
                      </a:lnTo>
                      <a:lnTo>
                        <a:pt x="6" y="473"/>
                      </a:lnTo>
                      <a:lnTo>
                        <a:pt x="9" y="457"/>
                      </a:lnTo>
                      <a:lnTo>
                        <a:pt x="8" y="450"/>
                      </a:lnTo>
                      <a:lnTo>
                        <a:pt x="8" y="443"/>
                      </a:lnTo>
                      <a:lnTo>
                        <a:pt x="0" y="43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7" name="Freeform 21">
                  <a:extLst>
                    <a:ext uri="{FF2B5EF4-FFF2-40B4-BE49-F238E27FC236}">
                      <a16:creationId xmlns:a16="http://schemas.microsoft.com/office/drawing/2014/main" id="{8692C258-753B-67FD-0013-1ECEA2A865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37103" y="2936867"/>
                  <a:ext cx="496889" cy="360362"/>
                </a:xfrm>
                <a:custGeom>
                  <a:avLst/>
                  <a:gdLst>
                    <a:gd name="T0" fmla="*/ 3 w 313"/>
                    <a:gd name="T1" fmla="*/ 179 h 227"/>
                    <a:gd name="T2" fmla="*/ 1 w 313"/>
                    <a:gd name="T3" fmla="*/ 165 h 227"/>
                    <a:gd name="T4" fmla="*/ 7 w 313"/>
                    <a:gd name="T5" fmla="*/ 151 h 227"/>
                    <a:gd name="T6" fmla="*/ 12 w 313"/>
                    <a:gd name="T7" fmla="*/ 138 h 227"/>
                    <a:gd name="T8" fmla="*/ 35 w 313"/>
                    <a:gd name="T9" fmla="*/ 108 h 227"/>
                    <a:gd name="T10" fmla="*/ 44 w 313"/>
                    <a:gd name="T11" fmla="*/ 91 h 227"/>
                    <a:gd name="T12" fmla="*/ 58 w 313"/>
                    <a:gd name="T13" fmla="*/ 71 h 227"/>
                    <a:gd name="T14" fmla="*/ 72 w 313"/>
                    <a:gd name="T15" fmla="*/ 66 h 227"/>
                    <a:gd name="T16" fmla="*/ 99 w 313"/>
                    <a:gd name="T17" fmla="*/ 60 h 227"/>
                    <a:gd name="T18" fmla="*/ 125 w 313"/>
                    <a:gd name="T19" fmla="*/ 37 h 227"/>
                    <a:gd name="T20" fmla="*/ 168 w 313"/>
                    <a:gd name="T21" fmla="*/ 11 h 227"/>
                    <a:gd name="T22" fmla="*/ 200 w 313"/>
                    <a:gd name="T23" fmla="*/ 0 h 227"/>
                    <a:gd name="T24" fmla="*/ 221 w 313"/>
                    <a:gd name="T25" fmla="*/ 4 h 227"/>
                    <a:gd name="T26" fmla="*/ 232 w 313"/>
                    <a:gd name="T27" fmla="*/ 7 h 227"/>
                    <a:gd name="T28" fmla="*/ 230 w 313"/>
                    <a:gd name="T29" fmla="*/ 21 h 227"/>
                    <a:gd name="T30" fmla="*/ 225 w 313"/>
                    <a:gd name="T31" fmla="*/ 43 h 227"/>
                    <a:gd name="T32" fmla="*/ 264 w 313"/>
                    <a:gd name="T33" fmla="*/ 85 h 227"/>
                    <a:gd name="T34" fmla="*/ 297 w 313"/>
                    <a:gd name="T35" fmla="*/ 87 h 227"/>
                    <a:gd name="T36" fmla="*/ 303 w 313"/>
                    <a:gd name="T37" fmla="*/ 94 h 227"/>
                    <a:gd name="T38" fmla="*/ 306 w 313"/>
                    <a:gd name="T39" fmla="*/ 105 h 227"/>
                    <a:gd name="T40" fmla="*/ 310 w 313"/>
                    <a:gd name="T41" fmla="*/ 124 h 227"/>
                    <a:gd name="T42" fmla="*/ 313 w 313"/>
                    <a:gd name="T43" fmla="*/ 130 h 227"/>
                    <a:gd name="T44" fmla="*/ 297 w 313"/>
                    <a:gd name="T45" fmla="*/ 140 h 227"/>
                    <a:gd name="T46" fmla="*/ 280 w 313"/>
                    <a:gd name="T47" fmla="*/ 145 h 227"/>
                    <a:gd name="T48" fmla="*/ 272 w 313"/>
                    <a:gd name="T49" fmla="*/ 158 h 227"/>
                    <a:gd name="T50" fmla="*/ 267 w 313"/>
                    <a:gd name="T51" fmla="*/ 170 h 227"/>
                    <a:gd name="T52" fmla="*/ 255 w 313"/>
                    <a:gd name="T53" fmla="*/ 177 h 227"/>
                    <a:gd name="T54" fmla="*/ 209 w 313"/>
                    <a:gd name="T55" fmla="*/ 167 h 227"/>
                    <a:gd name="T56" fmla="*/ 205 w 313"/>
                    <a:gd name="T57" fmla="*/ 167 h 227"/>
                    <a:gd name="T58" fmla="*/ 186 w 313"/>
                    <a:gd name="T59" fmla="*/ 170 h 227"/>
                    <a:gd name="T60" fmla="*/ 148 w 313"/>
                    <a:gd name="T61" fmla="*/ 174 h 227"/>
                    <a:gd name="T62" fmla="*/ 115 w 313"/>
                    <a:gd name="T63" fmla="*/ 174 h 227"/>
                    <a:gd name="T64" fmla="*/ 99 w 313"/>
                    <a:gd name="T65" fmla="*/ 184 h 227"/>
                    <a:gd name="T66" fmla="*/ 106 w 313"/>
                    <a:gd name="T67" fmla="*/ 202 h 227"/>
                    <a:gd name="T68" fmla="*/ 111 w 313"/>
                    <a:gd name="T69" fmla="*/ 225 h 227"/>
                    <a:gd name="T70" fmla="*/ 97 w 313"/>
                    <a:gd name="T71" fmla="*/ 220 h 227"/>
                    <a:gd name="T72" fmla="*/ 83 w 313"/>
                    <a:gd name="T73" fmla="*/ 225 h 227"/>
                    <a:gd name="T74" fmla="*/ 60 w 313"/>
                    <a:gd name="T75" fmla="*/ 220 h 227"/>
                    <a:gd name="T76" fmla="*/ 48 w 313"/>
                    <a:gd name="T77" fmla="*/ 209 h 227"/>
                    <a:gd name="T78" fmla="*/ 37 w 313"/>
                    <a:gd name="T79" fmla="*/ 206 h 227"/>
                    <a:gd name="T80" fmla="*/ 14 w 313"/>
                    <a:gd name="T81" fmla="*/ 199 h 227"/>
                    <a:gd name="T82" fmla="*/ 1 w 313"/>
                    <a:gd name="T83" fmla="*/ 190 h 2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13" h="227">
                      <a:moveTo>
                        <a:pt x="1" y="190"/>
                      </a:moveTo>
                      <a:lnTo>
                        <a:pt x="3" y="179"/>
                      </a:lnTo>
                      <a:lnTo>
                        <a:pt x="0" y="174"/>
                      </a:lnTo>
                      <a:lnTo>
                        <a:pt x="1" y="165"/>
                      </a:lnTo>
                      <a:lnTo>
                        <a:pt x="9" y="163"/>
                      </a:lnTo>
                      <a:lnTo>
                        <a:pt x="7" y="151"/>
                      </a:lnTo>
                      <a:lnTo>
                        <a:pt x="5" y="144"/>
                      </a:lnTo>
                      <a:lnTo>
                        <a:pt x="12" y="138"/>
                      </a:lnTo>
                      <a:lnTo>
                        <a:pt x="23" y="130"/>
                      </a:lnTo>
                      <a:lnTo>
                        <a:pt x="35" y="108"/>
                      </a:lnTo>
                      <a:lnTo>
                        <a:pt x="44" y="96"/>
                      </a:lnTo>
                      <a:lnTo>
                        <a:pt x="44" y="91"/>
                      </a:lnTo>
                      <a:lnTo>
                        <a:pt x="53" y="73"/>
                      </a:lnTo>
                      <a:lnTo>
                        <a:pt x="58" y="71"/>
                      </a:lnTo>
                      <a:lnTo>
                        <a:pt x="60" y="66"/>
                      </a:lnTo>
                      <a:lnTo>
                        <a:pt x="72" y="66"/>
                      </a:lnTo>
                      <a:lnTo>
                        <a:pt x="78" y="68"/>
                      </a:lnTo>
                      <a:lnTo>
                        <a:pt x="99" y="60"/>
                      </a:lnTo>
                      <a:lnTo>
                        <a:pt x="102" y="52"/>
                      </a:lnTo>
                      <a:lnTo>
                        <a:pt x="125" y="37"/>
                      </a:lnTo>
                      <a:lnTo>
                        <a:pt x="157" y="20"/>
                      </a:lnTo>
                      <a:lnTo>
                        <a:pt x="168" y="11"/>
                      </a:lnTo>
                      <a:lnTo>
                        <a:pt x="180" y="4"/>
                      </a:lnTo>
                      <a:lnTo>
                        <a:pt x="200" y="0"/>
                      </a:lnTo>
                      <a:lnTo>
                        <a:pt x="210" y="0"/>
                      </a:lnTo>
                      <a:lnTo>
                        <a:pt x="221" y="4"/>
                      </a:lnTo>
                      <a:lnTo>
                        <a:pt x="230" y="4"/>
                      </a:lnTo>
                      <a:lnTo>
                        <a:pt x="232" y="7"/>
                      </a:lnTo>
                      <a:lnTo>
                        <a:pt x="232" y="11"/>
                      </a:lnTo>
                      <a:lnTo>
                        <a:pt x="230" y="21"/>
                      </a:lnTo>
                      <a:lnTo>
                        <a:pt x="225" y="30"/>
                      </a:lnTo>
                      <a:lnTo>
                        <a:pt x="225" y="43"/>
                      </a:lnTo>
                      <a:lnTo>
                        <a:pt x="264" y="68"/>
                      </a:lnTo>
                      <a:lnTo>
                        <a:pt x="264" y="85"/>
                      </a:lnTo>
                      <a:lnTo>
                        <a:pt x="278" y="96"/>
                      </a:lnTo>
                      <a:lnTo>
                        <a:pt x="297" y="87"/>
                      </a:lnTo>
                      <a:lnTo>
                        <a:pt x="301" y="89"/>
                      </a:lnTo>
                      <a:lnTo>
                        <a:pt x="303" y="94"/>
                      </a:lnTo>
                      <a:lnTo>
                        <a:pt x="306" y="98"/>
                      </a:lnTo>
                      <a:lnTo>
                        <a:pt x="306" y="105"/>
                      </a:lnTo>
                      <a:lnTo>
                        <a:pt x="301" y="112"/>
                      </a:lnTo>
                      <a:lnTo>
                        <a:pt x="310" y="124"/>
                      </a:lnTo>
                      <a:lnTo>
                        <a:pt x="313" y="122"/>
                      </a:lnTo>
                      <a:lnTo>
                        <a:pt x="313" y="130"/>
                      </a:lnTo>
                      <a:lnTo>
                        <a:pt x="304" y="140"/>
                      </a:lnTo>
                      <a:lnTo>
                        <a:pt x="297" y="140"/>
                      </a:lnTo>
                      <a:lnTo>
                        <a:pt x="283" y="147"/>
                      </a:lnTo>
                      <a:lnTo>
                        <a:pt x="280" y="145"/>
                      </a:lnTo>
                      <a:lnTo>
                        <a:pt x="271" y="149"/>
                      </a:lnTo>
                      <a:lnTo>
                        <a:pt x="272" y="158"/>
                      </a:lnTo>
                      <a:lnTo>
                        <a:pt x="265" y="161"/>
                      </a:lnTo>
                      <a:lnTo>
                        <a:pt x="267" y="170"/>
                      </a:lnTo>
                      <a:lnTo>
                        <a:pt x="257" y="174"/>
                      </a:lnTo>
                      <a:lnTo>
                        <a:pt x="255" y="177"/>
                      </a:lnTo>
                      <a:lnTo>
                        <a:pt x="212" y="167"/>
                      </a:lnTo>
                      <a:lnTo>
                        <a:pt x="209" y="167"/>
                      </a:lnTo>
                      <a:lnTo>
                        <a:pt x="209" y="167"/>
                      </a:lnTo>
                      <a:lnTo>
                        <a:pt x="205" y="167"/>
                      </a:lnTo>
                      <a:lnTo>
                        <a:pt x="196" y="170"/>
                      </a:lnTo>
                      <a:lnTo>
                        <a:pt x="186" y="170"/>
                      </a:lnTo>
                      <a:lnTo>
                        <a:pt x="170" y="174"/>
                      </a:lnTo>
                      <a:lnTo>
                        <a:pt x="148" y="174"/>
                      </a:lnTo>
                      <a:lnTo>
                        <a:pt x="145" y="174"/>
                      </a:lnTo>
                      <a:lnTo>
                        <a:pt x="115" y="174"/>
                      </a:lnTo>
                      <a:lnTo>
                        <a:pt x="101" y="176"/>
                      </a:lnTo>
                      <a:lnTo>
                        <a:pt x="99" y="184"/>
                      </a:lnTo>
                      <a:lnTo>
                        <a:pt x="102" y="199"/>
                      </a:lnTo>
                      <a:lnTo>
                        <a:pt x="106" y="202"/>
                      </a:lnTo>
                      <a:lnTo>
                        <a:pt x="111" y="213"/>
                      </a:lnTo>
                      <a:lnTo>
                        <a:pt x="111" y="225"/>
                      </a:lnTo>
                      <a:lnTo>
                        <a:pt x="102" y="223"/>
                      </a:lnTo>
                      <a:lnTo>
                        <a:pt x="97" y="220"/>
                      </a:lnTo>
                      <a:lnTo>
                        <a:pt x="92" y="220"/>
                      </a:lnTo>
                      <a:lnTo>
                        <a:pt x="83" y="225"/>
                      </a:lnTo>
                      <a:lnTo>
                        <a:pt x="74" y="227"/>
                      </a:lnTo>
                      <a:lnTo>
                        <a:pt x="60" y="220"/>
                      </a:lnTo>
                      <a:lnTo>
                        <a:pt x="56" y="213"/>
                      </a:lnTo>
                      <a:lnTo>
                        <a:pt x="48" y="209"/>
                      </a:lnTo>
                      <a:lnTo>
                        <a:pt x="40" y="209"/>
                      </a:lnTo>
                      <a:lnTo>
                        <a:pt x="37" y="206"/>
                      </a:lnTo>
                      <a:lnTo>
                        <a:pt x="30" y="206"/>
                      </a:lnTo>
                      <a:lnTo>
                        <a:pt x="14" y="199"/>
                      </a:lnTo>
                      <a:lnTo>
                        <a:pt x="3" y="188"/>
                      </a:lnTo>
                      <a:lnTo>
                        <a:pt x="1" y="19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8" name="Freeform 22">
                  <a:extLst>
                    <a:ext uri="{FF2B5EF4-FFF2-40B4-BE49-F238E27FC236}">
                      <a16:creationId xmlns:a16="http://schemas.microsoft.com/office/drawing/2014/main" id="{4BBBDE12-FBCC-9C87-04A3-2D12359B12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40177" y="2830506"/>
                  <a:ext cx="422276" cy="309562"/>
                </a:xfrm>
                <a:custGeom>
                  <a:avLst/>
                  <a:gdLst>
                    <a:gd name="T0" fmla="*/ 45 w 266"/>
                    <a:gd name="T1" fmla="*/ 19 h 195"/>
                    <a:gd name="T2" fmla="*/ 59 w 266"/>
                    <a:gd name="T3" fmla="*/ 12 h 195"/>
                    <a:gd name="T4" fmla="*/ 103 w 266"/>
                    <a:gd name="T5" fmla="*/ 0 h 195"/>
                    <a:gd name="T6" fmla="*/ 130 w 266"/>
                    <a:gd name="T7" fmla="*/ 7 h 195"/>
                    <a:gd name="T8" fmla="*/ 149 w 266"/>
                    <a:gd name="T9" fmla="*/ 19 h 195"/>
                    <a:gd name="T10" fmla="*/ 154 w 266"/>
                    <a:gd name="T11" fmla="*/ 26 h 195"/>
                    <a:gd name="T12" fmla="*/ 165 w 266"/>
                    <a:gd name="T13" fmla="*/ 26 h 195"/>
                    <a:gd name="T14" fmla="*/ 176 w 266"/>
                    <a:gd name="T15" fmla="*/ 28 h 195"/>
                    <a:gd name="T16" fmla="*/ 185 w 266"/>
                    <a:gd name="T17" fmla="*/ 46 h 195"/>
                    <a:gd name="T18" fmla="*/ 195 w 266"/>
                    <a:gd name="T19" fmla="*/ 57 h 195"/>
                    <a:gd name="T20" fmla="*/ 204 w 266"/>
                    <a:gd name="T21" fmla="*/ 69 h 195"/>
                    <a:gd name="T22" fmla="*/ 216 w 266"/>
                    <a:gd name="T23" fmla="*/ 81 h 195"/>
                    <a:gd name="T24" fmla="*/ 224 w 266"/>
                    <a:gd name="T25" fmla="*/ 94 h 195"/>
                    <a:gd name="T26" fmla="*/ 222 w 266"/>
                    <a:gd name="T27" fmla="*/ 117 h 195"/>
                    <a:gd name="T28" fmla="*/ 232 w 266"/>
                    <a:gd name="T29" fmla="*/ 131 h 195"/>
                    <a:gd name="T30" fmla="*/ 241 w 266"/>
                    <a:gd name="T31" fmla="*/ 147 h 195"/>
                    <a:gd name="T32" fmla="*/ 252 w 266"/>
                    <a:gd name="T33" fmla="*/ 149 h 195"/>
                    <a:gd name="T34" fmla="*/ 259 w 266"/>
                    <a:gd name="T35" fmla="*/ 161 h 195"/>
                    <a:gd name="T36" fmla="*/ 255 w 266"/>
                    <a:gd name="T37" fmla="*/ 172 h 195"/>
                    <a:gd name="T38" fmla="*/ 266 w 266"/>
                    <a:gd name="T39" fmla="*/ 184 h 195"/>
                    <a:gd name="T40" fmla="*/ 264 w 266"/>
                    <a:gd name="T41" fmla="*/ 195 h 195"/>
                    <a:gd name="T42" fmla="*/ 255 w 266"/>
                    <a:gd name="T43" fmla="*/ 188 h 195"/>
                    <a:gd name="T44" fmla="*/ 243 w 266"/>
                    <a:gd name="T45" fmla="*/ 184 h 195"/>
                    <a:gd name="T46" fmla="*/ 224 w 266"/>
                    <a:gd name="T47" fmla="*/ 182 h 195"/>
                    <a:gd name="T48" fmla="*/ 204 w 266"/>
                    <a:gd name="T49" fmla="*/ 177 h 195"/>
                    <a:gd name="T50" fmla="*/ 160 w 266"/>
                    <a:gd name="T51" fmla="*/ 168 h 195"/>
                    <a:gd name="T52" fmla="*/ 153 w 266"/>
                    <a:gd name="T53" fmla="*/ 170 h 195"/>
                    <a:gd name="T54" fmla="*/ 105 w 266"/>
                    <a:gd name="T55" fmla="*/ 166 h 195"/>
                    <a:gd name="T56" fmla="*/ 82 w 266"/>
                    <a:gd name="T57" fmla="*/ 184 h 195"/>
                    <a:gd name="T58" fmla="*/ 41 w 266"/>
                    <a:gd name="T59" fmla="*/ 188 h 195"/>
                    <a:gd name="T60" fmla="*/ 30 w 266"/>
                    <a:gd name="T61" fmla="*/ 177 h 195"/>
                    <a:gd name="T62" fmla="*/ 34 w 266"/>
                    <a:gd name="T63" fmla="*/ 175 h 195"/>
                    <a:gd name="T64" fmla="*/ 48 w 266"/>
                    <a:gd name="T65" fmla="*/ 172 h 195"/>
                    <a:gd name="T66" fmla="*/ 25 w 266"/>
                    <a:gd name="T67" fmla="*/ 172 h 195"/>
                    <a:gd name="T68" fmla="*/ 27 w 266"/>
                    <a:gd name="T69" fmla="*/ 165 h 195"/>
                    <a:gd name="T70" fmla="*/ 30 w 266"/>
                    <a:gd name="T71" fmla="*/ 150 h 195"/>
                    <a:gd name="T72" fmla="*/ 62 w 266"/>
                    <a:gd name="T73" fmla="*/ 142 h 195"/>
                    <a:gd name="T74" fmla="*/ 80 w 266"/>
                    <a:gd name="T75" fmla="*/ 135 h 195"/>
                    <a:gd name="T76" fmla="*/ 89 w 266"/>
                    <a:gd name="T77" fmla="*/ 138 h 195"/>
                    <a:gd name="T78" fmla="*/ 98 w 266"/>
                    <a:gd name="T79" fmla="*/ 131 h 195"/>
                    <a:gd name="T80" fmla="*/ 117 w 266"/>
                    <a:gd name="T81" fmla="*/ 138 h 195"/>
                    <a:gd name="T82" fmla="*/ 140 w 266"/>
                    <a:gd name="T83" fmla="*/ 147 h 195"/>
                    <a:gd name="T84" fmla="*/ 153 w 266"/>
                    <a:gd name="T85" fmla="*/ 142 h 195"/>
                    <a:gd name="T86" fmla="*/ 146 w 266"/>
                    <a:gd name="T87" fmla="*/ 136 h 195"/>
                    <a:gd name="T88" fmla="*/ 121 w 266"/>
                    <a:gd name="T89" fmla="*/ 126 h 195"/>
                    <a:gd name="T90" fmla="*/ 98 w 266"/>
                    <a:gd name="T91" fmla="*/ 117 h 195"/>
                    <a:gd name="T92" fmla="*/ 78 w 266"/>
                    <a:gd name="T93" fmla="*/ 120 h 195"/>
                    <a:gd name="T94" fmla="*/ 57 w 266"/>
                    <a:gd name="T95" fmla="*/ 131 h 195"/>
                    <a:gd name="T96" fmla="*/ 32 w 266"/>
                    <a:gd name="T97" fmla="*/ 133 h 195"/>
                    <a:gd name="T98" fmla="*/ 38 w 266"/>
                    <a:gd name="T99" fmla="*/ 126 h 195"/>
                    <a:gd name="T100" fmla="*/ 30 w 266"/>
                    <a:gd name="T101" fmla="*/ 119 h 195"/>
                    <a:gd name="T102" fmla="*/ 23 w 266"/>
                    <a:gd name="T103" fmla="*/ 110 h 195"/>
                    <a:gd name="T104" fmla="*/ 0 w 266"/>
                    <a:gd name="T105" fmla="*/ 81 h 195"/>
                    <a:gd name="T106" fmla="*/ 36 w 266"/>
                    <a:gd name="T107" fmla="*/ 39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66" h="195">
                      <a:moveTo>
                        <a:pt x="38" y="25"/>
                      </a:moveTo>
                      <a:lnTo>
                        <a:pt x="45" y="19"/>
                      </a:lnTo>
                      <a:lnTo>
                        <a:pt x="52" y="19"/>
                      </a:lnTo>
                      <a:lnTo>
                        <a:pt x="59" y="12"/>
                      </a:lnTo>
                      <a:lnTo>
                        <a:pt x="82" y="9"/>
                      </a:lnTo>
                      <a:lnTo>
                        <a:pt x="103" y="0"/>
                      </a:lnTo>
                      <a:lnTo>
                        <a:pt x="110" y="0"/>
                      </a:lnTo>
                      <a:lnTo>
                        <a:pt x="130" y="7"/>
                      </a:lnTo>
                      <a:lnTo>
                        <a:pt x="140" y="9"/>
                      </a:lnTo>
                      <a:lnTo>
                        <a:pt x="149" y="19"/>
                      </a:lnTo>
                      <a:lnTo>
                        <a:pt x="149" y="25"/>
                      </a:lnTo>
                      <a:lnTo>
                        <a:pt x="154" y="26"/>
                      </a:lnTo>
                      <a:lnTo>
                        <a:pt x="162" y="25"/>
                      </a:lnTo>
                      <a:lnTo>
                        <a:pt x="165" y="26"/>
                      </a:lnTo>
                      <a:lnTo>
                        <a:pt x="172" y="25"/>
                      </a:lnTo>
                      <a:lnTo>
                        <a:pt x="176" y="28"/>
                      </a:lnTo>
                      <a:lnTo>
                        <a:pt x="177" y="39"/>
                      </a:lnTo>
                      <a:lnTo>
                        <a:pt x="185" y="46"/>
                      </a:lnTo>
                      <a:lnTo>
                        <a:pt x="185" y="55"/>
                      </a:lnTo>
                      <a:lnTo>
                        <a:pt x="195" y="57"/>
                      </a:lnTo>
                      <a:lnTo>
                        <a:pt x="197" y="65"/>
                      </a:lnTo>
                      <a:lnTo>
                        <a:pt x="204" y="69"/>
                      </a:lnTo>
                      <a:lnTo>
                        <a:pt x="215" y="76"/>
                      </a:lnTo>
                      <a:lnTo>
                        <a:pt x="216" y="81"/>
                      </a:lnTo>
                      <a:lnTo>
                        <a:pt x="224" y="87"/>
                      </a:lnTo>
                      <a:lnTo>
                        <a:pt x="224" y="94"/>
                      </a:lnTo>
                      <a:lnTo>
                        <a:pt x="225" y="101"/>
                      </a:lnTo>
                      <a:lnTo>
                        <a:pt x="222" y="117"/>
                      </a:lnTo>
                      <a:lnTo>
                        <a:pt x="222" y="122"/>
                      </a:lnTo>
                      <a:lnTo>
                        <a:pt x="232" y="131"/>
                      </a:lnTo>
                      <a:lnTo>
                        <a:pt x="236" y="142"/>
                      </a:lnTo>
                      <a:lnTo>
                        <a:pt x="241" y="147"/>
                      </a:lnTo>
                      <a:lnTo>
                        <a:pt x="247" y="145"/>
                      </a:lnTo>
                      <a:lnTo>
                        <a:pt x="252" y="149"/>
                      </a:lnTo>
                      <a:lnTo>
                        <a:pt x="254" y="156"/>
                      </a:lnTo>
                      <a:lnTo>
                        <a:pt x="259" y="161"/>
                      </a:lnTo>
                      <a:lnTo>
                        <a:pt x="259" y="166"/>
                      </a:lnTo>
                      <a:lnTo>
                        <a:pt x="255" y="172"/>
                      </a:lnTo>
                      <a:lnTo>
                        <a:pt x="255" y="177"/>
                      </a:lnTo>
                      <a:lnTo>
                        <a:pt x="266" y="184"/>
                      </a:lnTo>
                      <a:lnTo>
                        <a:pt x="266" y="191"/>
                      </a:lnTo>
                      <a:lnTo>
                        <a:pt x="264" y="195"/>
                      </a:lnTo>
                      <a:lnTo>
                        <a:pt x="264" y="189"/>
                      </a:lnTo>
                      <a:lnTo>
                        <a:pt x="255" y="188"/>
                      </a:lnTo>
                      <a:lnTo>
                        <a:pt x="252" y="184"/>
                      </a:lnTo>
                      <a:lnTo>
                        <a:pt x="243" y="184"/>
                      </a:lnTo>
                      <a:lnTo>
                        <a:pt x="236" y="188"/>
                      </a:lnTo>
                      <a:lnTo>
                        <a:pt x="224" y="182"/>
                      </a:lnTo>
                      <a:lnTo>
                        <a:pt x="211" y="182"/>
                      </a:lnTo>
                      <a:lnTo>
                        <a:pt x="204" y="177"/>
                      </a:lnTo>
                      <a:lnTo>
                        <a:pt x="186" y="168"/>
                      </a:lnTo>
                      <a:lnTo>
                        <a:pt x="160" y="168"/>
                      </a:lnTo>
                      <a:lnTo>
                        <a:pt x="153" y="170"/>
                      </a:lnTo>
                      <a:lnTo>
                        <a:pt x="153" y="170"/>
                      </a:lnTo>
                      <a:lnTo>
                        <a:pt x="142" y="168"/>
                      </a:lnTo>
                      <a:lnTo>
                        <a:pt x="105" y="166"/>
                      </a:lnTo>
                      <a:lnTo>
                        <a:pt x="89" y="173"/>
                      </a:lnTo>
                      <a:lnTo>
                        <a:pt x="82" y="184"/>
                      </a:lnTo>
                      <a:lnTo>
                        <a:pt x="53" y="181"/>
                      </a:lnTo>
                      <a:lnTo>
                        <a:pt x="41" y="188"/>
                      </a:lnTo>
                      <a:lnTo>
                        <a:pt x="30" y="184"/>
                      </a:lnTo>
                      <a:lnTo>
                        <a:pt x="30" y="177"/>
                      </a:lnTo>
                      <a:lnTo>
                        <a:pt x="27" y="173"/>
                      </a:lnTo>
                      <a:lnTo>
                        <a:pt x="34" y="175"/>
                      </a:lnTo>
                      <a:lnTo>
                        <a:pt x="39" y="177"/>
                      </a:lnTo>
                      <a:lnTo>
                        <a:pt x="48" y="172"/>
                      </a:lnTo>
                      <a:lnTo>
                        <a:pt x="34" y="166"/>
                      </a:lnTo>
                      <a:lnTo>
                        <a:pt x="25" y="172"/>
                      </a:lnTo>
                      <a:lnTo>
                        <a:pt x="22" y="168"/>
                      </a:lnTo>
                      <a:lnTo>
                        <a:pt x="27" y="165"/>
                      </a:lnTo>
                      <a:lnTo>
                        <a:pt x="27" y="154"/>
                      </a:lnTo>
                      <a:lnTo>
                        <a:pt x="30" y="150"/>
                      </a:lnTo>
                      <a:lnTo>
                        <a:pt x="55" y="150"/>
                      </a:lnTo>
                      <a:lnTo>
                        <a:pt x="62" y="142"/>
                      </a:lnTo>
                      <a:lnTo>
                        <a:pt x="71" y="140"/>
                      </a:lnTo>
                      <a:lnTo>
                        <a:pt x="80" y="135"/>
                      </a:lnTo>
                      <a:lnTo>
                        <a:pt x="85" y="136"/>
                      </a:lnTo>
                      <a:lnTo>
                        <a:pt x="89" y="138"/>
                      </a:lnTo>
                      <a:lnTo>
                        <a:pt x="94" y="133"/>
                      </a:lnTo>
                      <a:lnTo>
                        <a:pt x="98" y="131"/>
                      </a:lnTo>
                      <a:lnTo>
                        <a:pt x="108" y="136"/>
                      </a:lnTo>
                      <a:lnTo>
                        <a:pt x="117" y="138"/>
                      </a:lnTo>
                      <a:lnTo>
                        <a:pt x="128" y="142"/>
                      </a:lnTo>
                      <a:lnTo>
                        <a:pt x="140" y="147"/>
                      </a:lnTo>
                      <a:lnTo>
                        <a:pt x="151" y="147"/>
                      </a:lnTo>
                      <a:lnTo>
                        <a:pt x="153" y="142"/>
                      </a:lnTo>
                      <a:lnTo>
                        <a:pt x="149" y="136"/>
                      </a:lnTo>
                      <a:lnTo>
                        <a:pt x="146" y="136"/>
                      </a:lnTo>
                      <a:lnTo>
                        <a:pt x="128" y="126"/>
                      </a:lnTo>
                      <a:lnTo>
                        <a:pt x="121" y="126"/>
                      </a:lnTo>
                      <a:lnTo>
                        <a:pt x="108" y="119"/>
                      </a:lnTo>
                      <a:lnTo>
                        <a:pt x="98" y="117"/>
                      </a:lnTo>
                      <a:lnTo>
                        <a:pt x="91" y="115"/>
                      </a:lnTo>
                      <a:lnTo>
                        <a:pt x="78" y="120"/>
                      </a:lnTo>
                      <a:lnTo>
                        <a:pt x="64" y="131"/>
                      </a:lnTo>
                      <a:lnTo>
                        <a:pt x="57" y="131"/>
                      </a:lnTo>
                      <a:lnTo>
                        <a:pt x="52" y="135"/>
                      </a:lnTo>
                      <a:lnTo>
                        <a:pt x="32" y="133"/>
                      </a:lnTo>
                      <a:lnTo>
                        <a:pt x="32" y="131"/>
                      </a:lnTo>
                      <a:lnTo>
                        <a:pt x="38" y="126"/>
                      </a:lnTo>
                      <a:lnTo>
                        <a:pt x="27" y="119"/>
                      </a:lnTo>
                      <a:lnTo>
                        <a:pt x="30" y="119"/>
                      </a:lnTo>
                      <a:lnTo>
                        <a:pt x="30" y="110"/>
                      </a:lnTo>
                      <a:lnTo>
                        <a:pt x="23" y="110"/>
                      </a:lnTo>
                      <a:lnTo>
                        <a:pt x="15" y="94"/>
                      </a:lnTo>
                      <a:lnTo>
                        <a:pt x="0" y="81"/>
                      </a:lnTo>
                      <a:lnTo>
                        <a:pt x="25" y="58"/>
                      </a:lnTo>
                      <a:lnTo>
                        <a:pt x="36" y="39"/>
                      </a:lnTo>
                      <a:lnTo>
                        <a:pt x="38" y="25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9" name="Freeform 23">
                  <a:extLst>
                    <a:ext uri="{FF2B5EF4-FFF2-40B4-BE49-F238E27FC236}">
                      <a16:creationId xmlns:a16="http://schemas.microsoft.com/office/drawing/2014/main" id="{A2B14506-8C86-C25B-AC2C-17ED5C12B6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75102" y="3013067"/>
                  <a:ext cx="207964" cy="61912"/>
                </a:xfrm>
                <a:custGeom>
                  <a:avLst/>
                  <a:gdLst>
                    <a:gd name="T0" fmla="*/ 5 w 131"/>
                    <a:gd name="T1" fmla="*/ 39 h 39"/>
                    <a:gd name="T2" fmla="*/ 8 w 131"/>
                    <a:gd name="T3" fmla="*/ 35 h 39"/>
                    <a:gd name="T4" fmla="*/ 33 w 131"/>
                    <a:gd name="T5" fmla="*/ 35 h 39"/>
                    <a:gd name="T6" fmla="*/ 40 w 131"/>
                    <a:gd name="T7" fmla="*/ 27 h 39"/>
                    <a:gd name="T8" fmla="*/ 49 w 131"/>
                    <a:gd name="T9" fmla="*/ 25 h 39"/>
                    <a:gd name="T10" fmla="*/ 58 w 131"/>
                    <a:gd name="T11" fmla="*/ 20 h 39"/>
                    <a:gd name="T12" fmla="*/ 63 w 131"/>
                    <a:gd name="T13" fmla="*/ 21 h 39"/>
                    <a:gd name="T14" fmla="*/ 67 w 131"/>
                    <a:gd name="T15" fmla="*/ 23 h 39"/>
                    <a:gd name="T16" fmla="*/ 72 w 131"/>
                    <a:gd name="T17" fmla="*/ 18 h 39"/>
                    <a:gd name="T18" fmla="*/ 76 w 131"/>
                    <a:gd name="T19" fmla="*/ 16 h 39"/>
                    <a:gd name="T20" fmla="*/ 86 w 131"/>
                    <a:gd name="T21" fmla="*/ 21 h 39"/>
                    <a:gd name="T22" fmla="*/ 95 w 131"/>
                    <a:gd name="T23" fmla="*/ 23 h 39"/>
                    <a:gd name="T24" fmla="*/ 106 w 131"/>
                    <a:gd name="T25" fmla="*/ 27 h 39"/>
                    <a:gd name="T26" fmla="*/ 118 w 131"/>
                    <a:gd name="T27" fmla="*/ 32 h 39"/>
                    <a:gd name="T28" fmla="*/ 129 w 131"/>
                    <a:gd name="T29" fmla="*/ 32 h 39"/>
                    <a:gd name="T30" fmla="*/ 131 w 131"/>
                    <a:gd name="T31" fmla="*/ 27 h 39"/>
                    <a:gd name="T32" fmla="*/ 127 w 131"/>
                    <a:gd name="T33" fmla="*/ 21 h 39"/>
                    <a:gd name="T34" fmla="*/ 124 w 131"/>
                    <a:gd name="T35" fmla="*/ 21 h 39"/>
                    <a:gd name="T36" fmla="*/ 106 w 131"/>
                    <a:gd name="T37" fmla="*/ 11 h 39"/>
                    <a:gd name="T38" fmla="*/ 99 w 131"/>
                    <a:gd name="T39" fmla="*/ 11 h 39"/>
                    <a:gd name="T40" fmla="*/ 86 w 131"/>
                    <a:gd name="T41" fmla="*/ 4 h 39"/>
                    <a:gd name="T42" fmla="*/ 76 w 131"/>
                    <a:gd name="T43" fmla="*/ 2 h 39"/>
                    <a:gd name="T44" fmla="*/ 69 w 131"/>
                    <a:gd name="T45" fmla="*/ 0 h 39"/>
                    <a:gd name="T46" fmla="*/ 56 w 131"/>
                    <a:gd name="T47" fmla="*/ 5 h 39"/>
                    <a:gd name="T48" fmla="*/ 42 w 131"/>
                    <a:gd name="T49" fmla="*/ 16 h 39"/>
                    <a:gd name="T50" fmla="*/ 35 w 131"/>
                    <a:gd name="T51" fmla="*/ 16 h 39"/>
                    <a:gd name="T52" fmla="*/ 30 w 131"/>
                    <a:gd name="T53" fmla="*/ 20 h 39"/>
                    <a:gd name="T54" fmla="*/ 10 w 131"/>
                    <a:gd name="T55" fmla="*/ 18 h 39"/>
                    <a:gd name="T56" fmla="*/ 14 w 131"/>
                    <a:gd name="T57" fmla="*/ 25 h 39"/>
                    <a:gd name="T58" fmla="*/ 24 w 131"/>
                    <a:gd name="T59" fmla="*/ 30 h 39"/>
                    <a:gd name="T60" fmla="*/ 33 w 131"/>
                    <a:gd name="T61" fmla="*/ 28 h 39"/>
                    <a:gd name="T62" fmla="*/ 26 w 131"/>
                    <a:gd name="T63" fmla="*/ 34 h 39"/>
                    <a:gd name="T64" fmla="*/ 16 w 131"/>
                    <a:gd name="T65" fmla="*/ 34 h 39"/>
                    <a:gd name="T66" fmla="*/ 7 w 131"/>
                    <a:gd name="T67" fmla="*/ 23 h 39"/>
                    <a:gd name="T68" fmla="*/ 0 w 131"/>
                    <a:gd name="T69" fmla="*/ 30 h 39"/>
                    <a:gd name="T70" fmla="*/ 5 w 131"/>
                    <a:gd name="T71" fmla="*/ 37 h 39"/>
                    <a:gd name="T72" fmla="*/ 5 w 131"/>
                    <a:gd name="T73" fmla="*/ 39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1" h="39">
                      <a:moveTo>
                        <a:pt x="5" y="39"/>
                      </a:moveTo>
                      <a:lnTo>
                        <a:pt x="8" y="35"/>
                      </a:lnTo>
                      <a:lnTo>
                        <a:pt x="33" y="35"/>
                      </a:lnTo>
                      <a:lnTo>
                        <a:pt x="40" y="27"/>
                      </a:lnTo>
                      <a:lnTo>
                        <a:pt x="49" y="25"/>
                      </a:lnTo>
                      <a:lnTo>
                        <a:pt x="58" y="20"/>
                      </a:lnTo>
                      <a:lnTo>
                        <a:pt x="63" y="21"/>
                      </a:lnTo>
                      <a:lnTo>
                        <a:pt x="67" y="23"/>
                      </a:lnTo>
                      <a:lnTo>
                        <a:pt x="72" y="18"/>
                      </a:lnTo>
                      <a:lnTo>
                        <a:pt x="76" y="16"/>
                      </a:lnTo>
                      <a:lnTo>
                        <a:pt x="86" y="21"/>
                      </a:lnTo>
                      <a:lnTo>
                        <a:pt x="95" y="23"/>
                      </a:lnTo>
                      <a:lnTo>
                        <a:pt x="106" y="27"/>
                      </a:lnTo>
                      <a:lnTo>
                        <a:pt x="118" y="32"/>
                      </a:lnTo>
                      <a:lnTo>
                        <a:pt x="129" y="32"/>
                      </a:lnTo>
                      <a:lnTo>
                        <a:pt x="131" y="27"/>
                      </a:lnTo>
                      <a:lnTo>
                        <a:pt x="127" y="21"/>
                      </a:lnTo>
                      <a:lnTo>
                        <a:pt x="124" y="21"/>
                      </a:lnTo>
                      <a:lnTo>
                        <a:pt x="106" y="11"/>
                      </a:lnTo>
                      <a:lnTo>
                        <a:pt x="99" y="11"/>
                      </a:lnTo>
                      <a:lnTo>
                        <a:pt x="86" y="4"/>
                      </a:lnTo>
                      <a:lnTo>
                        <a:pt x="76" y="2"/>
                      </a:lnTo>
                      <a:lnTo>
                        <a:pt x="69" y="0"/>
                      </a:lnTo>
                      <a:lnTo>
                        <a:pt x="56" y="5"/>
                      </a:lnTo>
                      <a:lnTo>
                        <a:pt x="42" y="16"/>
                      </a:lnTo>
                      <a:lnTo>
                        <a:pt x="35" y="16"/>
                      </a:lnTo>
                      <a:lnTo>
                        <a:pt x="30" y="20"/>
                      </a:lnTo>
                      <a:lnTo>
                        <a:pt x="10" y="18"/>
                      </a:lnTo>
                      <a:lnTo>
                        <a:pt x="14" y="25"/>
                      </a:lnTo>
                      <a:lnTo>
                        <a:pt x="24" y="30"/>
                      </a:lnTo>
                      <a:lnTo>
                        <a:pt x="33" y="28"/>
                      </a:lnTo>
                      <a:lnTo>
                        <a:pt x="26" y="34"/>
                      </a:lnTo>
                      <a:lnTo>
                        <a:pt x="16" y="34"/>
                      </a:lnTo>
                      <a:lnTo>
                        <a:pt x="7" y="23"/>
                      </a:lnTo>
                      <a:lnTo>
                        <a:pt x="0" y="30"/>
                      </a:lnTo>
                      <a:lnTo>
                        <a:pt x="5" y="37"/>
                      </a:lnTo>
                      <a:lnTo>
                        <a:pt x="5" y="39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0" name="Freeform 24">
                  <a:extLst>
                    <a:ext uri="{FF2B5EF4-FFF2-40B4-BE49-F238E27FC236}">
                      <a16:creationId xmlns:a16="http://schemas.microsoft.com/office/drawing/2014/main" id="{9F380C1D-8200-BA10-9A56-0BB7F59F46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7802" y="3094031"/>
                  <a:ext cx="200025" cy="123825"/>
                </a:xfrm>
                <a:custGeom>
                  <a:avLst/>
                  <a:gdLst>
                    <a:gd name="T0" fmla="*/ 0 w 126"/>
                    <a:gd name="T1" fmla="*/ 18 h 78"/>
                    <a:gd name="T2" fmla="*/ 11 w 126"/>
                    <a:gd name="T3" fmla="*/ 22 h 78"/>
                    <a:gd name="T4" fmla="*/ 23 w 126"/>
                    <a:gd name="T5" fmla="*/ 15 h 78"/>
                    <a:gd name="T6" fmla="*/ 52 w 126"/>
                    <a:gd name="T7" fmla="*/ 18 h 78"/>
                    <a:gd name="T8" fmla="*/ 59 w 126"/>
                    <a:gd name="T9" fmla="*/ 7 h 78"/>
                    <a:gd name="T10" fmla="*/ 75 w 126"/>
                    <a:gd name="T11" fmla="*/ 0 h 78"/>
                    <a:gd name="T12" fmla="*/ 112 w 126"/>
                    <a:gd name="T13" fmla="*/ 2 h 78"/>
                    <a:gd name="T14" fmla="*/ 123 w 126"/>
                    <a:gd name="T15" fmla="*/ 4 h 78"/>
                    <a:gd name="T16" fmla="*/ 124 w 126"/>
                    <a:gd name="T17" fmla="*/ 18 h 78"/>
                    <a:gd name="T18" fmla="*/ 123 w 126"/>
                    <a:gd name="T19" fmla="*/ 23 h 78"/>
                    <a:gd name="T20" fmla="*/ 123 w 126"/>
                    <a:gd name="T21" fmla="*/ 38 h 78"/>
                    <a:gd name="T22" fmla="*/ 126 w 126"/>
                    <a:gd name="T23" fmla="*/ 43 h 78"/>
                    <a:gd name="T24" fmla="*/ 126 w 126"/>
                    <a:gd name="T25" fmla="*/ 50 h 78"/>
                    <a:gd name="T26" fmla="*/ 119 w 126"/>
                    <a:gd name="T27" fmla="*/ 55 h 78"/>
                    <a:gd name="T28" fmla="*/ 105 w 126"/>
                    <a:gd name="T29" fmla="*/ 57 h 78"/>
                    <a:gd name="T30" fmla="*/ 94 w 126"/>
                    <a:gd name="T31" fmla="*/ 64 h 78"/>
                    <a:gd name="T32" fmla="*/ 85 w 126"/>
                    <a:gd name="T33" fmla="*/ 66 h 78"/>
                    <a:gd name="T34" fmla="*/ 80 w 126"/>
                    <a:gd name="T35" fmla="*/ 77 h 78"/>
                    <a:gd name="T36" fmla="*/ 71 w 126"/>
                    <a:gd name="T37" fmla="*/ 78 h 78"/>
                    <a:gd name="T38" fmla="*/ 70 w 126"/>
                    <a:gd name="T39" fmla="*/ 77 h 78"/>
                    <a:gd name="T40" fmla="*/ 70 w 126"/>
                    <a:gd name="T41" fmla="*/ 69 h 78"/>
                    <a:gd name="T42" fmla="*/ 52 w 126"/>
                    <a:gd name="T43" fmla="*/ 71 h 78"/>
                    <a:gd name="T44" fmla="*/ 62 w 126"/>
                    <a:gd name="T45" fmla="*/ 61 h 78"/>
                    <a:gd name="T46" fmla="*/ 57 w 126"/>
                    <a:gd name="T47" fmla="*/ 61 h 78"/>
                    <a:gd name="T48" fmla="*/ 59 w 126"/>
                    <a:gd name="T49" fmla="*/ 57 h 78"/>
                    <a:gd name="T50" fmla="*/ 55 w 126"/>
                    <a:gd name="T51" fmla="*/ 54 h 78"/>
                    <a:gd name="T52" fmla="*/ 48 w 126"/>
                    <a:gd name="T53" fmla="*/ 52 h 78"/>
                    <a:gd name="T54" fmla="*/ 47 w 126"/>
                    <a:gd name="T55" fmla="*/ 48 h 78"/>
                    <a:gd name="T56" fmla="*/ 68 w 126"/>
                    <a:gd name="T57" fmla="*/ 48 h 78"/>
                    <a:gd name="T58" fmla="*/ 71 w 126"/>
                    <a:gd name="T59" fmla="*/ 45 h 78"/>
                    <a:gd name="T60" fmla="*/ 59 w 126"/>
                    <a:gd name="T61" fmla="*/ 39 h 78"/>
                    <a:gd name="T62" fmla="*/ 50 w 126"/>
                    <a:gd name="T63" fmla="*/ 41 h 78"/>
                    <a:gd name="T64" fmla="*/ 39 w 126"/>
                    <a:gd name="T65" fmla="*/ 45 h 78"/>
                    <a:gd name="T66" fmla="*/ 34 w 126"/>
                    <a:gd name="T67" fmla="*/ 45 h 78"/>
                    <a:gd name="T68" fmla="*/ 32 w 126"/>
                    <a:gd name="T69" fmla="*/ 39 h 78"/>
                    <a:gd name="T70" fmla="*/ 23 w 126"/>
                    <a:gd name="T71" fmla="*/ 39 h 78"/>
                    <a:gd name="T72" fmla="*/ 16 w 126"/>
                    <a:gd name="T73" fmla="*/ 32 h 78"/>
                    <a:gd name="T74" fmla="*/ 23 w 126"/>
                    <a:gd name="T75" fmla="*/ 25 h 78"/>
                    <a:gd name="T76" fmla="*/ 18 w 126"/>
                    <a:gd name="T77" fmla="*/ 25 h 78"/>
                    <a:gd name="T78" fmla="*/ 4 w 126"/>
                    <a:gd name="T79" fmla="*/ 25 h 78"/>
                    <a:gd name="T80" fmla="*/ 0 w 126"/>
                    <a:gd name="T81" fmla="*/ 18 h 78"/>
                    <a:gd name="T82" fmla="*/ 0 w 126"/>
                    <a:gd name="T83" fmla="*/ 18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26" h="78">
                      <a:moveTo>
                        <a:pt x="0" y="18"/>
                      </a:moveTo>
                      <a:lnTo>
                        <a:pt x="11" y="22"/>
                      </a:lnTo>
                      <a:lnTo>
                        <a:pt x="23" y="15"/>
                      </a:lnTo>
                      <a:lnTo>
                        <a:pt x="52" y="18"/>
                      </a:lnTo>
                      <a:lnTo>
                        <a:pt x="59" y="7"/>
                      </a:lnTo>
                      <a:lnTo>
                        <a:pt x="75" y="0"/>
                      </a:lnTo>
                      <a:lnTo>
                        <a:pt x="112" y="2"/>
                      </a:lnTo>
                      <a:lnTo>
                        <a:pt x="123" y="4"/>
                      </a:lnTo>
                      <a:lnTo>
                        <a:pt x="124" y="18"/>
                      </a:lnTo>
                      <a:lnTo>
                        <a:pt x="123" y="23"/>
                      </a:lnTo>
                      <a:lnTo>
                        <a:pt x="123" y="38"/>
                      </a:lnTo>
                      <a:lnTo>
                        <a:pt x="126" y="43"/>
                      </a:lnTo>
                      <a:lnTo>
                        <a:pt x="126" y="50"/>
                      </a:lnTo>
                      <a:lnTo>
                        <a:pt x="119" y="55"/>
                      </a:lnTo>
                      <a:lnTo>
                        <a:pt x="105" y="57"/>
                      </a:lnTo>
                      <a:lnTo>
                        <a:pt x="94" y="64"/>
                      </a:lnTo>
                      <a:lnTo>
                        <a:pt x="85" y="66"/>
                      </a:lnTo>
                      <a:lnTo>
                        <a:pt x="80" y="77"/>
                      </a:lnTo>
                      <a:lnTo>
                        <a:pt x="71" y="78"/>
                      </a:lnTo>
                      <a:lnTo>
                        <a:pt x="70" y="77"/>
                      </a:lnTo>
                      <a:lnTo>
                        <a:pt x="70" y="69"/>
                      </a:lnTo>
                      <a:lnTo>
                        <a:pt x="52" y="71"/>
                      </a:lnTo>
                      <a:lnTo>
                        <a:pt x="62" y="61"/>
                      </a:lnTo>
                      <a:lnTo>
                        <a:pt x="57" y="61"/>
                      </a:lnTo>
                      <a:lnTo>
                        <a:pt x="59" y="57"/>
                      </a:lnTo>
                      <a:lnTo>
                        <a:pt x="55" y="54"/>
                      </a:lnTo>
                      <a:lnTo>
                        <a:pt x="48" y="52"/>
                      </a:lnTo>
                      <a:lnTo>
                        <a:pt x="47" y="48"/>
                      </a:lnTo>
                      <a:lnTo>
                        <a:pt x="68" y="48"/>
                      </a:lnTo>
                      <a:lnTo>
                        <a:pt x="71" y="45"/>
                      </a:lnTo>
                      <a:lnTo>
                        <a:pt x="59" y="39"/>
                      </a:lnTo>
                      <a:lnTo>
                        <a:pt x="50" y="41"/>
                      </a:lnTo>
                      <a:lnTo>
                        <a:pt x="39" y="45"/>
                      </a:lnTo>
                      <a:lnTo>
                        <a:pt x="34" y="45"/>
                      </a:lnTo>
                      <a:lnTo>
                        <a:pt x="32" y="39"/>
                      </a:lnTo>
                      <a:lnTo>
                        <a:pt x="23" y="39"/>
                      </a:lnTo>
                      <a:lnTo>
                        <a:pt x="16" y="32"/>
                      </a:lnTo>
                      <a:lnTo>
                        <a:pt x="23" y="25"/>
                      </a:lnTo>
                      <a:lnTo>
                        <a:pt x="18" y="25"/>
                      </a:lnTo>
                      <a:lnTo>
                        <a:pt x="4" y="25"/>
                      </a:lnTo>
                      <a:lnTo>
                        <a:pt x="0" y="18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1" name="Freeform 25">
                  <a:extLst>
                    <a:ext uri="{FF2B5EF4-FFF2-40B4-BE49-F238E27FC236}">
                      <a16:creationId xmlns:a16="http://schemas.microsoft.com/office/drawing/2014/main" id="{6FCA9B2F-A115-7A59-507E-325FDD35FB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14800" y="3097204"/>
                  <a:ext cx="466726" cy="461962"/>
                </a:xfrm>
                <a:custGeom>
                  <a:avLst/>
                  <a:gdLst>
                    <a:gd name="T0" fmla="*/ 5 w 294"/>
                    <a:gd name="T1" fmla="*/ 64 h 291"/>
                    <a:gd name="T2" fmla="*/ 25 w 294"/>
                    <a:gd name="T3" fmla="*/ 55 h 291"/>
                    <a:gd name="T4" fmla="*/ 46 w 294"/>
                    <a:gd name="T5" fmla="*/ 48 h 291"/>
                    <a:gd name="T6" fmla="*/ 43 w 294"/>
                    <a:gd name="T7" fmla="*/ 36 h 291"/>
                    <a:gd name="T8" fmla="*/ 44 w 294"/>
                    <a:gd name="T9" fmla="*/ 16 h 291"/>
                    <a:gd name="T10" fmla="*/ 50 w 294"/>
                    <a:gd name="T11" fmla="*/ 0 h 291"/>
                    <a:gd name="T12" fmla="*/ 94 w 294"/>
                    <a:gd name="T13" fmla="*/ 9 h 291"/>
                    <a:gd name="T14" fmla="*/ 114 w 294"/>
                    <a:gd name="T15" fmla="*/ 14 h 291"/>
                    <a:gd name="T16" fmla="*/ 133 w 294"/>
                    <a:gd name="T17" fmla="*/ 16 h 291"/>
                    <a:gd name="T18" fmla="*/ 145 w 294"/>
                    <a:gd name="T19" fmla="*/ 20 h 291"/>
                    <a:gd name="T20" fmla="*/ 154 w 294"/>
                    <a:gd name="T21" fmla="*/ 29 h 291"/>
                    <a:gd name="T22" fmla="*/ 168 w 294"/>
                    <a:gd name="T23" fmla="*/ 27 h 291"/>
                    <a:gd name="T24" fmla="*/ 183 w 294"/>
                    <a:gd name="T25" fmla="*/ 36 h 291"/>
                    <a:gd name="T26" fmla="*/ 202 w 294"/>
                    <a:gd name="T27" fmla="*/ 29 h 291"/>
                    <a:gd name="T28" fmla="*/ 215 w 294"/>
                    <a:gd name="T29" fmla="*/ 18 h 291"/>
                    <a:gd name="T30" fmla="*/ 234 w 294"/>
                    <a:gd name="T31" fmla="*/ 21 h 291"/>
                    <a:gd name="T32" fmla="*/ 246 w 294"/>
                    <a:gd name="T33" fmla="*/ 16 h 291"/>
                    <a:gd name="T34" fmla="*/ 255 w 294"/>
                    <a:gd name="T35" fmla="*/ 29 h 291"/>
                    <a:gd name="T36" fmla="*/ 257 w 294"/>
                    <a:gd name="T37" fmla="*/ 48 h 291"/>
                    <a:gd name="T38" fmla="*/ 271 w 294"/>
                    <a:gd name="T39" fmla="*/ 53 h 291"/>
                    <a:gd name="T40" fmla="*/ 264 w 294"/>
                    <a:gd name="T41" fmla="*/ 69 h 291"/>
                    <a:gd name="T42" fmla="*/ 266 w 294"/>
                    <a:gd name="T43" fmla="*/ 78 h 291"/>
                    <a:gd name="T44" fmla="*/ 277 w 294"/>
                    <a:gd name="T45" fmla="*/ 73 h 291"/>
                    <a:gd name="T46" fmla="*/ 280 w 294"/>
                    <a:gd name="T47" fmla="*/ 85 h 291"/>
                    <a:gd name="T48" fmla="*/ 291 w 294"/>
                    <a:gd name="T49" fmla="*/ 91 h 291"/>
                    <a:gd name="T50" fmla="*/ 294 w 294"/>
                    <a:gd name="T51" fmla="*/ 101 h 291"/>
                    <a:gd name="T52" fmla="*/ 275 w 294"/>
                    <a:gd name="T53" fmla="*/ 108 h 291"/>
                    <a:gd name="T54" fmla="*/ 278 w 294"/>
                    <a:gd name="T55" fmla="*/ 119 h 291"/>
                    <a:gd name="T56" fmla="*/ 278 w 294"/>
                    <a:gd name="T57" fmla="*/ 144 h 291"/>
                    <a:gd name="T58" fmla="*/ 284 w 294"/>
                    <a:gd name="T59" fmla="*/ 161 h 291"/>
                    <a:gd name="T60" fmla="*/ 289 w 294"/>
                    <a:gd name="T61" fmla="*/ 176 h 291"/>
                    <a:gd name="T62" fmla="*/ 277 w 294"/>
                    <a:gd name="T63" fmla="*/ 177 h 291"/>
                    <a:gd name="T64" fmla="*/ 284 w 294"/>
                    <a:gd name="T65" fmla="*/ 191 h 291"/>
                    <a:gd name="T66" fmla="*/ 285 w 294"/>
                    <a:gd name="T67" fmla="*/ 204 h 291"/>
                    <a:gd name="T68" fmla="*/ 268 w 294"/>
                    <a:gd name="T69" fmla="*/ 230 h 291"/>
                    <a:gd name="T70" fmla="*/ 268 w 294"/>
                    <a:gd name="T71" fmla="*/ 245 h 291"/>
                    <a:gd name="T72" fmla="*/ 255 w 294"/>
                    <a:gd name="T73" fmla="*/ 266 h 291"/>
                    <a:gd name="T74" fmla="*/ 193 w 294"/>
                    <a:gd name="T75" fmla="*/ 291 h 291"/>
                    <a:gd name="T76" fmla="*/ 172 w 294"/>
                    <a:gd name="T77" fmla="*/ 280 h 291"/>
                    <a:gd name="T78" fmla="*/ 154 w 294"/>
                    <a:gd name="T79" fmla="*/ 262 h 291"/>
                    <a:gd name="T80" fmla="*/ 156 w 294"/>
                    <a:gd name="T81" fmla="*/ 255 h 291"/>
                    <a:gd name="T82" fmla="*/ 176 w 294"/>
                    <a:gd name="T83" fmla="*/ 188 h 291"/>
                    <a:gd name="T84" fmla="*/ 174 w 294"/>
                    <a:gd name="T85" fmla="*/ 179 h 291"/>
                    <a:gd name="T86" fmla="*/ 179 w 294"/>
                    <a:gd name="T87" fmla="*/ 170 h 291"/>
                    <a:gd name="T88" fmla="*/ 172 w 294"/>
                    <a:gd name="T89" fmla="*/ 156 h 291"/>
                    <a:gd name="T90" fmla="*/ 163 w 294"/>
                    <a:gd name="T91" fmla="*/ 131 h 291"/>
                    <a:gd name="T92" fmla="*/ 153 w 294"/>
                    <a:gd name="T93" fmla="*/ 114 h 291"/>
                    <a:gd name="T94" fmla="*/ 106 w 294"/>
                    <a:gd name="T95" fmla="*/ 117 h 291"/>
                    <a:gd name="T96" fmla="*/ 89 w 294"/>
                    <a:gd name="T97" fmla="*/ 135 h 291"/>
                    <a:gd name="T98" fmla="*/ 76 w 294"/>
                    <a:gd name="T99" fmla="*/ 147 h 291"/>
                    <a:gd name="T100" fmla="*/ 64 w 294"/>
                    <a:gd name="T101" fmla="*/ 142 h 291"/>
                    <a:gd name="T102" fmla="*/ 50 w 294"/>
                    <a:gd name="T103" fmla="*/ 124 h 291"/>
                    <a:gd name="T104" fmla="*/ 37 w 294"/>
                    <a:gd name="T105" fmla="*/ 121 h 291"/>
                    <a:gd name="T106" fmla="*/ 41 w 294"/>
                    <a:gd name="T107" fmla="*/ 110 h 291"/>
                    <a:gd name="T108" fmla="*/ 30 w 294"/>
                    <a:gd name="T109" fmla="*/ 112 h 291"/>
                    <a:gd name="T110" fmla="*/ 14 w 294"/>
                    <a:gd name="T111" fmla="*/ 110 h 291"/>
                    <a:gd name="T112" fmla="*/ 9 w 294"/>
                    <a:gd name="T113" fmla="*/ 82 h 291"/>
                    <a:gd name="T114" fmla="*/ 0 w 294"/>
                    <a:gd name="T115" fmla="*/ 75 h 2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94" h="291">
                      <a:moveTo>
                        <a:pt x="0" y="75"/>
                      </a:moveTo>
                      <a:lnTo>
                        <a:pt x="5" y="64"/>
                      </a:lnTo>
                      <a:lnTo>
                        <a:pt x="14" y="62"/>
                      </a:lnTo>
                      <a:lnTo>
                        <a:pt x="25" y="55"/>
                      </a:lnTo>
                      <a:lnTo>
                        <a:pt x="39" y="53"/>
                      </a:lnTo>
                      <a:lnTo>
                        <a:pt x="46" y="48"/>
                      </a:lnTo>
                      <a:lnTo>
                        <a:pt x="46" y="41"/>
                      </a:lnTo>
                      <a:lnTo>
                        <a:pt x="43" y="36"/>
                      </a:lnTo>
                      <a:lnTo>
                        <a:pt x="43" y="21"/>
                      </a:lnTo>
                      <a:lnTo>
                        <a:pt x="44" y="16"/>
                      </a:lnTo>
                      <a:lnTo>
                        <a:pt x="43" y="2"/>
                      </a:lnTo>
                      <a:lnTo>
                        <a:pt x="50" y="0"/>
                      </a:lnTo>
                      <a:lnTo>
                        <a:pt x="76" y="0"/>
                      </a:lnTo>
                      <a:lnTo>
                        <a:pt x="94" y="9"/>
                      </a:lnTo>
                      <a:lnTo>
                        <a:pt x="101" y="14"/>
                      </a:lnTo>
                      <a:lnTo>
                        <a:pt x="114" y="14"/>
                      </a:lnTo>
                      <a:lnTo>
                        <a:pt x="126" y="20"/>
                      </a:lnTo>
                      <a:lnTo>
                        <a:pt x="133" y="16"/>
                      </a:lnTo>
                      <a:lnTo>
                        <a:pt x="142" y="16"/>
                      </a:lnTo>
                      <a:lnTo>
                        <a:pt x="145" y="20"/>
                      </a:lnTo>
                      <a:lnTo>
                        <a:pt x="154" y="21"/>
                      </a:lnTo>
                      <a:lnTo>
                        <a:pt x="154" y="29"/>
                      </a:lnTo>
                      <a:lnTo>
                        <a:pt x="160" y="30"/>
                      </a:lnTo>
                      <a:lnTo>
                        <a:pt x="168" y="27"/>
                      </a:lnTo>
                      <a:lnTo>
                        <a:pt x="174" y="29"/>
                      </a:lnTo>
                      <a:lnTo>
                        <a:pt x="183" y="36"/>
                      </a:lnTo>
                      <a:lnTo>
                        <a:pt x="193" y="36"/>
                      </a:lnTo>
                      <a:lnTo>
                        <a:pt x="202" y="29"/>
                      </a:lnTo>
                      <a:lnTo>
                        <a:pt x="207" y="29"/>
                      </a:lnTo>
                      <a:lnTo>
                        <a:pt x="215" y="18"/>
                      </a:lnTo>
                      <a:lnTo>
                        <a:pt x="223" y="16"/>
                      </a:lnTo>
                      <a:lnTo>
                        <a:pt x="234" y="21"/>
                      </a:lnTo>
                      <a:lnTo>
                        <a:pt x="238" y="18"/>
                      </a:lnTo>
                      <a:lnTo>
                        <a:pt x="246" y="16"/>
                      </a:lnTo>
                      <a:lnTo>
                        <a:pt x="246" y="20"/>
                      </a:lnTo>
                      <a:lnTo>
                        <a:pt x="255" y="29"/>
                      </a:lnTo>
                      <a:lnTo>
                        <a:pt x="261" y="37"/>
                      </a:lnTo>
                      <a:lnTo>
                        <a:pt x="257" y="48"/>
                      </a:lnTo>
                      <a:lnTo>
                        <a:pt x="262" y="52"/>
                      </a:lnTo>
                      <a:lnTo>
                        <a:pt x="271" y="53"/>
                      </a:lnTo>
                      <a:lnTo>
                        <a:pt x="271" y="59"/>
                      </a:lnTo>
                      <a:lnTo>
                        <a:pt x="264" y="69"/>
                      </a:lnTo>
                      <a:lnTo>
                        <a:pt x="259" y="80"/>
                      </a:lnTo>
                      <a:lnTo>
                        <a:pt x="266" y="78"/>
                      </a:lnTo>
                      <a:lnTo>
                        <a:pt x="271" y="73"/>
                      </a:lnTo>
                      <a:lnTo>
                        <a:pt x="277" y="73"/>
                      </a:lnTo>
                      <a:lnTo>
                        <a:pt x="277" y="82"/>
                      </a:lnTo>
                      <a:lnTo>
                        <a:pt x="280" y="85"/>
                      </a:lnTo>
                      <a:lnTo>
                        <a:pt x="280" y="91"/>
                      </a:lnTo>
                      <a:lnTo>
                        <a:pt x="291" y="91"/>
                      </a:lnTo>
                      <a:lnTo>
                        <a:pt x="294" y="96"/>
                      </a:lnTo>
                      <a:lnTo>
                        <a:pt x="294" y="101"/>
                      </a:lnTo>
                      <a:lnTo>
                        <a:pt x="291" y="103"/>
                      </a:lnTo>
                      <a:lnTo>
                        <a:pt x="275" y="108"/>
                      </a:lnTo>
                      <a:lnTo>
                        <a:pt x="275" y="115"/>
                      </a:lnTo>
                      <a:lnTo>
                        <a:pt x="278" y="119"/>
                      </a:lnTo>
                      <a:lnTo>
                        <a:pt x="280" y="138"/>
                      </a:lnTo>
                      <a:lnTo>
                        <a:pt x="278" y="144"/>
                      </a:lnTo>
                      <a:lnTo>
                        <a:pt x="280" y="160"/>
                      </a:lnTo>
                      <a:lnTo>
                        <a:pt x="284" y="161"/>
                      </a:lnTo>
                      <a:lnTo>
                        <a:pt x="289" y="170"/>
                      </a:lnTo>
                      <a:lnTo>
                        <a:pt x="289" y="176"/>
                      </a:lnTo>
                      <a:lnTo>
                        <a:pt x="282" y="176"/>
                      </a:lnTo>
                      <a:lnTo>
                        <a:pt x="277" y="177"/>
                      </a:lnTo>
                      <a:lnTo>
                        <a:pt x="277" y="183"/>
                      </a:lnTo>
                      <a:lnTo>
                        <a:pt x="284" y="191"/>
                      </a:lnTo>
                      <a:lnTo>
                        <a:pt x="287" y="195"/>
                      </a:lnTo>
                      <a:lnTo>
                        <a:pt x="285" y="204"/>
                      </a:lnTo>
                      <a:lnTo>
                        <a:pt x="275" y="229"/>
                      </a:lnTo>
                      <a:lnTo>
                        <a:pt x="268" y="230"/>
                      </a:lnTo>
                      <a:lnTo>
                        <a:pt x="266" y="236"/>
                      </a:lnTo>
                      <a:lnTo>
                        <a:pt x="268" y="245"/>
                      </a:lnTo>
                      <a:lnTo>
                        <a:pt x="262" y="259"/>
                      </a:lnTo>
                      <a:lnTo>
                        <a:pt x="255" y="266"/>
                      </a:lnTo>
                      <a:lnTo>
                        <a:pt x="257" y="269"/>
                      </a:lnTo>
                      <a:lnTo>
                        <a:pt x="193" y="291"/>
                      </a:lnTo>
                      <a:lnTo>
                        <a:pt x="177" y="280"/>
                      </a:lnTo>
                      <a:lnTo>
                        <a:pt x="172" y="280"/>
                      </a:lnTo>
                      <a:lnTo>
                        <a:pt x="161" y="264"/>
                      </a:lnTo>
                      <a:lnTo>
                        <a:pt x="154" y="262"/>
                      </a:lnTo>
                      <a:lnTo>
                        <a:pt x="158" y="255"/>
                      </a:lnTo>
                      <a:lnTo>
                        <a:pt x="156" y="255"/>
                      </a:lnTo>
                      <a:lnTo>
                        <a:pt x="174" y="243"/>
                      </a:lnTo>
                      <a:lnTo>
                        <a:pt x="176" y="188"/>
                      </a:lnTo>
                      <a:lnTo>
                        <a:pt x="177" y="181"/>
                      </a:lnTo>
                      <a:lnTo>
                        <a:pt x="174" y="179"/>
                      </a:lnTo>
                      <a:lnTo>
                        <a:pt x="174" y="172"/>
                      </a:lnTo>
                      <a:lnTo>
                        <a:pt x="179" y="170"/>
                      </a:lnTo>
                      <a:lnTo>
                        <a:pt x="179" y="163"/>
                      </a:lnTo>
                      <a:lnTo>
                        <a:pt x="172" y="156"/>
                      </a:lnTo>
                      <a:lnTo>
                        <a:pt x="172" y="149"/>
                      </a:lnTo>
                      <a:lnTo>
                        <a:pt x="163" y="131"/>
                      </a:lnTo>
                      <a:lnTo>
                        <a:pt x="158" y="124"/>
                      </a:lnTo>
                      <a:lnTo>
                        <a:pt x="153" y="114"/>
                      </a:lnTo>
                      <a:lnTo>
                        <a:pt x="117" y="114"/>
                      </a:lnTo>
                      <a:lnTo>
                        <a:pt x="106" y="117"/>
                      </a:lnTo>
                      <a:lnTo>
                        <a:pt x="101" y="124"/>
                      </a:lnTo>
                      <a:lnTo>
                        <a:pt x="89" y="135"/>
                      </a:lnTo>
                      <a:lnTo>
                        <a:pt x="89" y="140"/>
                      </a:lnTo>
                      <a:lnTo>
                        <a:pt x="76" y="147"/>
                      </a:lnTo>
                      <a:lnTo>
                        <a:pt x="69" y="147"/>
                      </a:lnTo>
                      <a:lnTo>
                        <a:pt x="64" y="142"/>
                      </a:lnTo>
                      <a:lnTo>
                        <a:pt x="52" y="137"/>
                      </a:lnTo>
                      <a:lnTo>
                        <a:pt x="50" y="124"/>
                      </a:lnTo>
                      <a:lnTo>
                        <a:pt x="41" y="124"/>
                      </a:lnTo>
                      <a:lnTo>
                        <a:pt x="37" y="121"/>
                      </a:lnTo>
                      <a:lnTo>
                        <a:pt x="37" y="114"/>
                      </a:lnTo>
                      <a:lnTo>
                        <a:pt x="41" y="110"/>
                      </a:lnTo>
                      <a:lnTo>
                        <a:pt x="34" y="106"/>
                      </a:lnTo>
                      <a:lnTo>
                        <a:pt x="30" y="112"/>
                      </a:lnTo>
                      <a:lnTo>
                        <a:pt x="23" y="110"/>
                      </a:lnTo>
                      <a:lnTo>
                        <a:pt x="14" y="110"/>
                      </a:lnTo>
                      <a:lnTo>
                        <a:pt x="4" y="96"/>
                      </a:lnTo>
                      <a:lnTo>
                        <a:pt x="9" y="82"/>
                      </a:lnTo>
                      <a:lnTo>
                        <a:pt x="2" y="75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2" name="Freeform 26">
                  <a:extLst>
                    <a:ext uri="{FF2B5EF4-FFF2-40B4-BE49-F238E27FC236}">
                      <a16:creationId xmlns:a16="http://schemas.microsoft.com/office/drawing/2014/main" id="{41CD7794-34D8-9080-3B55-933A26EB25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19574" y="3278179"/>
                  <a:ext cx="179388" cy="223837"/>
                </a:xfrm>
                <a:custGeom>
                  <a:avLst/>
                  <a:gdLst>
                    <a:gd name="T0" fmla="*/ 30 w 113"/>
                    <a:gd name="T1" fmla="*/ 120 h 141"/>
                    <a:gd name="T2" fmla="*/ 30 w 113"/>
                    <a:gd name="T3" fmla="*/ 115 h 141"/>
                    <a:gd name="T4" fmla="*/ 26 w 113"/>
                    <a:gd name="T5" fmla="*/ 109 h 141"/>
                    <a:gd name="T6" fmla="*/ 21 w 113"/>
                    <a:gd name="T7" fmla="*/ 109 h 141"/>
                    <a:gd name="T8" fmla="*/ 19 w 113"/>
                    <a:gd name="T9" fmla="*/ 113 h 141"/>
                    <a:gd name="T10" fmla="*/ 21 w 113"/>
                    <a:gd name="T11" fmla="*/ 116 h 141"/>
                    <a:gd name="T12" fmla="*/ 26 w 113"/>
                    <a:gd name="T13" fmla="*/ 120 h 141"/>
                    <a:gd name="T14" fmla="*/ 30 w 113"/>
                    <a:gd name="T15" fmla="*/ 120 h 141"/>
                    <a:gd name="T16" fmla="*/ 30 w 113"/>
                    <a:gd name="T17" fmla="*/ 120 h 141"/>
                    <a:gd name="T18" fmla="*/ 3 w 113"/>
                    <a:gd name="T19" fmla="*/ 33 h 141"/>
                    <a:gd name="T20" fmla="*/ 10 w 113"/>
                    <a:gd name="T21" fmla="*/ 33 h 141"/>
                    <a:gd name="T22" fmla="*/ 23 w 113"/>
                    <a:gd name="T23" fmla="*/ 26 h 141"/>
                    <a:gd name="T24" fmla="*/ 23 w 113"/>
                    <a:gd name="T25" fmla="*/ 21 h 141"/>
                    <a:gd name="T26" fmla="*/ 35 w 113"/>
                    <a:gd name="T27" fmla="*/ 10 h 141"/>
                    <a:gd name="T28" fmla="*/ 40 w 113"/>
                    <a:gd name="T29" fmla="*/ 3 h 141"/>
                    <a:gd name="T30" fmla="*/ 51 w 113"/>
                    <a:gd name="T31" fmla="*/ 0 h 141"/>
                    <a:gd name="T32" fmla="*/ 87 w 113"/>
                    <a:gd name="T33" fmla="*/ 0 h 141"/>
                    <a:gd name="T34" fmla="*/ 92 w 113"/>
                    <a:gd name="T35" fmla="*/ 10 h 141"/>
                    <a:gd name="T36" fmla="*/ 97 w 113"/>
                    <a:gd name="T37" fmla="*/ 17 h 141"/>
                    <a:gd name="T38" fmla="*/ 106 w 113"/>
                    <a:gd name="T39" fmla="*/ 35 h 141"/>
                    <a:gd name="T40" fmla="*/ 106 w 113"/>
                    <a:gd name="T41" fmla="*/ 42 h 141"/>
                    <a:gd name="T42" fmla="*/ 113 w 113"/>
                    <a:gd name="T43" fmla="*/ 49 h 141"/>
                    <a:gd name="T44" fmla="*/ 113 w 113"/>
                    <a:gd name="T45" fmla="*/ 56 h 141"/>
                    <a:gd name="T46" fmla="*/ 108 w 113"/>
                    <a:gd name="T47" fmla="*/ 58 h 141"/>
                    <a:gd name="T48" fmla="*/ 108 w 113"/>
                    <a:gd name="T49" fmla="*/ 65 h 141"/>
                    <a:gd name="T50" fmla="*/ 111 w 113"/>
                    <a:gd name="T51" fmla="*/ 67 h 141"/>
                    <a:gd name="T52" fmla="*/ 110 w 113"/>
                    <a:gd name="T53" fmla="*/ 74 h 141"/>
                    <a:gd name="T54" fmla="*/ 108 w 113"/>
                    <a:gd name="T55" fmla="*/ 129 h 141"/>
                    <a:gd name="T56" fmla="*/ 90 w 113"/>
                    <a:gd name="T57" fmla="*/ 141 h 141"/>
                    <a:gd name="T58" fmla="*/ 85 w 113"/>
                    <a:gd name="T59" fmla="*/ 138 h 141"/>
                    <a:gd name="T60" fmla="*/ 69 w 113"/>
                    <a:gd name="T61" fmla="*/ 138 h 141"/>
                    <a:gd name="T62" fmla="*/ 48 w 113"/>
                    <a:gd name="T63" fmla="*/ 127 h 141"/>
                    <a:gd name="T64" fmla="*/ 37 w 113"/>
                    <a:gd name="T65" fmla="*/ 124 h 141"/>
                    <a:gd name="T66" fmla="*/ 40 w 113"/>
                    <a:gd name="T67" fmla="*/ 120 h 141"/>
                    <a:gd name="T68" fmla="*/ 33 w 113"/>
                    <a:gd name="T69" fmla="*/ 113 h 141"/>
                    <a:gd name="T70" fmla="*/ 30 w 113"/>
                    <a:gd name="T71" fmla="*/ 108 h 141"/>
                    <a:gd name="T72" fmla="*/ 33 w 113"/>
                    <a:gd name="T73" fmla="*/ 101 h 141"/>
                    <a:gd name="T74" fmla="*/ 32 w 113"/>
                    <a:gd name="T75" fmla="*/ 99 h 141"/>
                    <a:gd name="T76" fmla="*/ 25 w 113"/>
                    <a:gd name="T77" fmla="*/ 102 h 141"/>
                    <a:gd name="T78" fmla="*/ 14 w 113"/>
                    <a:gd name="T79" fmla="*/ 92 h 141"/>
                    <a:gd name="T80" fmla="*/ 14 w 113"/>
                    <a:gd name="T81" fmla="*/ 83 h 141"/>
                    <a:gd name="T82" fmla="*/ 10 w 113"/>
                    <a:gd name="T83" fmla="*/ 69 h 141"/>
                    <a:gd name="T84" fmla="*/ 3 w 113"/>
                    <a:gd name="T85" fmla="*/ 69 h 141"/>
                    <a:gd name="T86" fmla="*/ 0 w 113"/>
                    <a:gd name="T87" fmla="*/ 62 h 141"/>
                    <a:gd name="T88" fmla="*/ 5 w 113"/>
                    <a:gd name="T89" fmla="*/ 51 h 141"/>
                    <a:gd name="T90" fmla="*/ 0 w 113"/>
                    <a:gd name="T91" fmla="*/ 47 h 141"/>
                    <a:gd name="T92" fmla="*/ 0 w 113"/>
                    <a:gd name="T93" fmla="*/ 42 h 141"/>
                    <a:gd name="T94" fmla="*/ 5 w 113"/>
                    <a:gd name="T95" fmla="*/ 33 h 141"/>
                    <a:gd name="T96" fmla="*/ 3 w 113"/>
                    <a:gd name="T97" fmla="*/ 33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3" h="141">
                      <a:moveTo>
                        <a:pt x="30" y="120"/>
                      </a:moveTo>
                      <a:lnTo>
                        <a:pt x="30" y="115"/>
                      </a:lnTo>
                      <a:lnTo>
                        <a:pt x="26" y="109"/>
                      </a:lnTo>
                      <a:lnTo>
                        <a:pt x="21" y="109"/>
                      </a:lnTo>
                      <a:lnTo>
                        <a:pt x="19" y="113"/>
                      </a:lnTo>
                      <a:lnTo>
                        <a:pt x="21" y="116"/>
                      </a:lnTo>
                      <a:lnTo>
                        <a:pt x="26" y="120"/>
                      </a:lnTo>
                      <a:lnTo>
                        <a:pt x="30" y="120"/>
                      </a:lnTo>
                      <a:lnTo>
                        <a:pt x="30" y="120"/>
                      </a:lnTo>
                      <a:close/>
                      <a:moveTo>
                        <a:pt x="3" y="33"/>
                      </a:moveTo>
                      <a:lnTo>
                        <a:pt x="10" y="33"/>
                      </a:lnTo>
                      <a:lnTo>
                        <a:pt x="23" y="26"/>
                      </a:lnTo>
                      <a:lnTo>
                        <a:pt x="23" y="21"/>
                      </a:lnTo>
                      <a:lnTo>
                        <a:pt x="35" y="10"/>
                      </a:lnTo>
                      <a:lnTo>
                        <a:pt x="40" y="3"/>
                      </a:lnTo>
                      <a:lnTo>
                        <a:pt x="51" y="0"/>
                      </a:lnTo>
                      <a:lnTo>
                        <a:pt x="87" y="0"/>
                      </a:lnTo>
                      <a:lnTo>
                        <a:pt x="92" y="10"/>
                      </a:lnTo>
                      <a:lnTo>
                        <a:pt x="97" y="17"/>
                      </a:lnTo>
                      <a:lnTo>
                        <a:pt x="106" y="35"/>
                      </a:lnTo>
                      <a:lnTo>
                        <a:pt x="106" y="42"/>
                      </a:lnTo>
                      <a:lnTo>
                        <a:pt x="113" y="49"/>
                      </a:lnTo>
                      <a:lnTo>
                        <a:pt x="113" y="56"/>
                      </a:lnTo>
                      <a:lnTo>
                        <a:pt x="108" y="58"/>
                      </a:lnTo>
                      <a:lnTo>
                        <a:pt x="108" y="65"/>
                      </a:lnTo>
                      <a:lnTo>
                        <a:pt x="111" y="67"/>
                      </a:lnTo>
                      <a:lnTo>
                        <a:pt x="110" y="74"/>
                      </a:lnTo>
                      <a:lnTo>
                        <a:pt x="108" y="129"/>
                      </a:lnTo>
                      <a:lnTo>
                        <a:pt x="90" y="141"/>
                      </a:lnTo>
                      <a:lnTo>
                        <a:pt x="85" y="138"/>
                      </a:lnTo>
                      <a:lnTo>
                        <a:pt x="69" y="138"/>
                      </a:lnTo>
                      <a:lnTo>
                        <a:pt x="48" y="127"/>
                      </a:lnTo>
                      <a:lnTo>
                        <a:pt x="37" y="124"/>
                      </a:lnTo>
                      <a:lnTo>
                        <a:pt x="40" y="120"/>
                      </a:lnTo>
                      <a:lnTo>
                        <a:pt x="33" y="113"/>
                      </a:lnTo>
                      <a:lnTo>
                        <a:pt x="30" y="108"/>
                      </a:lnTo>
                      <a:lnTo>
                        <a:pt x="33" y="101"/>
                      </a:lnTo>
                      <a:lnTo>
                        <a:pt x="32" y="99"/>
                      </a:lnTo>
                      <a:lnTo>
                        <a:pt x="25" y="102"/>
                      </a:lnTo>
                      <a:lnTo>
                        <a:pt x="14" y="92"/>
                      </a:lnTo>
                      <a:lnTo>
                        <a:pt x="14" y="83"/>
                      </a:lnTo>
                      <a:lnTo>
                        <a:pt x="10" y="69"/>
                      </a:lnTo>
                      <a:lnTo>
                        <a:pt x="3" y="69"/>
                      </a:lnTo>
                      <a:lnTo>
                        <a:pt x="0" y="62"/>
                      </a:lnTo>
                      <a:lnTo>
                        <a:pt x="5" y="51"/>
                      </a:lnTo>
                      <a:lnTo>
                        <a:pt x="0" y="47"/>
                      </a:lnTo>
                      <a:lnTo>
                        <a:pt x="0" y="42"/>
                      </a:lnTo>
                      <a:lnTo>
                        <a:pt x="5" y="33"/>
                      </a:lnTo>
                      <a:lnTo>
                        <a:pt x="3" y="33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3" name="Freeform 27">
                  <a:extLst>
                    <a:ext uri="{FF2B5EF4-FFF2-40B4-BE49-F238E27FC236}">
                      <a16:creationId xmlns:a16="http://schemas.microsoft.com/office/drawing/2014/main" id="{BCCC9048-20C9-6F7B-B867-258A653BDF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7047" y="3378191"/>
                  <a:ext cx="265113" cy="284162"/>
                </a:xfrm>
                <a:custGeom>
                  <a:avLst/>
                  <a:gdLst>
                    <a:gd name="T0" fmla="*/ 0 w 167"/>
                    <a:gd name="T1" fmla="*/ 75 h 179"/>
                    <a:gd name="T2" fmla="*/ 2 w 167"/>
                    <a:gd name="T3" fmla="*/ 69 h 179"/>
                    <a:gd name="T4" fmla="*/ 5 w 167"/>
                    <a:gd name="T5" fmla="*/ 59 h 179"/>
                    <a:gd name="T6" fmla="*/ 16 w 167"/>
                    <a:gd name="T7" fmla="*/ 53 h 179"/>
                    <a:gd name="T8" fmla="*/ 25 w 167"/>
                    <a:gd name="T9" fmla="*/ 43 h 179"/>
                    <a:gd name="T10" fmla="*/ 23 w 167"/>
                    <a:gd name="T11" fmla="*/ 38 h 179"/>
                    <a:gd name="T12" fmla="*/ 28 w 167"/>
                    <a:gd name="T13" fmla="*/ 25 h 179"/>
                    <a:gd name="T14" fmla="*/ 34 w 167"/>
                    <a:gd name="T15" fmla="*/ 23 h 179"/>
                    <a:gd name="T16" fmla="*/ 34 w 167"/>
                    <a:gd name="T17" fmla="*/ 18 h 179"/>
                    <a:gd name="T18" fmla="*/ 36 w 167"/>
                    <a:gd name="T19" fmla="*/ 9 h 179"/>
                    <a:gd name="T20" fmla="*/ 46 w 167"/>
                    <a:gd name="T21" fmla="*/ 4 h 179"/>
                    <a:gd name="T22" fmla="*/ 50 w 167"/>
                    <a:gd name="T23" fmla="*/ 6 h 179"/>
                    <a:gd name="T24" fmla="*/ 67 w 167"/>
                    <a:gd name="T25" fmla="*/ 0 h 179"/>
                    <a:gd name="T26" fmla="*/ 76 w 167"/>
                    <a:gd name="T27" fmla="*/ 4 h 179"/>
                    <a:gd name="T28" fmla="*/ 82 w 167"/>
                    <a:gd name="T29" fmla="*/ 13 h 179"/>
                    <a:gd name="T30" fmla="*/ 89 w 167"/>
                    <a:gd name="T31" fmla="*/ 18 h 179"/>
                    <a:gd name="T32" fmla="*/ 89 w 167"/>
                    <a:gd name="T33" fmla="*/ 34 h 179"/>
                    <a:gd name="T34" fmla="*/ 87 w 167"/>
                    <a:gd name="T35" fmla="*/ 43 h 179"/>
                    <a:gd name="T36" fmla="*/ 98 w 167"/>
                    <a:gd name="T37" fmla="*/ 55 h 179"/>
                    <a:gd name="T38" fmla="*/ 103 w 167"/>
                    <a:gd name="T39" fmla="*/ 53 h 179"/>
                    <a:gd name="T40" fmla="*/ 114 w 167"/>
                    <a:gd name="T41" fmla="*/ 45 h 179"/>
                    <a:gd name="T42" fmla="*/ 119 w 167"/>
                    <a:gd name="T43" fmla="*/ 45 h 179"/>
                    <a:gd name="T44" fmla="*/ 126 w 167"/>
                    <a:gd name="T45" fmla="*/ 52 h 179"/>
                    <a:gd name="T46" fmla="*/ 128 w 167"/>
                    <a:gd name="T47" fmla="*/ 55 h 179"/>
                    <a:gd name="T48" fmla="*/ 126 w 167"/>
                    <a:gd name="T49" fmla="*/ 59 h 179"/>
                    <a:gd name="T50" fmla="*/ 128 w 167"/>
                    <a:gd name="T51" fmla="*/ 68 h 179"/>
                    <a:gd name="T52" fmla="*/ 122 w 167"/>
                    <a:gd name="T53" fmla="*/ 82 h 179"/>
                    <a:gd name="T54" fmla="*/ 115 w 167"/>
                    <a:gd name="T55" fmla="*/ 89 h 179"/>
                    <a:gd name="T56" fmla="*/ 119 w 167"/>
                    <a:gd name="T57" fmla="*/ 96 h 179"/>
                    <a:gd name="T58" fmla="*/ 124 w 167"/>
                    <a:gd name="T59" fmla="*/ 100 h 179"/>
                    <a:gd name="T60" fmla="*/ 128 w 167"/>
                    <a:gd name="T61" fmla="*/ 98 h 179"/>
                    <a:gd name="T62" fmla="*/ 135 w 167"/>
                    <a:gd name="T63" fmla="*/ 98 h 179"/>
                    <a:gd name="T64" fmla="*/ 140 w 167"/>
                    <a:gd name="T65" fmla="*/ 103 h 179"/>
                    <a:gd name="T66" fmla="*/ 145 w 167"/>
                    <a:gd name="T67" fmla="*/ 101 h 179"/>
                    <a:gd name="T68" fmla="*/ 151 w 167"/>
                    <a:gd name="T69" fmla="*/ 105 h 179"/>
                    <a:gd name="T70" fmla="*/ 152 w 167"/>
                    <a:gd name="T71" fmla="*/ 112 h 179"/>
                    <a:gd name="T72" fmla="*/ 160 w 167"/>
                    <a:gd name="T73" fmla="*/ 117 h 179"/>
                    <a:gd name="T74" fmla="*/ 165 w 167"/>
                    <a:gd name="T75" fmla="*/ 117 h 179"/>
                    <a:gd name="T76" fmla="*/ 167 w 167"/>
                    <a:gd name="T77" fmla="*/ 126 h 179"/>
                    <a:gd name="T78" fmla="*/ 161 w 167"/>
                    <a:gd name="T79" fmla="*/ 130 h 179"/>
                    <a:gd name="T80" fmla="*/ 165 w 167"/>
                    <a:gd name="T81" fmla="*/ 135 h 179"/>
                    <a:gd name="T82" fmla="*/ 161 w 167"/>
                    <a:gd name="T83" fmla="*/ 140 h 179"/>
                    <a:gd name="T84" fmla="*/ 158 w 167"/>
                    <a:gd name="T85" fmla="*/ 147 h 179"/>
                    <a:gd name="T86" fmla="*/ 161 w 167"/>
                    <a:gd name="T87" fmla="*/ 153 h 179"/>
                    <a:gd name="T88" fmla="*/ 158 w 167"/>
                    <a:gd name="T89" fmla="*/ 163 h 179"/>
                    <a:gd name="T90" fmla="*/ 161 w 167"/>
                    <a:gd name="T91" fmla="*/ 170 h 179"/>
                    <a:gd name="T92" fmla="*/ 161 w 167"/>
                    <a:gd name="T93" fmla="*/ 179 h 179"/>
                    <a:gd name="T94" fmla="*/ 121 w 167"/>
                    <a:gd name="T95" fmla="*/ 165 h 179"/>
                    <a:gd name="T96" fmla="*/ 89 w 167"/>
                    <a:gd name="T97" fmla="*/ 142 h 179"/>
                    <a:gd name="T98" fmla="*/ 82 w 167"/>
                    <a:gd name="T99" fmla="*/ 140 h 179"/>
                    <a:gd name="T100" fmla="*/ 55 w 167"/>
                    <a:gd name="T101" fmla="*/ 115 h 179"/>
                    <a:gd name="T102" fmla="*/ 37 w 167"/>
                    <a:gd name="T103" fmla="*/ 103 h 179"/>
                    <a:gd name="T104" fmla="*/ 32 w 167"/>
                    <a:gd name="T105" fmla="*/ 103 h 179"/>
                    <a:gd name="T106" fmla="*/ 21 w 167"/>
                    <a:gd name="T107" fmla="*/ 87 h 179"/>
                    <a:gd name="T108" fmla="*/ 14 w 167"/>
                    <a:gd name="T109" fmla="*/ 85 h 179"/>
                    <a:gd name="T110" fmla="*/ 18 w 167"/>
                    <a:gd name="T111" fmla="*/ 78 h 179"/>
                    <a:gd name="T112" fmla="*/ 11 w 167"/>
                    <a:gd name="T113" fmla="*/ 75 h 179"/>
                    <a:gd name="T114" fmla="*/ 0 w 167"/>
                    <a:gd name="T115" fmla="*/ 75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67" h="179">
                      <a:moveTo>
                        <a:pt x="0" y="75"/>
                      </a:moveTo>
                      <a:lnTo>
                        <a:pt x="2" y="69"/>
                      </a:lnTo>
                      <a:lnTo>
                        <a:pt x="5" y="59"/>
                      </a:lnTo>
                      <a:lnTo>
                        <a:pt x="16" y="53"/>
                      </a:lnTo>
                      <a:lnTo>
                        <a:pt x="25" y="43"/>
                      </a:lnTo>
                      <a:lnTo>
                        <a:pt x="23" y="38"/>
                      </a:lnTo>
                      <a:lnTo>
                        <a:pt x="28" y="25"/>
                      </a:lnTo>
                      <a:lnTo>
                        <a:pt x="34" y="23"/>
                      </a:lnTo>
                      <a:lnTo>
                        <a:pt x="34" y="18"/>
                      </a:lnTo>
                      <a:lnTo>
                        <a:pt x="36" y="9"/>
                      </a:lnTo>
                      <a:lnTo>
                        <a:pt x="46" y="4"/>
                      </a:lnTo>
                      <a:lnTo>
                        <a:pt x="50" y="6"/>
                      </a:lnTo>
                      <a:lnTo>
                        <a:pt x="67" y="0"/>
                      </a:lnTo>
                      <a:lnTo>
                        <a:pt x="76" y="4"/>
                      </a:lnTo>
                      <a:lnTo>
                        <a:pt x="82" y="13"/>
                      </a:lnTo>
                      <a:lnTo>
                        <a:pt x="89" y="18"/>
                      </a:lnTo>
                      <a:lnTo>
                        <a:pt x="89" y="34"/>
                      </a:lnTo>
                      <a:lnTo>
                        <a:pt x="87" y="43"/>
                      </a:lnTo>
                      <a:lnTo>
                        <a:pt x="98" y="55"/>
                      </a:lnTo>
                      <a:lnTo>
                        <a:pt x="103" y="53"/>
                      </a:lnTo>
                      <a:lnTo>
                        <a:pt x="114" y="45"/>
                      </a:lnTo>
                      <a:lnTo>
                        <a:pt x="119" y="45"/>
                      </a:lnTo>
                      <a:lnTo>
                        <a:pt x="126" y="52"/>
                      </a:lnTo>
                      <a:lnTo>
                        <a:pt x="128" y="55"/>
                      </a:lnTo>
                      <a:lnTo>
                        <a:pt x="126" y="59"/>
                      </a:lnTo>
                      <a:lnTo>
                        <a:pt x="128" y="68"/>
                      </a:lnTo>
                      <a:lnTo>
                        <a:pt x="122" y="82"/>
                      </a:lnTo>
                      <a:lnTo>
                        <a:pt x="115" y="89"/>
                      </a:lnTo>
                      <a:lnTo>
                        <a:pt x="119" y="96"/>
                      </a:lnTo>
                      <a:lnTo>
                        <a:pt x="124" y="100"/>
                      </a:lnTo>
                      <a:lnTo>
                        <a:pt x="128" y="98"/>
                      </a:lnTo>
                      <a:lnTo>
                        <a:pt x="135" y="98"/>
                      </a:lnTo>
                      <a:lnTo>
                        <a:pt x="140" y="103"/>
                      </a:lnTo>
                      <a:lnTo>
                        <a:pt x="145" y="101"/>
                      </a:lnTo>
                      <a:lnTo>
                        <a:pt x="151" y="105"/>
                      </a:lnTo>
                      <a:lnTo>
                        <a:pt x="152" y="112"/>
                      </a:lnTo>
                      <a:lnTo>
                        <a:pt x="160" y="117"/>
                      </a:lnTo>
                      <a:lnTo>
                        <a:pt x="165" y="117"/>
                      </a:lnTo>
                      <a:lnTo>
                        <a:pt x="167" y="126"/>
                      </a:lnTo>
                      <a:lnTo>
                        <a:pt x="161" y="130"/>
                      </a:lnTo>
                      <a:lnTo>
                        <a:pt x="165" y="135"/>
                      </a:lnTo>
                      <a:lnTo>
                        <a:pt x="161" y="140"/>
                      </a:lnTo>
                      <a:lnTo>
                        <a:pt x="158" y="147"/>
                      </a:lnTo>
                      <a:lnTo>
                        <a:pt x="161" y="153"/>
                      </a:lnTo>
                      <a:lnTo>
                        <a:pt x="158" y="163"/>
                      </a:lnTo>
                      <a:lnTo>
                        <a:pt x="161" y="170"/>
                      </a:lnTo>
                      <a:lnTo>
                        <a:pt x="161" y="179"/>
                      </a:lnTo>
                      <a:lnTo>
                        <a:pt x="121" y="165"/>
                      </a:lnTo>
                      <a:lnTo>
                        <a:pt x="89" y="142"/>
                      </a:lnTo>
                      <a:lnTo>
                        <a:pt x="82" y="140"/>
                      </a:lnTo>
                      <a:lnTo>
                        <a:pt x="55" y="115"/>
                      </a:lnTo>
                      <a:lnTo>
                        <a:pt x="37" y="103"/>
                      </a:lnTo>
                      <a:lnTo>
                        <a:pt x="32" y="103"/>
                      </a:lnTo>
                      <a:lnTo>
                        <a:pt x="21" y="87"/>
                      </a:lnTo>
                      <a:lnTo>
                        <a:pt x="14" y="85"/>
                      </a:lnTo>
                      <a:lnTo>
                        <a:pt x="18" y="78"/>
                      </a:lnTo>
                      <a:lnTo>
                        <a:pt x="11" y="75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4" name="Freeform 28">
                  <a:extLst>
                    <a:ext uri="{FF2B5EF4-FFF2-40B4-BE49-F238E27FC236}">
                      <a16:creationId xmlns:a16="http://schemas.microsoft.com/office/drawing/2014/main" id="{84945D12-A207-65BF-E68E-5FCBF716B6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19612" y="3235318"/>
                  <a:ext cx="411164" cy="430212"/>
                </a:xfrm>
                <a:custGeom>
                  <a:avLst/>
                  <a:gdLst>
                    <a:gd name="T0" fmla="*/ 46 w 259"/>
                    <a:gd name="T1" fmla="*/ 260 h 271"/>
                    <a:gd name="T2" fmla="*/ 46 w 259"/>
                    <a:gd name="T3" fmla="*/ 243 h 271"/>
                    <a:gd name="T4" fmla="*/ 46 w 259"/>
                    <a:gd name="T5" fmla="*/ 230 h 271"/>
                    <a:gd name="T6" fmla="*/ 46 w 259"/>
                    <a:gd name="T7" fmla="*/ 220 h 271"/>
                    <a:gd name="T8" fmla="*/ 50 w 259"/>
                    <a:gd name="T9" fmla="*/ 207 h 271"/>
                    <a:gd name="T10" fmla="*/ 37 w 259"/>
                    <a:gd name="T11" fmla="*/ 202 h 271"/>
                    <a:gd name="T12" fmla="*/ 30 w 259"/>
                    <a:gd name="T13" fmla="*/ 191 h 271"/>
                    <a:gd name="T14" fmla="*/ 20 w 259"/>
                    <a:gd name="T15" fmla="*/ 188 h 271"/>
                    <a:gd name="T16" fmla="*/ 9 w 259"/>
                    <a:gd name="T17" fmla="*/ 190 h 271"/>
                    <a:gd name="T18" fmla="*/ 0 w 259"/>
                    <a:gd name="T19" fmla="*/ 179 h 271"/>
                    <a:gd name="T20" fmla="*/ 13 w 259"/>
                    <a:gd name="T21" fmla="*/ 158 h 271"/>
                    <a:gd name="T22" fmla="*/ 13 w 259"/>
                    <a:gd name="T23" fmla="*/ 143 h 271"/>
                    <a:gd name="T24" fmla="*/ 30 w 259"/>
                    <a:gd name="T25" fmla="*/ 117 h 271"/>
                    <a:gd name="T26" fmla="*/ 29 w 259"/>
                    <a:gd name="T27" fmla="*/ 104 h 271"/>
                    <a:gd name="T28" fmla="*/ 22 w 259"/>
                    <a:gd name="T29" fmla="*/ 90 h 271"/>
                    <a:gd name="T30" fmla="*/ 34 w 259"/>
                    <a:gd name="T31" fmla="*/ 89 h 271"/>
                    <a:gd name="T32" fmla="*/ 29 w 259"/>
                    <a:gd name="T33" fmla="*/ 74 h 271"/>
                    <a:gd name="T34" fmla="*/ 23 w 259"/>
                    <a:gd name="T35" fmla="*/ 57 h 271"/>
                    <a:gd name="T36" fmla="*/ 23 w 259"/>
                    <a:gd name="T37" fmla="*/ 32 h 271"/>
                    <a:gd name="T38" fmla="*/ 20 w 259"/>
                    <a:gd name="T39" fmla="*/ 21 h 271"/>
                    <a:gd name="T40" fmla="*/ 52 w 259"/>
                    <a:gd name="T41" fmla="*/ 7 h 271"/>
                    <a:gd name="T42" fmla="*/ 66 w 259"/>
                    <a:gd name="T43" fmla="*/ 12 h 271"/>
                    <a:gd name="T44" fmla="*/ 87 w 259"/>
                    <a:gd name="T45" fmla="*/ 11 h 271"/>
                    <a:gd name="T46" fmla="*/ 101 w 259"/>
                    <a:gd name="T47" fmla="*/ 4 h 271"/>
                    <a:gd name="T48" fmla="*/ 110 w 259"/>
                    <a:gd name="T49" fmla="*/ 7 h 271"/>
                    <a:gd name="T50" fmla="*/ 126 w 259"/>
                    <a:gd name="T51" fmla="*/ 16 h 271"/>
                    <a:gd name="T52" fmla="*/ 140 w 259"/>
                    <a:gd name="T53" fmla="*/ 0 h 271"/>
                    <a:gd name="T54" fmla="*/ 167 w 259"/>
                    <a:gd name="T55" fmla="*/ 18 h 271"/>
                    <a:gd name="T56" fmla="*/ 177 w 259"/>
                    <a:gd name="T57" fmla="*/ 21 h 271"/>
                    <a:gd name="T58" fmla="*/ 193 w 259"/>
                    <a:gd name="T59" fmla="*/ 25 h 271"/>
                    <a:gd name="T60" fmla="*/ 211 w 259"/>
                    <a:gd name="T61" fmla="*/ 39 h 271"/>
                    <a:gd name="T62" fmla="*/ 229 w 259"/>
                    <a:gd name="T63" fmla="*/ 32 h 271"/>
                    <a:gd name="T64" fmla="*/ 239 w 259"/>
                    <a:gd name="T65" fmla="*/ 35 h 271"/>
                    <a:gd name="T66" fmla="*/ 248 w 259"/>
                    <a:gd name="T67" fmla="*/ 41 h 271"/>
                    <a:gd name="T68" fmla="*/ 248 w 259"/>
                    <a:gd name="T69" fmla="*/ 62 h 271"/>
                    <a:gd name="T70" fmla="*/ 255 w 259"/>
                    <a:gd name="T71" fmla="*/ 74 h 271"/>
                    <a:gd name="T72" fmla="*/ 255 w 259"/>
                    <a:gd name="T73" fmla="*/ 94 h 271"/>
                    <a:gd name="T74" fmla="*/ 247 w 259"/>
                    <a:gd name="T75" fmla="*/ 108 h 271"/>
                    <a:gd name="T76" fmla="*/ 234 w 259"/>
                    <a:gd name="T77" fmla="*/ 136 h 271"/>
                    <a:gd name="T78" fmla="*/ 231 w 259"/>
                    <a:gd name="T79" fmla="*/ 152 h 271"/>
                    <a:gd name="T80" fmla="*/ 227 w 259"/>
                    <a:gd name="T81" fmla="*/ 175 h 271"/>
                    <a:gd name="T82" fmla="*/ 223 w 259"/>
                    <a:gd name="T83" fmla="*/ 182 h 271"/>
                    <a:gd name="T84" fmla="*/ 234 w 259"/>
                    <a:gd name="T85" fmla="*/ 202 h 271"/>
                    <a:gd name="T86" fmla="*/ 245 w 259"/>
                    <a:gd name="T87" fmla="*/ 216 h 271"/>
                    <a:gd name="T88" fmla="*/ 248 w 259"/>
                    <a:gd name="T89" fmla="*/ 234 h 271"/>
                    <a:gd name="T90" fmla="*/ 234 w 259"/>
                    <a:gd name="T91" fmla="*/ 236 h 271"/>
                    <a:gd name="T92" fmla="*/ 227 w 259"/>
                    <a:gd name="T93" fmla="*/ 227 h 271"/>
                    <a:gd name="T94" fmla="*/ 216 w 259"/>
                    <a:gd name="T95" fmla="*/ 239 h 271"/>
                    <a:gd name="T96" fmla="*/ 177 w 259"/>
                    <a:gd name="T97" fmla="*/ 237 h 271"/>
                    <a:gd name="T98" fmla="*/ 107 w 259"/>
                    <a:gd name="T99" fmla="*/ 239 h 271"/>
                    <a:gd name="T100" fmla="*/ 78 w 259"/>
                    <a:gd name="T101" fmla="*/ 255 h 271"/>
                    <a:gd name="T102" fmla="*/ 66 w 259"/>
                    <a:gd name="T103" fmla="*/ 259 h 271"/>
                    <a:gd name="T104" fmla="*/ 46 w 259"/>
                    <a:gd name="T105" fmla="*/ 269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59" h="271">
                      <a:moveTo>
                        <a:pt x="46" y="269"/>
                      </a:moveTo>
                      <a:lnTo>
                        <a:pt x="46" y="260"/>
                      </a:lnTo>
                      <a:lnTo>
                        <a:pt x="43" y="253"/>
                      </a:lnTo>
                      <a:lnTo>
                        <a:pt x="46" y="243"/>
                      </a:lnTo>
                      <a:lnTo>
                        <a:pt x="43" y="237"/>
                      </a:lnTo>
                      <a:lnTo>
                        <a:pt x="46" y="230"/>
                      </a:lnTo>
                      <a:lnTo>
                        <a:pt x="50" y="225"/>
                      </a:lnTo>
                      <a:lnTo>
                        <a:pt x="46" y="220"/>
                      </a:lnTo>
                      <a:lnTo>
                        <a:pt x="52" y="216"/>
                      </a:lnTo>
                      <a:lnTo>
                        <a:pt x="50" y="207"/>
                      </a:lnTo>
                      <a:lnTo>
                        <a:pt x="45" y="207"/>
                      </a:lnTo>
                      <a:lnTo>
                        <a:pt x="37" y="202"/>
                      </a:lnTo>
                      <a:lnTo>
                        <a:pt x="36" y="195"/>
                      </a:lnTo>
                      <a:lnTo>
                        <a:pt x="30" y="191"/>
                      </a:lnTo>
                      <a:lnTo>
                        <a:pt x="25" y="193"/>
                      </a:lnTo>
                      <a:lnTo>
                        <a:pt x="20" y="188"/>
                      </a:lnTo>
                      <a:lnTo>
                        <a:pt x="13" y="188"/>
                      </a:lnTo>
                      <a:lnTo>
                        <a:pt x="9" y="190"/>
                      </a:lnTo>
                      <a:lnTo>
                        <a:pt x="4" y="186"/>
                      </a:lnTo>
                      <a:lnTo>
                        <a:pt x="0" y="179"/>
                      </a:lnTo>
                      <a:lnTo>
                        <a:pt x="7" y="172"/>
                      </a:lnTo>
                      <a:lnTo>
                        <a:pt x="13" y="158"/>
                      </a:lnTo>
                      <a:lnTo>
                        <a:pt x="11" y="149"/>
                      </a:lnTo>
                      <a:lnTo>
                        <a:pt x="13" y="143"/>
                      </a:lnTo>
                      <a:lnTo>
                        <a:pt x="20" y="142"/>
                      </a:lnTo>
                      <a:lnTo>
                        <a:pt x="30" y="117"/>
                      </a:lnTo>
                      <a:lnTo>
                        <a:pt x="32" y="108"/>
                      </a:lnTo>
                      <a:lnTo>
                        <a:pt x="29" y="104"/>
                      </a:lnTo>
                      <a:lnTo>
                        <a:pt x="22" y="96"/>
                      </a:lnTo>
                      <a:lnTo>
                        <a:pt x="22" y="90"/>
                      </a:lnTo>
                      <a:lnTo>
                        <a:pt x="27" y="89"/>
                      </a:lnTo>
                      <a:lnTo>
                        <a:pt x="34" y="89"/>
                      </a:lnTo>
                      <a:lnTo>
                        <a:pt x="34" y="83"/>
                      </a:lnTo>
                      <a:lnTo>
                        <a:pt x="29" y="74"/>
                      </a:lnTo>
                      <a:lnTo>
                        <a:pt x="25" y="73"/>
                      </a:lnTo>
                      <a:lnTo>
                        <a:pt x="23" y="57"/>
                      </a:lnTo>
                      <a:lnTo>
                        <a:pt x="25" y="51"/>
                      </a:lnTo>
                      <a:lnTo>
                        <a:pt x="23" y="32"/>
                      </a:lnTo>
                      <a:lnTo>
                        <a:pt x="20" y="28"/>
                      </a:lnTo>
                      <a:lnTo>
                        <a:pt x="20" y="21"/>
                      </a:lnTo>
                      <a:lnTo>
                        <a:pt x="36" y="16"/>
                      </a:lnTo>
                      <a:lnTo>
                        <a:pt x="52" y="7"/>
                      </a:lnTo>
                      <a:lnTo>
                        <a:pt x="57" y="7"/>
                      </a:lnTo>
                      <a:lnTo>
                        <a:pt x="66" y="12"/>
                      </a:lnTo>
                      <a:lnTo>
                        <a:pt x="84" y="12"/>
                      </a:lnTo>
                      <a:lnTo>
                        <a:pt x="87" y="11"/>
                      </a:lnTo>
                      <a:lnTo>
                        <a:pt x="87" y="5"/>
                      </a:lnTo>
                      <a:lnTo>
                        <a:pt x="101" y="4"/>
                      </a:lnTo>
                      <a:lnTo>
                        <a:pt x="112" y="5"/>
                      </a:lnTo>
                      <a:lnTo>
                        <a:pt x="110" y="7"/>
                      </a:lnTo>
                      <a:lnTo>
                        <a:pt x="112" y="12"/>
                      </a:lnTo>
                      <a:lnTo>
                        <a:pt x="126" y="16"/>
                      </a:lnTo>
                      <a:lnTo>
                        <a:pt x="133" y="5"/>
                      </a:lnTo>
                      <a:lnTo>
                        <a:pt x="140" y="0"/>
                      </a:lnTo>
                      <a:lnTo>
                        <a:pt x="151" y="11"/>
                      </a:lnTo>
                      <a:lnTo>
                        <a:pt x="167" y="18"/>
                      </a:lnTo>
                      <a:lnTo>
                        <a:pt x="174" y="18"/>
                      </a:lnTo>
                      <a:lnTo>
                        <a:pt x="177" y="21"/>
                      </a:lnTo>
                      <a:lnTo>
                        <a:pt x="185" y="21"/>
                      </a:lnTo>
                      <a:lnTo>
                        <a:pt x="193" y="25"/>
                      </a:lnTo>
                      <a:lnTo>
                        <a:pt x="197" y="32"/>
                      </a:lnTo>
                      <a:lnTo>
                        <a:pt x="211" y="39"/>
                      </a:lnTo>
                      <a:lnTo>
                        <a:pt x="220" y="37"/>
                      </a:lnTo>
                      <a:lnTo>
                        <a:pt x="229" y="32"/>
                      </a:lnTo>
                      <a:lnTo>
                        <a:pt x="234" y="32"/>
                      </a:lnTo>
                      <a:lnTo>
                        <a:pt x="239" y="35"/>
                      </a:lnTo>
                      <a:lnTo>
                        <a:pt x="248" y="37"/>
                      </a:lnTo>
                      <a:lnTo>
                        <a:pt x="248" y="41"/>
                      </a:lnTo>
                      <a:lnTo>
                        <a:pt x="245" y="53"/>
                      </a:lnTo>
                      <a:lnTo>
                        <a:pt x="248" y="62"/>
                      </a:lnTo>
                      <a:lnTo>
                        <a:pt x="248" y="69"/>
                      </a:lnTo>
                      <a:lnTo>
                        <a:pt x="255" y="74"/>
                      </a:lnTo>
                      <a:lnTo>
                        <a:pt x="259" y="85"/>
                      </a:lnTo>
                      <a:lnTo>
                        <a:pt x="255" y="94"/>
                      </a:lnTo>
                      <a:lnTo>
                        <a:pt x="255" y="103"/>
                      </a:lnTo>
                      <a:lnTo>
                        <a:pt x="247" y="108"/>
                      </a:lnTo>
                      <a:lnTo>
                        <a:pt x="234" y="128"/>
                      </a:lnTo>
                      <a:lnTo>
                        <a:pt x="234" y="136"/>
                      </a:lnTo>
                      <a:lnTo>
                        <a:pt x="231" y="142"/>
                      </a:lnTo>
                      <a:lnTo>
                        <a:pt x="231" y="152"/>
                      </a:lnTo>
                      <a:lnTo>
                        <a:pt x="227" y="158"/>
                      </a:lnTo>
                      <a:lnTo>
                        <a:pt x="227" y="175"/>
                      </a:lnTo>
                      <a:lnTo>
                        <a:pt x="223" y="179"/>
                      </a:lnTo>
                      <a:lnTo>
                        <a:pt x="223" y="182"/>
                      </a:lnTo>
                      <a:lnTo>
                        <a:pt x="229" y="188"/>
                      </a:lnTo>
                      <a:lnTo>
                        <a:pt x="234" y="202"/>
                      </a:lnTo>
                      <a:lnTo>
                        <a:pt x="236" y="213"/>
                      </a:lnTo>
                      <a:lnTo>
                        <a:pt x="245" y="216"/>
                      </a:lnTo>
                      <a:lnTo>
                        <a:pt x="248" y="221"/>
                      </a:lnTo>
                      <a:lnTo>
                        <a:pt x="248" y="234"/>
                      </a:lnTo>
                      <a:lnTo>
                        <a:pt x="243" y="236"/>
                      </a:lnTo>
                      <a:lnTo>
                        <a:pt x="234" y="236"/>
                      </a:lnTo>
                      <a:lnTo>
                        <a:pt x="232" y="239"/>
                      </a:lnTo>
                      <a:lnTo>
                        <a:pt x="227" y="227"/>
                      </a:lnTo>
                      <a:lnTo>
                        <a:pt x="218" y="230"/>
                      </a:lnTo>
                      <a:lnTo>
                        <a:pt x="216" y="239"/>
                      </a:lnTo>
                      <a:lnTo>
                        <a:pt x="197" y="230"/>
                      </a:lnTo>
                      <a:lnTo>
                        <a:pt x="177" y="237"/>
                      </a:lnTo>
                      <a:lnTo>
                        <a:pt x="123" y="237"/>
                      </a:lnTo>
                      <a:lnTo>
                        <a:pt x="107" y="239"/>
                      </a:lnTo>
                      <a:lnTo>
                        <a:pt x="107" y="244"/>
                      </a:lnTo>
                      <a:lnTo>
                        <a:pt x="78" y="255"/>
                      </a:lnTo>
                      <a:lnTo>
                        <a:pt x="75" y="259"/>
                      </a:lnTo>
                      <a:lnTo>
                        <a:pt x="66" y="259"/>
                      </a:lnTo>
                      <a:lnTo>
                        <a:pt x="52" y="271"/>
                      </a:lnTo>
                      <a:lnTo>
                        <a:pt x="46" y="269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5" name="Freeform 29">
                  <a:extLst>
                    <a:ext uri="{FF2B5EF4-FFF2-40B4-BE49-F238E27FC236}">
                      <a16:creationId xmlns:a16="http://schemas.microsoft.com/office/drawing/2014/main" id="{8FEFF141-C5E8-0AE3-EC05-4C7604F488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73622" y="3201980"/>
                  <a:ext cx="276225" cy="434974"/>
                </a:xfrm>
                <a:custGeom>
                  <a:avLst/>
                  <a:gdLst>
                    <a:gd name="T0" fmla="*/ 11 w 174"/>
                    <a:gd name="T1" fmla="*/ 257 h 274"/>
                    <a:gd name="T2" fmla="*/ 25 w 174"/>
                    <a:gd name="T3" fmla="*/ 255 h 274"/>
                    <a:gd name="T4" fmla="*/ 22 w 174"/>
                    <a:gd name="T5" fmla="*/ 237 h 274"/>
                    <a:gd name="T6" fmla="*/ 11 w 174"/>
                    <a:gd name="T7" fmla="*/ 223 h 274"/>
                    <a:gd name="T8" fmla="*/ 0 w 174"/>
                    <a:gd name="T9" fmla="*/ 203 h 274"/>
                    <a:gd name="T10" fmla="*/ 4 w 174"/>
                    <a:gd name="T11" fmla="*/ 196 h 274"/>
                    <a:gd name="T12" fmla="*/ 8 w 174"/>
                    <a:gd name="T13" fmla="*/ 173 h 274"/>
                    <a:gd name="T14" fmla="*/ 11 w 174"/>
                    <a:gd name="T15" fmla="*/ 157 h 274"/>
                    <a:gd name="T16" fmla="*/ 24 w 174"/>
                    <a:gd name="T17" fmla="*/ 129 h 274"/>
                    <a:gd name="T18" fmla="*/ 32 w 174"/>
                    <a:gd name="T19" fmla="*/ 115 h 274"/>
                    <a:gd name="T20" fmla="*/ 32 w 174"/>
                    <a:gd name="T21" fmla="*/ 95 h 274"/>
                    <a:gd name="T22" fmla="*/ 25 w 174"/>
                    <a:gd name="T23" fmla="*/ 83 h 274"/>
                    <a:gd name="T24" fmla="*/ 25 w 174"/>
                    <a:gd name="T25" fmla="*/ 62 h 274"/>
                    <a:gd name="T26" fmla="*/ 20 w 174"/>
                    <a:gd name="T27" fmla="*/ 35 h 274"/>
                    <a:gd name="T28" fmla="*/ 13 w 174"/>
                    <a:gd name="T29" fmla="*/ 17 h 274"/>
                    <a:gd name="T30" fmla="*/ 29 w 174"/>
                    <a:gd name="T31" fmla="*/ 7 h 274"/>
                    <a:gd name="T32" fmla="*/ 62 w 174"/>
                    <a:gd name="T33" fmla="*/ 7 h 274"/>
                    <a:gd name="T34" fmla="*/ 100 w 174"/>
                    <a:gd name="T35" fmla="*/ 3 h 274"/>
                    <a:gd name="T36" fmla="*/ 119 w 174"/>
                    <a:gd name="T37" fmla="*/ 0 h 274"/>
                    <a:gd name="T38" fmla="*/ 126 w 174"/>
                    <a:gd name="T39" fmla="*/ 10 h 274"/>
                    <a:gd name="T40" fmla="*/ 130 w 174"/>
                    <a:gd name="T41" fmla="*/ 21 h 274"/>
                    <a:gd name="T42" fmla="*/ 142 w 174"/>
                    <a:gd name="T43" fmla="*/ 33 h 274"/>
                    <a:gd name="T44" fmla="*/ 149 w 174"/>
                    <a:gd name="T45" fmla="*/ 51 h 274"/>
                    <a:gd name="T46" fmla="*/ 153 w 174"/>
                    <a:gd name="T47" fmla="*/ 71 h 274"/>
                    <a:gd name="T48" fmla="*/ 158 w 174"/>
                    <a:gd name="T49" fmla="*/ 85 h 274"/>
                    <a:gd name="T50" fmla="*/ 155 w 174"/>
                    <a:gd name="T51" fmla="*/ 97 h 274"/>
                    <a:gd name="T52" fmla="*/ 160 w 174"/>
                    <a:gd name="T53" fmla="*/ 110 h 274"/>
                    <a:gd name="T54" fmla="*/ 158 w 174"/>
                    <a:gd name="T55" fmla="*/ 120 h 274"/>
                    <a:gd name="T56" fmla="*/ 160 w 174"/>
                    <a:gd name="T57" fmla="*/ 140 h 274"/>
                    <a:gd name="T58" fmla="*/ 158 w 174"/>
                    <a:gd name="T59" fmla="*/ 173 h 274"/>
                    <a:gd name="T60" fmla="*/ 155 w 174"/>
                    <a:gd name="T61" fmla="*/ 189 h 274"/>
                    <a:gd name="T62" fmla="*/ 162 w 174"/>
                    <a:gd name="T63" fmla="*/ 211 h 274"/>
                    <a:gd name="T64" fmla="*/ 171 w 174"/>
                    <a:gd name="T65" fmla="*/ 218 h 274"/>
                    <a:gd name="T66" fmla="*/ 151 w 174"/>
                    <a:gd name="T67" fmla="*/ 226 h 274"/>
                    <a:gd name="T68" fmla="*/ 110 w 174"/>
                    <a:gd name="T69" fmla="*/ 255 h 274"/>
                    <a:gd name="T70" fmla="*/ 50 w 174"/>
                    <a:gd name="T71" fmla="*/ 274 h 274"/>
                    <a:gd name="T72" fmla="*/ 11 w 174"/>
                    <a:gd name="T73" fmla="*/ 264 h 2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74" h="274">
                      <a:moveTo>
                        <a:pt x="9" y="260"/>
                      </a:moveTo>
                      <a:lnTo>
                        <a:pt x="11" y="257"/>
                      </a:lnTo>
                      <a:lnTo>
                        <a:pt x="20" y="257"/>
                      </a:lnTo>
                      <a:lnTo>
                        <a:pt x="25" y="255"/>
                      </a:lnTo>
                      <a:lnTo>
                        <a:pt x="25" y="242"/>
                      </a:lnTo>
                      <a:lnTo>
                        <a:pt x="22" y="237"/>
                      </a:lnTo>
                      <a:lnTo>
                        <a:pt x="13" y="234"/>
                      </a:lnTo>
                      <a:lnTo>
                        <a:pt x="11" y="223"/>
                      </a:lnTo>
                      <a:lnTo>
                        <a:pt x="6" y="209"/>
                      </a:lnTo>
                      <a:lnTo>
                        <a:pt x="0" y="203"/>
                      </a:lnTo>
                      <a:lnTo>
                        <a:pt x="0" y="200"/>
                      </a:lnTo>
                      <a:lnTo>
                        <a:pt x="4" y="196"/>
                      </a:lnTo>
                      <a:lnTo>
                        <a:pt x="4" y="179"/>
                      </a:lnTo>
                      <a:lnTo>
                        <a:pt x="8" y="173"/>
                      </a:lnTo>
                      <a:lnTo>
                        <a:pt x="8" y="163"/>
                      </a:lnTo>
                      <a:lnTo>
                        <a:pt x="11" y="157"/>
                      </a:lnTo>
                      <a:lnTo>
                        <a:pt x="11" y="149"/>
                      </a:lnTo>
                      <a:lnTo>
                        <a:pt x="24" y="129"/>
                      </a:lnTo>
                      <a:lnTo>
                        <a:pt x="32" y="124"/>
                      </a:lnTo>
                      <a:lnTo>
                        <a:pt x="32" y="115"/>
                      </a:lnTo>
                      <a:lnTo>
                        <a:pt x="36" y="106"/>
                      </a:lnTo>
                      <a:lnTo>
                        <a:pt x="32" y="95"/>
                      </a:lnTo>
                      <a:lnTo>
                        <a:pt x="25" y="90"/>
                      </a:lnTo>
                      <a:lnTo>
                        <a:pt x="25" y="83"/>
                      </a:lnTo>
                      <a:lnTo>
                        <a:pt x="22" y="74"/>
                      </a:lnTo>
                      <a:lnTo>
                        <a:pt x="25" y="62"/>
                      </a:lnTo>
                      <a:lnTo>
                        <a:pt x="25" y="46"/>
                      </a:lnTo>
                      <a:lnTo>
                        <a:pt x="20" y="35"/>
                      </a:lnTo>
                      <a:lnTo>
                        <a:pt x="16" y="32"/>
                      </a:lnTo>
                      <a:lnTo>
                        <a:pt x="13" y="17"/>
                      </a:lnTo>
                      <a:lnTo>
                        <a:pt x="15" y="9"/>
                      </a:lnTo>
                      <a:lnTo>
                        <a:pt x="29" y="7"/>
                      </a:lnTo>
                      <a:lnTo>
                        <a:pt x="59" y="7"/>
                      </a:lnTo>
                      <a:lnTo>
                        <a:pt x="62" y="7"/>
                      </a:lnTo>
                      <a:lnTo>
                        <a:pt x="84" y="7"/>
                      </a:lnTo>
                      <a:lnTo>
                        <a:pt x="100" y="3"/>
                      </a:lnTo>
                      <a:lnTo>
                        <a:pt x="110" y="3"/>
                      </a:lnTo>
                      <a:lnTo>
                        <a:pt x="119" y="0"/>
                      </a:lnTo>
                      <a:lnTo>
                        <a:pt x="123" y="0"/>
                      </a:lnTo>
                      <a:lnTo>
                        <a:pt x="126" y="10"/>
                      </a:lnTo>
                      <a:lnTo>
                        <a:pt x="130" y="14"/>
                      </a:lnTo>
                      <a:lnTo>
                        <a:pt x="130" y="21"/>
                      </a:lnTo>
                      <a:lnTo>
                        <a:pt x="139" y="30"/>
                      </a:lnTo>
                      <a:lnTo>
                        <a:pt x="142" y="33"/>
                      </a:lnTo>
                      <a:lnTo>
                        <a:pt x="151" y="40"/>
                      </a:lnTo>
                      <a:lnTo>
                        <a:pt x="149" y="51"/>
                      </a:lnTo>
                      <a:lnTo>
                        <a:pt x="149" y="67"/>
                      </a:lnTo>
                      <a:lnTo>
                        <a:pt x="153" y="71"/>
                      </a:lnTo>
                      <a:lnTo>
                        <a:pt x="158" y="71"/>
                      </a:lnTo>
                      <a:lnTo>
                        <a:pt x="158" y="85"/>
                      </a:lnTo>
                      <a:lnTo>
                        <a:pt x="155" y="92"/>
                      </a:lnTo>
                      <a:lnTo>
                        <a:pt x="155" y="97"/>
                      </a:lnTo>
                      <a:lnTo>
                        <a:pt x="158" y="101"/>
                      </a:lnTo>
                      <a:lnTo>
                        <a:pt x="160" y="110"/>
                      </a:lnTo>
                      <a:lnTo>
                        <a:pt x="156" y="115"/>
                      </a:lnTo>
                      <a:lnTo>
                        <a:pt x="158" y="120"/>
                      </a:lnTo>
                      <a:lnTo>
                        <a:pt x="158" y="134"/>
                      </a:lnTo>
                      <a:lnTo>
                        <a:pt x="160" y="140"/>
                      </a:lnTo>
                      <a:lnTo>
                        <a:pt x="162" y="164"/>
                      </a:lnTo>
                      <a:lnTo>
                        <a:pt x="158" y="173"/>
                      </a:lnTo>
                      <a:lnTo>
                        <a:pt x="156" y="179"/>
                      </a:lnTo>
                      <a:lnTo>
                        <a:pt x="155" y="189"/>
                      </a:lnTo>
                      <a:lnTo>
                        <a:pt x="158" y="200"/>
                      </a:lnTo>
                      <a:lnTo>
                        <a:pt x="162" y="211"/>
                      </a:lnTo>
                      <a:lnTo>
                        <a:pt x="165" y="212"/>
                      </a:lnTo>
                      <a:lnTo>
                        <a:pt x="171" y="218"/>
                      </a:lnTo>
                      <a:lnTo>
                        <a:pt x="174" y="223"/>
                      </a:lnTo>
                      <a:lnTo>
                        <a:pt x="151" y="226"/>
                      </a:lnTo>
                      <a:lnTo>
                        <a:pt x="132" y="235"/>
                      </a:lnTo>
                      <a:lnTo>
                        <a:pt x="110" y="255"/>
                      </a:lnTo>
                      <a:lnTo>
                        <a:pt x="86" y="257"/>
                      </a:lnTo>
                      <a:lnTo>
                        <a:pt x="50" y="274"/>
                      </a:lnTo>
                      <a:lnTo>
                        <a:pt x="34" y="267"/>
                      </a:lnTo>
                      <a:lnTo>
                        <a:pt x="11" y="264"/>
                      </a:lnTo>
                      <a:lnTo>
                        <a:pt x="9" y="26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6" name="Freeform 30">
                  <a:extLst>
                    <a:ext uri="{FF2B5EF4-FFF2-40B4-BE49-F238E27FC236}">
                      <a16:creationId xmlns:a16="http://schemas.microsoft.com/office/drawing/2014/main" id="{A6B14A83-A502-5A5E-00A6-B35A985B2C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8886" y="3201980"/>
                  <a:ext cx="131764" cy="354012"/>
                </a:xfrm>
                <a:custGeom>
                  <a:avLst/>
                  <a:gdLst>
                    <a:gd name="T0" fmla="*/ 46 w 83"/>
                    <a:gd name="T1" fmla="*/ 10 h 223"/>
                    <a:gd name="T2" fmla="*/ 3 w 83"/>
                    <a:gd name="T3" fmla="*/ 0 h 223"/>
                    <a:gd name="T4" fmla="*/ 0 w 83"/>
                    <a:gd name="T5" fmla="*/ 0 h 223"/>
                    <a:gd name="T6" fmla="*/ 3 w 83"/>
                    <a:gd name="T7" fmla="*/ 10 h 223"/>
                    <a:gd name="T8" fmla="*/ 7 w 83"/>
                    <a:gd name="T9" fmla="*/ 14 h 223"/>
                    <a:gd name="T10" fmla="*/ 7 w 83"/>
                    <a:gd name="T11" fmla="*/ 21 h 223"/>
                    <a:gd name="T12" fmla="*/ 16 w 83"/>
                    <a:gd name="T13" fmla="*/ 30 h 223"/>
                    <a:gd name="T14" fmla="*/ 19 w 83"/>
                    <a:gd name="T15" fmla="*/ 33 h 223"/>
                    <a:gd name="T16" fmla="*/ 28 w 83"/>
                    <a:gd name="T17" fmla="*/ 40 h 223"/>
                    <a:gd name="T18" fmla="*/ 26 w 83"/>
                    <a:gd name="T19" fmla="*/ 51 h 223"/>
                    <a:gd name="T20" fmla="*/ 26 w 83"/>
                    <a:gd name="T21" fmla="*/ 67 h 223"/>
                    <a:gd name="T22" fmla="*/ 30 w 83"/>
                    <a:gd name="T23" fmla="*/ 71 h 223"/>
                    <a:gd name="T24" fmla="*/ 35 w 83"/>
                    <a:gd name="T25" fmla="*/ 71 h 223"/>
                    <a:gd name="T26" fmla="*/ 35 w 83"/>
                    <a:gd name="T27" fmla="*/ 85 h 223"/>
                    <a:gd name="T28" fmla="*/ 32 w 83"/>
                    <a:gd name="T29" fmla="*/ 92 h 223"/>
                    <a:gd name="T30" fmla="*/ 32 w 83"/>
                    <a:gd name="T31" fmla="*/ 97 h 223"/>
                    <a:gd name="T32" fmla="*/ 35 w 83"/>
                    <a:gd name="T33" fmla="*/ 101 h 223"/>
                    <a:gd name="T34" fmla="*/ 37 w 83"/>
                    <a:gd name="T35" fmla="*/ 110 h 223"/>
                    <a:gd name="T36" fmla="*/ 33 w 83"/>
                    <a:gd name="T37" fmla="*/ 115 h 223"/>
                    <a:gd name="T38" fmla="*/ 35 w 83"/>
                    <a:gd name="T39" fmla="*/ 120 h 223"/>
                    <a:gd name="T40" fmla="*/ 35 w 83"/>
                    <a:gd name="T41" fmla="*/ 134 h 223"/>
                    <a:gd name="T42" fmla="*/ 37 w 83"/>
                    <a:gd name="T43" fmla="*/ 140 h 223"/>
                    <a:gd name="T44" fmla="*/ 39 w 83"/>
                    <a:gd name="T45" fmla="*/ 164 h 223"/>
                    <a:gd name="T46" fmla="*/ 35 w 83"/>
                    <a:gd name="T47" fmla="*/ 173 h 223"/>
                    <a:gd name="T48" fmla="*/ 33 w 83"/>
                    <a:gd name="T49" fmla="*/ 179 h 223"/>
                    <a:gd name="T50" fmla="*/ 32 w 83"/>
                    <a:gd name="T51" fmla="*/ 189 h 223"/>
                    <a:gd name="T52" fmla="*/ 35 w 83"/>
                    <a:gd name="T53" fmla="*/ 200 h 223"/>
                    <a:gd name="T54" fmla="*/ 39 w 83"/>
                    <a:gd name="T55" fmla="*/ 211 h 223"/>
                    <a:gd name="T56" fmla="*/ 42 w 83"/>
                    <a:gd name="T57" fmla="*/ 212 h 223"/>
                    <a:gd name="T58" fmla="*/ 48 w 83"/>
                    <a:gd name="T59" fmla="*/ 218 h 223"/>
                    <a:gd name="T60" fmla="*/ 51 w 83"/>
                    <a:gd name="T61" fmla="*/ 223 h 223"/>
                    <a:gd name="T62" fmla="*/ 55 w 83"/>
                    <a:gd name="T63" fmla="*/ 223 h 223"/>
                    <a:gd name="T64" fmla="*/ 78 w 83"/>
                    <a:gd name="T65" fmla="*/ 209 h 223"/>
                    <a:gd name="T66" fmla="*/ 81 w 83"/>
                    <a:gd name="T67" fmla="*/ 211 h 223"/>
                    <a:gd name="T68" fmla="*/ 83 w 83"/>
                    <a:gd name="T69" fmla="*/ 202 h 223"/>
                    <a:gd name="T70" fmla="*/ 78 w 83"/>
                    <a:gd name="T71" fmla="*/ 193 h 223"/>
                    <a:gd name="T72" fmla="*/ 78 w 83"/>
                    <a:gd name="T73" fmla="*/ 180 h 223"/>
                    <a:gd name="T74" fmla="*/ 74 w 83"/>
                    <a:gd name="T75" fmla="*/ 172 h 223"/>
                    <a:gd name="T76" fmla="*/ 76 w 83"/>
                    <a:gd name="T77" fmla="*/ 120 h 223"/>
                    <a:gd name="T78" fmla="*/ 76 w 83"/>
                    <a:gd name="T79" fmla="*/ 113 h 223"/>
                    <a:gd name="T80" fmla="*/ 79 w 83"/>
                    <a:gd name="T81" fmla="*/ 108 h 223"/>
                    <a:gd name="T82" fmla="*/ 79 w 83"/>
                    <a:gd name="T83" fmla="*/ 99 h 223"/>
                    <a:gd name="T84" fmla="*/ 78 w 83"/>
                    <a:gd name="T85" fmla="*/ 92 h 223"/>
                    <a:gd name="T86" fmla="*/ 78 w 83"/>
                    <a:gd name="T87" fmla="*/ 81 h 223"/>
                    <a:gd name="T88" fmla="*/ 74 w 83"/>
                    <a:gd name="T89" fmla="*/ 63 h 223"/>
                    <a:gd name="T90" fmla="*/ 65 w 83"/>
                    <a:gd name="T91" fmla="*/ 40 h 223"/>
                    <a:gd name="T92" fmla="*/ 62 w 83"/>
                    <a:gd name="T93" fmla="*/ 39 h 223"/>
                    <a:gd name="T94" fmla="*/ 56 w 83"/>
                    <a:gd name="T95" fmla="*/ 33 h 223"/>
                    <a:gd name="T96" fmla="*/ 46 w 83"/>
                    <a:gd name="T97" fmla="*/ 28 h 223"/>
                    <a:gd name="T98" fmla="*/ 42 w 83"/>
                    <a:gd name="T99" fmla="*/ 16 h 223"/>
                    <a:gd name="T100" fmla="*/ 46 w 83"/>
                    <a:gd name="T101" fmla="*/ 10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83" h="223">
                      <a:moveTo>
                        <a:pt x="46" y="1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3" y="10"/>
                      </a:lnTo>
                      <a:lnTo>
                        <a:pt x="7" y="14"/>
                      </a:lnTo>
                      <a:lnTo>
                        <a:pt x="7" y="21"/>
                      </a:lnTo>
                      <a:lnTo>
                        <a:pt x="16" y="30"/>
                      </a:lnTo>
                      <a:lnTo>
                        <a:pt x="19" y="33"/>
                      </a:lnTo>
                      <a:lnTo>
                        <a:pt x="28" y="40"/>
                      </a:lnTo>
                      <a:lnTo>
                        <a:pt x="26" y="51"/>
                      </a:lnTo>
                      <a:lnTo>
                        <a:pt x="26" y="67"/>
                      </a:lnTo>
                      <a:lnTo>
                        <a:pt x="30" y="71"/>
                      </a:lnTo>
                      <a:lnTo>
                        <a:pt x="35" y="71"/>
                      </a:lnTo>
                      <a:lnTo>
                        <a:pt x="35" y="85"/>
                      </a:lnTo>
                      <a:lnTo>
                        <a:pt x="32" y="92"/>
                      </a:lnTo>
                      <a:lnTo>
                        <a:pt x="32" y="97"/>
                      </a:lnTo>
                      <a:lnTo>
                        <a:pt x="35" y="101"/>
                      </a:lnTo>
                      <a:lnTo>
                        <a:pt x="37" y="110"/>
                      </a:lnTo>
                      <a:lnTo>
                        <a:pt x="33" y="115"/>
                      </a:lnTo>
                      <a:lnTo>
                        <a:pt x="35" y="120"/>
                      </a:lnTo>
                      <a:lnTo>
                        <a:pt x="35" y="134"/>
                      </a:lnTo>
                      <a:lnTo>
                        <a:pt x="37" y="140"/>
                      </a:lnTo>
                      <a:lnTo>
                        <a:pt x="39" y="164"/>
                      </a:lnTo>
                      <a:lnTo>
                        <a:pt x="35" y="173"/>
                      </a:lnTo>
                      <a:lnTo>
                        <a:pt x="33" y="179"/>
                      </a:lnTo>
                      <a:lnTo>
                        <a:pt x="32" y="189"/>
                      </a:lnTo>
                      <a:lnTo>
                        <a:pt x="35" y="200"/>
                      </a:lnTo>
                      <a:lnTo>
                        <a:pt x="39" y="211"/>
                      </a:lnTo>
                      <a:lnTo>
                        <a:pt x="42" y="212"/>
                      </a:lnTo>
                      <a:lnTo>
                        <a:pt x="48" y="218"/>
                      </a:lnTo>
                      <a:lnTo>
                        <a:pt x="51" y="223"/>
                      </a:lnTo>
                      <a:lnTo>
                        <a:pt x="55" y="223"/>
                      </a:lnTo>
                      <a:lnTo>
                        <a:pt x="78" y="209"/>
                      </a:lnTo>
                      <a:lnTo>
                        <a:pt x="81" y="211"/>
                      </a:lnTo>
                      <a:lnTo>
                        <a:pt x="83" y="202"/>
                      </a:lnTo>
                      <a:lnTo>
                        <a:pt x="78" y="193"/>
                      </a:lnTo>
                      <a:lnTo>
                        <a:pt x="78" y="180"/>
                      </a:lnTo>
                      <a:lnTo>
                        <a:pt x="74" y="172"/>
                      </a:lnTo>
                      <a:lnTo>
                        <a:pt x="76" y="120"/>
                      </a:lnTo>
                      <a:lnTo>
                        <a:pt x="76" y="113"/>
                      </a:lnTo>
                      <a:lnTo>
                        <a:pt x="79" y="108"/>
                      </a:lnTo>
                      <a:lnTo>
                        <a:pt x="79" y="99"/>
                      </a:lnTo>
                      <a:lnTo>
                        <a:pt x="78" y="92"/>
                      </a:lnTo>
                      <a:lnTo>
                        <a:pt x="78" y="81"/>
                      </a:lnTo>
                      <a:lnTo>
                        <a:pt x="74" y="63"/>
                      </a:lnTo>
                      <a:lnTo>
                        <a:pt x="65" y="40"/>
                      </a:lnTo>
                      <a:lnTo>
                        <a:pt x="62" y="39"/>
                      </a:lnTo>
                      <a:lnTo>
                        <a:pt x="56" y="33"/>
                      </a:lnTo>
                      <a:lnTo>
                        <a:pt x="46" y="28"/>
                      </a:lnTo>
                      <a:lnTo>
                        <a:pt x="42" y="16"/>
                      </a:lnTo>
                      <a:lnTo>
                        <a:pt x="46" y="1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7" name="Freeform 31">
                  <a:extLst>
                    <a:ext uri="{FF2B5EF4-FFF2-40B4-BE49-F238E27FC236}">
                      <a16:creationId xmlns:a16="http://schemas.microsoft.com/office/drawing/2014/main" id="{3BD9586D-1679-1709-37C0-7ACD5A0AFB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5561" y="3108317"/>
                  <a:ext cx="207964" cy="430212"/>
                </a:xfrm>
                <a:custGeom>
                  <a:avLst/>
                  <a:gdLst>
                    <a:gd name="T0" fmla="*/ 62 w 131"/>
                    <a:gd name="T1" fmla="*/ 22 h 271"/>
                    <a:gd name="T2" fmla="*/ 46 w 131"/>
                    <a:gd name="T3" fmla="*/ 32 h 271"/>
                    <a:gd name="T4" fmla="*/ 29 w 131"/>
                    <a:gd name="T5" fmla="*/ 37 h 271"/>
                    <a:gd name="T6" fmla="*/ 21 w 131"/>
                    <a:gd name="T7" fmla="*/ 50 h 271"/>
                    <a:gd name="T8" fmla="*/ 16 w 131"/>
                    <a:gd name="T9" fmla="*/ 62 h 271"/>
                    <a:gd name="T10" fmla="*/ 0 w 131"/>
                    <a:gd name="T11" fmla="*/ 75 h 271"/>
                    <a:gd name="T12" fmla="*/ 14 w 131"/>
                    <a:gd name="T13" fmla="*/ 92 h 271"/>
                    <a:gd name="T14" fmla="*/ 23 w 131"/>
                    <a:gd name="T15" fmla="*/ 99 h 271"/>
                    <a:gd name="T16" fmla="*/ 36 w 131"/>
                    <a:gd name="T17" fmla="*/ 140 h 271"/>
                    <a:gd name="T18" fmla="*/ 37 w 131"/>
                    <a:gd name="T19" fmla="*/ 158 h 271"/>
                    <a:gd name="T20" fmla="*/ 34 w 131"/>
                    <a:gd name="T21" fmla="*/ 172 h 271"/>
                    <a:gd name="T22" fmla="*/ 32 w 131"/>
                    <a:gd name="T23" fmla="*/ 231 h 271"/>
                    <a:gd name="T24" fmla="*/ 36 w 131"/>
                    <a:gd name="T25" fmla="*/ 252 h 271"/>
                    <a:gd name="T26" fmla="*/ 39 w 131"/>
                    <a:gd name="T27" fmla="*/ 270 h 271"/>
                    <a:gd name="T28" fmla="*/ 83 w 131"/>
                    <a:gd name="T29" fmla="*/ 261 h 271"/>
                    <a:gd name="T30" fmla="*/ 83 w 131"/>
                    <a:gd name="T31" fmla="*/ 254 h 271"/>
                    <a:gd name="T32" fmla="*/ 83 w 131"/>
                    <a:gd name="T33" fmla="*/ 225 h 271"/>
                    <a:gd name="T34" fmla="*/ 82 w 131"/>
                    <a:gd name="T35" fmla="*/ 202 h 271"/>
                    <a:gd name="T36" fmla="*/ 83 w 131"/>
                    <a:gd name="T37" fmla="*/ 192 h 271"/>
                    <a:gd name="T38" fmla="*/ 82 w 131"/>
                    <a:gd name="T39" fmla="*/ 184 h 271"/>
                    <a:gd name="T40" fmla="*/ 80 w 131"/>
                    <a:gd name="T41" fmla="*/ 176 h 271"/>
                    <a:gd name="T42" fmla="*/ 82 w 131"/>
                    <a:gd name="T43" fmla="*/ 160 h 271"/>
                    <a:gd name="T44" fmla="*/ 85 w 131"/>
                    <a:gd name="T45" fmla="*/ 147 h 271"/>
                    <a:gd name="T46" fmla="*/ 96 w 131"/>
                    <a:gd name="T47" fmla="*/ 144 h 271"/>
                    <a:gd name="T48" fmla="*/ 103 w 131"/>
                    <a:gd name="T49" fmla="*/ 133 h 271"/>
                    <a:gd name="T50" fmla="*/ 112 w 131"/>
                    <a:gd name="T51" fmla="*/ 117 h 271"/>
                    <a:gd name="T52" fmla="*/ 122 w 131"/>
                    <a:gd name="T53" fmla="*/ 114 h 271"/>
                    <a:gd name="T54" fmla="*/ 117 w 131"/>
                    <a:gd name="T55" fmla="*/ 99 h 271"/>
                    <a:gd name="T56" fmla="*/ 121 w 131"/>
                    <a:gd name="T57" fmla="*/ 91 h 271"/>
                    <a:gd name="T58" fmla="*/ 131 w 131"/>
                    <a:gd name="T59" fmla="*/ 85 h 271"/>
                    <a:gd name="T60" fmla="*/ 126 w 131"/>
                    <a:gd name="T61" fmla="*/ 60 h 271"/>
                    <a:gd name="T62" fmla="*/ 114 w 131"/>
                    <a:gd name="T63" fmla="*/ 45 h 271"/>
                    <a:gd name="T64" fmla="*/ 115 w 131"/>
                    <a:gd name="T65" fmla="*/ 36 h 271"/>
                    <a:gd name="T66" fmla="*/ 98 w 131"/>
                    <a:gd name="T67" fmla="*/ 22 h 271"/>
                    <a:gd name="T68" fmla="*/ 76 w 131"/>
                    <a:gd name="T69" fmla="*/ 0 h 271"/>
                    <a:gd name="T70" fmla="*/ 75 w 131"/>
                    <a:gd name="T71" fmla="*/ 13 h 271"/>
                    <a:gd name="T72" fmla="*/ 62 w 131"/>
                    <a:gd name="T73" fmla="*/ 14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1" h="271">
                      <a:moveTo>
                        <a:pt x="62" y="14"/>
                      </a:moveTo>
                      <a:lnTo>
                        <a:pt x="62" y="22"/>
                      </a:lnTo>
                      <a:lnTo>
                        <a:pt x="53" y="32"/>
                      </a:lnTo>
                      <a:lnTo>
                        <a:pt x="46" y="32"/>
                      </a:lnTo>
                      <a:lnTo>
                        <a:pt x="32" y="39"/>
                      </a:lnTo>
                      <a:lnTo>
                        <a:pt x="29" y="37"/>
                      </a:lnTo>
                      <a:lnTo>
                        <a:pt x="20" y="41"/>
                      </a:lnTo>
                      <a:lnTo>
                        <a:pt x="21" y="50"/>
                      </a:lnTo>
                      <a:lnTo>
                        <a:pt x="14" y="53"/>
                      </a:lnTo>
                      <a:lnTo>
                        <a:pt x="16" y="62"/>
                      </a:lnTo>
                      <a:lnTo>
                        <a:pt x="6" y="66"/>
                      </a:lnTo>
                      <a:lnTo>
                        <a:pt x="0" y="75"/>
                      </a:lnTo>
                      <a:lnTo>
                        <a:pt x="4" y="87"/>
                      </a:lnTo>
                      <a:lnTo>
                        <a:pt x="14" y="92"/>
                      </a:lnTo>
                      <a:lnTo>
                        <a:pt x="20" y="98"/>
                      </a:lnTo>
                      <a:lnTo>
                        <a:pt x="23" y="99"/>
                      </a:lnTo>
                      <a:lnTo>
                        <a:pt x="32" y="122"/>
                      </a:lnTo>
                      <a:lnTo>
                        <a:pt x="36" y="140"/>
                      </a:lnTo>
                      <a:lnTo>
                        <a:pt x="36" y="151"/>
                      </a:lnTo>
                      <a:lnTo>
                        <a:pt x="37" y="158"/>
                      </a:lnTo>
                      <a:lnTo>
                        <a:pt x="37" y="167"/>
                      </a:lnTo>
                      <a:lnTo>
                        <a:pt x="34" y="172"/>
                      </a:lnTo>
                      <a:lnTo>
                        <a:pt x="34" y="179"/>
                      </a:lnTo>
                      <a:lnTo>
                        <a:pt x="32" y="231"/>
                      </a:lnTo>
                      <a:lnTo>
                        <a:pt x="36" y="239"/>
                      </a:lnTo>
                      <a:lnTo>
                        <a:pt x="36" y="252"/>
                      </a:lnTo>
                      <a:lnTo>
                        <a:pt x="41" y="261"/>
                      </a:lnTo>
                      <a:lnTo>
                        <a:pt x="39" y="270"/>
                      </a:lnTo>
                      <a:lnTo>
                        <a:pt x="53" y="271"/>
                      </a:lnTo>
                      <a:lnTo>
                        <a:pt x="83" y="261"/>
                      </a:lnTo>
                      <a:lnTo>
                        <a:pt x="83" y="262"/>
                      </a:lnTo>
                      <a:lnTo>
                        <a:pt x="83" y="254"/>
                      </a:lnTo>
                      <a:lnTo>
                        <a:pt x="85" y="232"/>
                      </a:lnTo>
                      <a:lnTo>
                        <a:pt x="83" y="225"/>
                      </a:lnTo>
                      <a:lnTo>
                        <a:pt x="83" y="220"/>
                      </a:lnTo>
                      <a:lnTo>
                        <a:pt x="82" y="202"/>
                      </a:lnTo>
                      <a:lnTo>
                        <a:pt x="83" y="195"/>
                      </a:lnTo>
                      <a:lnTo>
                        <a:pt x="83" y="192"/>
                      </a:lnTo>
                      <a:lnTo>
                        <a:pt x="82" y="188"/>
                      </a:lnTo>
                      <a:lnTo>
                        <a:pt x="82" y="184"/>
                      </a:lnTo>
                      <a:lnTo>
                        <a:pt x="82" y="177"/>
                      </a:lnTo>
                      <a:lnTo>
                        <a:pt x="80" y="176"/>
                      </a:lnTo>
                      <a:lnTo>
                        <a:pt x="82" y="167"/>
                      </a:lnTo>
                      <a:lnTo>
                        <a:pt x="82" y="160"/>
                      </a:lnTo>
                      <a:lnTo>
                        <a:pt x="82" y="153"/>
                      </a:lnTo>
                      <a:lnTo>
                        <a:pt x="85" y="147"/>
                      </a:lnTo>
                      <a:lnTo>
                        <a:pt x="91" y="146"/>
                      </a:lnTo>
                      <a:lnTo>
                        <a:pt x="96" y="144"/>
                      </a:lnTo>
                      <a:lnTo>
                        <a:pt x="99" y="142"/>
                      </a:lnTo>
                      <a:lnTo>
                        <a:pt x="103" y="133"/>
                      </a:lnTo>
                      <a:lnTo>
                        <a:pt x="110" y="124"/>
                      </a:lnTo>
                      <a:lnTo>
                        <a:pt x="112" y="117"/>
                      </a:lnTo>
                      <a:lnTo>
                        <a:pt x="117" y="112"/>
                      </a:lnTo>
                      <a:lnTo>
                        <a:pt x="122" y="114"/>
                      </a:lnTo>
                      <a:lnTo>
                        <a:pt x="126" y="108"/>
                      </a:lnTo>
                      <a:lnTo>
                        <a:pt x="117" y="99"/>
                      </a:lnTo>
                      <a:lnTo>
                        <a:pt x="117" y="96"/>
                      </a:lnTo>
                      <a:lnTo>
                        <a:pt x="121" y="91"/>
                      </a:lnTo>
                      <a:lnTo>
                        <a:pt x="130" y="91"/>
                      </a:lnTo>
                      <a:lnTo>
                        <a:pt x="131" y="85"/>
                      </a:lnTo>
                      <a:lnTo>
                        <a:pt x="126" y="71"/>
                      </a:lnTo>
                      <a:lnTo>
                        <a:pt x="126" y="60"/>
                      </a:lnTo>
                      <a:lnTo>
                        <a:pt x="115" y="52"/>
                      </a:lnTo>
                      <a:lnTo>
                        <a:pt x="114" y="45"/>
                      </a:lnTo>
                      <a:lnTo>
                        <a:pt x="115" y="36"/>
                      </a:lnTo>
                      <a:lnTo>
                        <a:pt x="115" y="36"/>
                      </a:lnTo>
                      <a:lnTo>
                        <a:pt x="107" y="23"/>
                      </a:lnTo>
                      <a:lnTo>
                        <a:pt x="98" y="22"/>
                      </a:lnTo>
                      <a:lnTo>
                        <a:pt x="91" y="11"/>
                      </a:lnTo>
                      <a:lnTo>
                        <a:pt x="76" y="0"/>
                      </a:lnTo>
                      <a:lnTo>
                        <a:pt x="73" y="7"/>
                      </a:lnTo>
                      <a:lnTo>
                        <a:pt x="75" y="13"/>
                      </a:lnTo>
                      <a:lnTo>
                        <a:pt x="66" y="14"/>
                      </a:lnTo>
                      <a:lnTo>
                        <a:pt x="62" y="1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8" name="Freeform 32">
                  <a:extLst>
                    <a:ext uri="{FF2B5EF4-FFF2-40B4-BE49-F238E27FC236}">
                      <a16:creationId xmlns:a16="http://schemas.microsoft.com/office/drawing/2014/main" id="{095A8514-A868-DA91-7E77-3C2B5C0AE3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61050" y="2368544"/>
                  <a:ext cx="768351" cy="1093784"/>
                </a:xfrm>
                <a:custGeom>
                  <a:avLst/>
                  <a:gdLst>
                    <a:gd name="T0" fmla="*/ 480 w 484"/>
                    <a:gd name="T1" fmla="*/ 169 h 689"/>
                    <a:gd name="T2" fmla="*/ 470 w 484"/>
                    <a:gd name="T3" fmla="*/ 340 h 689"/>
                    <a:gd name="T4" fmla="*/ 445 w 484"/>
                    <a:gd name="T5" fmla="*/ 342 h 689"/>
                    <a:gd name="T6" fmla="*/ 443 w 484"/>
                    <a:gd name="T7" fmla="*/ 367 h 689"/>
                    <a:gd name="T8" fmla="*/ 418 w 484"/>
                    <a:gd name="T9" fmla="*/ 392 h 689"/>
                    <a:gd name="T10" fmla="*/ 420 w 484"/>
                    <a:gd name="T11" fmla="*/ 411 h 689"/>
                    <a:gd name="T12" fmla="*/ 417 w 484"/>
                    <a:gd name="T13" fmla="*/ 427 h 689"/>
                    <a:gd name="T14" fmla="*/ 401 w 484"/>
                    <a:gd name="T15" fmla="*/ 456 h 689"/>
                    <a:gd name="T16" fmla="*/ 417 w 484"/>
                    <a:gd name="T17" fmla="*/ 463 h 689"/>
                    <a:gd name="T18" fmla="*/ 417 w 484"/>
                    <a:gd name="T19" fmla="*/ 473 h 689"/>
                    <a:gd name="T20" fmla="*/ 422 w 484"/>
                    <a:gd name="T21" fmla="*/ 489 h 689"/>
                    <a:gd name="T22" fmla="*/ 440 w 484"/>
                    <a:gd name="T23" fmla="*/ 512 h 689"/>
                    <a:gd name="T24" fmla="*/ 440 w 484"/>
                    <a:gd name="T25" fmla="*/ 530 h 689"/>
                    <a:gd name="T26" fmla="*/ 422 w 484"/>
                    <a:gd name="T27" fmla="*/ 537 h 689"/>
                    <a:gd name="T28" fmla="*/ 394 w 484"/>
                    <a:gd name="T29" fmla="*/ 548 h 689"/>
                    <a:gd name="T30" fmla="*/ 388 w 484"/>
                    <a:gd name="T31" fmla="*/ 562 h 689"/>
                    <a:gd name="T32" fmla="*/ 372 w 484"/>
                    <a:gd name="T33" fmla="*/ 573 h 689"/>
                    <a:gd name="T34" fmla="*/ 362 w 484"/>
                    <a:gd name="T35" fmla="*/ 588 h 689"/>
                    <a:gd name="T36" fmla="*/ 360 w 484"/>
                    <a:gd name="T37" fmla="*/ 608 h 689"/>
                    <a:gd name="T38" fmla="*/ 328 w 484"/>
                    <a:gd name="T39" fmla="*/ 620 h 689"/>
                    <a:gd name="T40" fmla="*/ 300 w 484"/>
                    <a:gd name="T41" fmla="*/ 617 h 689"/>
                    <a:gd name="T42" fmla="*/ 278 w 484"/>
                    <a:gd name="T43" fmla="*/ 620 h 689"/>
                    <a:gd name="T44" fmla="*/ 289 w 484"/>
                    <a:gd name="T45" fmla="*/ 636 h 689"/>
                    <a:gd name="T46" fmla="*/ 273 w 484"/>
                    <a:gd name="T47" fmla="*/ 656 h 689"/>
                    <a:gd name="T48" fmla="*/ 227 w 484"/>
                    <a:gd name="T49" fmla="*/ 668 h 689"/>
                    <a:gd name="T50" fmla="*/ 197 w 484"/>
                    <a:gd name="T51" fmla="*/ 682 h 689"/>
                    <a:gd name="T52" fmla="*/ 186 w 484"/>
                    <a:gd name="T53" fmla="*/ 665 h 689"/>
                    <a:gd name="T54" fmla="*/ 177 w 484"/>
                    <a:gd name="T55" fmla="*/ 688 h 689"/>
                    <a:gd name="T56" fmla="*/ 151 w 484"/>
                    <a:gd name="T57" fmla="*/ 689 h 689"/>
                    <a:gd name="T58" fmla="*/ 146 w 484"/>
                    <a:gd name="T59" fmla="*/ 668 h 689"/>
                    <a:gd name="T60" fmla="*/ 124 w 484"/>
                    <a:gd name="T61" fmla="*/ 642 h 689"/>
                    <a:gd name="T62" fmla="*/ 89 w 484"/>
                    <a:gd name="T63" fmla="*/ 610 h 689"/>
                    <a:gd name="T64" fmla="*/ 82 w 484"/>
                    <a:gd name="T65" fmla="*/ 597 h 689"/>
                    <a:gd name="T66" fmla="*/ 84 w 484"/>
                    <a:gd name="T67" fmla="*/ 580 h 689"/>
                    <a:gd name="T68" fmla="*/ 101 w 484"/>
                    <a:gd name="T69" fmla="*/ 580 h 689"/>
                    <a:gd name="T70" fmla="*/ 121 w 484"/>
                    <a:gd name="T71" fmla="*/ 580 h 689"/>
                    <a:gd name="T72" fmla="*/ 140 w 484"/>
                    <a:gd name="T73" fmla="*/ 583 h 689"/>
                    <a:gd name="T74" fmla="*/ 130 w 484"/>
                    <a:gd name="T75" fmla="*/ 571 h 689"/>
                    <a:gd name="T76" fmla="*/ 114 w 484"/>
                    <a:gd name="T77" fmla="*/ 548 h 689"/>
                    <a:gd name="T78" fmla="*/ 121 w 484"/>
                    <a:gd name="T79" fmla="*/ 523 h 689"/>
                    <a:gd name="T80" fmla="*/ 119 w 484"/>
                    <a:gd name="T81" fmla="*/ 511 h 689"/>
                    <a:gd name="T82" fmla="*/ 112 w 484"/>
                    <a:gd name="T83" fmla="*/ 486 h 689"/>
                    <a:gd name="T84" fmla="*/ 98 w 484"/>
                    <a:gd name="T85" fmla="*/ 461 h 689"/>
                    <a:gd name="T86" fmla="*/ 71 w 484"/>
                    <a:gd name="T87" fmla="*/ 441 h 689"/>
                    <a:gd name="T88" fmla="*/ 52 w 484"/>
                    <a:gd name="T89" fmla="*/ 372 h 689"/>
                    <a:gd name="T90" fmla="*/ 62 w 484"/>
                    <a:gd name="T91" fmla="*/ 365 h 689"/>
                    <a:gd name="T92" fmla="*/ 131 w 484"/>
                    <a:gd name="T93" fmla="*/ 231 h 689"/>
                    <a:gd name="T94" fmla="*/ 149 w 484"/>
                    <a:gd name="T95" fmla="*/ 131 h 689"/>
                    <a:gd name="T96" fmla="*/ 124 w 484"/>
                    <a:gd name="T97" fmla="*/ 82 h 689"/>
                    <a:gd name="T98" fmla="*/ 99 w 484"/>
                    <a:gd name="T99" fmla="*/ 20 h 689"/>
                    <a:gd name="T100" fmla="*/ 4 w 484"/>
                    <a:gd name="T101" fmla="*/ 452 h 6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84" h="689">
                      <a:moveTo>
                        <a:pt x="99" y="20"/>
                      </a:moveTo>
                      <a:lnTo>
                        <a:pt x="147" y="0"/>
                      </a:lnTo>
                      <a:lnTo>
                        <a:pt x="480" y="169"/>
                      </a:lnTo>
                      <a:lnTo>
                        <a:pt x="484" y="333"/>
                      </a:lnTo>
                      <a:lnTo>
                        <a:pt x="477" y="335"/>
                      </a:lnTo>
                      <a:lnTo>
                        <a:pt x="470" y="340"/>
                      </a:lnTo>
                      <a:lnTo>
                        <a:pt x="463" y="335"/>
                      </a:lnTo>
                      <a:lnTo>
                        <a:pt x="452" y="335"/>
                      </a:lnTo>
                      <a:lnTo>
                        <a:pt x="445" y="342"/>
                      </a:lnTo>
                      <a:lnTo>
                        <a:pt x="445" y="353"/>
                      </a:lnTo>
                      <a:lnTo>
                        <a:pt x="448" y="358"/>
                      </a:lnTo>
                      <a:lnTo>
                        <a:pt x="443" y="367"/>
                      </a:lnTo>
                      <a:lnTo>
                        <a:pt x="431" y="385"/>
                      </a:lnTo>
                      <a:lnTo>
                        <a:pt x="425" y="385"/>
                      </a:lnTo>
                      <a:lnTo>
                        <a:pt x="418" y="392"/>
                      </a:lnTo>
                      <a:lnTo>
                        <a:pt x="418" y="397"/>
                      </a:lnTo>
                      <a:lnTo>
                        <a:pt x="424" y="402"/>
                      </a:lnTo>
                      <a:lnTo>
                        <a:pt x="420" y="411"/>
                      </a:lnTo>
                      <a:lnTo>
                        <a:pt x="411" y="417"/>
                      </a:lnTo>
                      <a:lnTo>
                        <a:pt x="409" y="422"/>
                      </a:lnTo>
                      <a:lnTo>
                        <a:pt x="417" y="427"/>
                      </a:lnTo>
                      <a:lnTo>
                        <a:pt x="418" y="434"/>
                      </a:lnTo>
                      <a:lnTo>
                        <a:pt x="413" y="441"/>
                      </a:lnTo>
                      <a:lnTo>
                        <a:pt x="401" y="456"/>
                      </a:lnTo>
                      <a:lnTo>
                        <a:pt x="401" y="464"/>
                      </a:lnTo>
                      <a:lnTo>
                        <a:pt x="406" y="470"/>
                      </a:lnTo>
                      <a:lnTo>
                        <a:pt x="417" y="463"/>
                      </a:lnTo>
                      <a:lnTo>
                        <a:pt x="420" y="464"/>
                      </a:lnTo>
                      <a:lnTo>
                        <a:pt x="420" y="470"/>
                      </a:lnTo>
                      <a:lnTo>
                        <a:pt x="417" y="473"/>
                      </a:lnTo>
                      <a:lnTo>
                        <a:pt x="422" y="477"/>
                      </a:lnTo>
                      <a:lnTo>
                        <a:pt x="418" y="482"/>
                      </a:lnTo>
                      <a:lnTo>
                        <a:pt x="422" y="489"/>
                      </a:lnTo>
                      <a:lnTo>
                        <a:pt x="422" y="500"/>
                      </a:lnTo>
                      <a:lnTo>
                        <a:pt x="424" y="509"/>
                      </a:lnTo>
                      <a:lnTo>
                        <a:pt x="440" y="512"/>
                      </a:lnTo>
                      <a:lnTo>
                        <a:pt x="443" y="519"/>
                      </a:lnTo>
                      <a:lnTo>
                        <a:pt x="440" y="525"/>
                      </a:lnTo>
                      <a:lnTo>
                        <a:pt x="440" y="530"/>
                      </a:lnTo>
                      <a:lnTo>
                        <a:pt x="438" y="535"/>
                      </a:lnTo>
                      <a:lnTo>
                        <a:pt x="427" y="541"/>
                      </a:lnTo>
                      <a:lnTo>
                        <a:pt x="422" y="537"/>
                      </a:lnTo>
                      <a:lnTo>
                        <a:pt x="411" y="537"/>
                      </a:lnTo>
                      <a:lnTo>
                        <a:pt x="404" y="542"/>
                      </a:lnTo>
                      <a:lnTo>
                        <a:pt x="394" y="548"/>
                      </a:lnTo>
                      <a:lnTo>
                        <a:pt x="392" y="555"/>
                      </a:lnTo>
                      <a:lnTo>
                        <a:pt x="394" y="560"/>
                      </a:lnTo>
                      <a:lnTo>
                        <a:pt x="388" y="562"/>
                      </a:lnTo>
                      <a:lnTo>
                        <a:pt x="381" y="574"/>
                      </a:lnTo>
                      <a:lnTo>
                        <a:pt x="376" y="574"/>
                      </a:lnTo>
                      <a:lnTo>
                        <a:pt x="372" y="573"/>
                      </a:lnTo>
                      <a:lnTo>
                        <a:pt x="367" y="580"/>
                      </a:lnTo>
                      <a:lnTo>
                        <a:pt x="367" y="585"/>
                      </a:lnTo>
                      <a:lnTo>
                        <a:pt x="362" y="588"/>
                      </a:lnTo>
                      <a:lnTo>
                        <a:pt x="360" y="596"/>
                      </a:lnTo>
                      <a:lnTo>
                        <a:pt x="362" y="603"/>
                      </a:lnTo>
                      <a:lnTo>
                        <a:pt x="360" y="608"/>
                      </a:lnTo>
                      <a:lnTo>
                        <a:pt x="353" y="612"/>
                      </a:lnTo>
                      <a:lnTo>
                        <a:pt x="344" y="619"/>
                      </a:lnTo>
                      <a:lnTo>
                        <a:pt x="328" y="620"/>
                      </a:lnTo>
                      <a:lnTo>
                        <a:pt x="317" y="622"/>
                      </a:lnTo>
                      <a:lnTo>
                        <a:pt x="307" y="620"/>
                      </a:lnTo>
                      <a:lnTo>
                        <a:pt x="300" y="617"/>
                      </a:lnTo>
                      <a:lnTo>
                        <a:pt x="291" y="619"/>
                      </a:lnTo>
                      <a:lnTo>
                        <a:pt x="284" y="617"/>
                      </a:lnTo>
                      <a:lnTo>
                        <a:pt x="278" y="620"/>
                      </a:lnTo>
                      <a:lnTo>
                        <a:pt x="278" y="627"/>
                      </a:lnTo>
                      <a:lnTo>
                        <a:pt x="284" y="636"/>
                      </a:lnTo>
                      <a:lnTo>
                        <a:pt x="289" y="636"/>
                      </a:lnTo>
                      <a:lnTo>
                        <a:pt x="291" y="642"/>
                      </a:lnTo>
                      <a:lnTo>
                        <a:pt x="278" y="649"/>
                      </a:lnTo>
                      <a:lnTo>
                        <a:pt x="273" y="656"/>
                      </a:lnTo>
                      <a:lnTo>
                        <a:pt x="262" y="656"/>
                      </a:lnTo>
                      <a:lnTo>
                        <a:pt x="238" y="661"/>
                      </a:lnTo>
                      <a:lnTo>
                        <a:pt x="227" y="668"/>
                      </a:lnTo>
                      <a:lnTo>
                        <a:pt x="216" y="674"/>
                      </a:lnTo>
                      <a:lnTo>
                        <a:pt x="206" y="681"/>
                      </a:lnTo>
                      <a:lnTo>
                        <a:pt x="197" y="682"/>
                      </a:lnTo>
                      <a:lnTo>
                        <a:pt x="193" y="679"/>
                      </a:lnTo>
                      <a:lnTo>
                        <a:pt x="192" y="668"/>
                      </a:lnTo>
                      <a:lnTo>
                        <a:pt x="186" y="665"/>
                      </a:lnTo>
                      <a:lnTo>
                        <a:pt x="183" y="670"/>
                      </a:lnTo>
                      <a:lnTo>
                        <a:pt x="183" y="677"/>
                      </a:lnTo>
                      <a:lnTo>
                        <a:pt x="177" y="688"/>
                      </a:lnTo>
                      <a:lnTo>
                        <a:pt x="165" y="688"/>
                      </a:lnTo>
                      <a:lnTo>
                        <a:pt x="160" y="689"/>
                      </a:lnTo>
                      <a:lnTo>
                        <a:pt x="151" y="689"/>
                      </a:lnTo>
                      <a:lnTo>
                        <a:pt x="149" y="681"/>
                      </a:lnTo>
                      <a:lnTo>
                        <a:pt x="146" y="675"/>
                      </a:lnTo>
                      <a:lnTo>
                        <a:pt x="146" y="668"/>
                      </a:lnTo>
                      <a:lnTo>
                        <a:pt x="138" y="658"/>
                      </a:lnTo>
                      <a:lnTo>
                        <a:pt x="131" y="647"/>
                      </a:lnTo>
                      <a:lnTo>
                        <a:pt x="124" y="642"/>
                      </a:lnTo>
                      <a:lnTo>
                        <a:pt x="110" y="626"/>
                      </a:lnTo>
                      <a:lnTo>
                        <a:pt x="94" y="613"/>
                      </a:lnTo>
                      <a:lnTo>
                        <a:pt x="89" y="610"/>
                      </a:lnTo>
                      <a:lnTo>
                        <a:pt x="87" y="604"/>
                      </a:lnTo>
                      <a:lnTo>
                        <a:pt x="82" y="603"/>
                      </a:lnTo>
                      <a:lnTo>
                        <a:pt x="82" y="597"/>
                      </a:lnTo>
                      <a:lnTo>
                        <a:pt x="82" y="590"/>
                      </a:lnTo>
                      <a:lnTo>
                        <a:pt x="84" y="587"/>
                      </a:lnTo>
                      <a:lnTo>
                        <a:pt x="84" y="580"/>
                      </a:lnTo>
                      <a:lnTo>
                        <a:pt x="91" y="580"/>
                      </a:lnTo>
                      <a:lnTo>
                        <a:pt x="98" y="580"/>
                      </a:lnTo>
                      <a:lnTo>
                        <a:pt x="101" y="580"/>
                      </a:lnTo>
                      <a:lnTo>
                        <a:pt x="108" y="580"/>
                      </a:lnTo>
                      <a:lnTo>
                        <a:pt x="115" y="580"/>
                      </a:lnTo>
                      <a:lnTo>
                        <a:pt x="121" y="580"/>
                      </a:lnTo>
                      <a:lnTo>
                        <a:pt x="130" y="580"/>
                      </a:lnTo>
                      <a:lnTo>
                        <a:pt x="133" y="583"/>
                      </a:lnTo>
                      <a:lnTo>
                        <a:pt x="140" y="583"/>
                      </a:lnTo>
                      <a:lnTo>
                        <a:pt x="144" y="581"/>
                      </a:lnTo>
                      <a:lnTo>
                        <a:pt x="140" y="580"/>
                      </a:lnTo>
                      <a:lnTo>
                        <a:pt x="130" y="571"/>
                      </a:lnTo>
                      <a:lnTo>
                        <a:pt x="128" y="562"/>
                      </a:lnTo>
                      <a:lnTo>
                        <a:pt x="121" y="558"/>
                      </a:lnTo>
                      <a:lnTo>
                        <a:pt x="114" y="548"/>
                      </a:lnTo>
                      <a:lnTo>
                        <a:pt x="114" y="539"/>
                      </a:lnTo>
                      <a:lnTo>
                        <a:pt x="117" y="535"/>
                      </a:lnTo>
                      <a:lnTo>
                        <a:pt x="121" y="523"/>
                      </a:lnTo>
                      <a:lnTo>
                        <a:pt x="117" y="518"/>
                      </a:lnTo>
                      <a:lnTo>
                        <a:pt x="117" y="514"/>
                      </a:lnTo>
                      <a:lnTo>
                        <a:pt x="119" y="511"/>
                      </a:lnTo>
                      <a:lnTo>
                        <a:pt x="119" y="505"/>
                      </a:lnTo>
                      <a:lnTo>
                        <a:pt x="114" y="493"/>
                      </a:lnTo>
                      <a:lnTo>
                        <a:pt x="112" y="486"/>
                      </a:lnTo>
                      <a:lnTo>
                        <a:pt x="108" y="482"/>
                      </a:lnTo>
                      <a:lnTo>
                        <a:pt x="107" y="470"/>
                      </a:lnTo>
                      <a:lnTo>
                        <a:pt x="98" y="461"/>
                      </a:lnTo>
                      <a:lnTo>
                        <a:pt x="76" y="452"/>
                      </a:lnTo>
                      <a:lnTo>
                        <a:pt x="76" y="450"/>
                      </a:lnTo>
                      <a:lnTo>
                        <a:pt x="71" y="441"/>
                      </a:lnTo>
                      <a:lnTo>
                        <a:pt x="61" y="427"/>
                      </a:lnTo>
                      <a:lnTo>
                        <a:pt x="55" y="426"/>
                      </a:lnTo>
                      <a:lnTo>
                        <a:pt x="52" y="372"/>
                      </a:lnTo>
                      <a:lnTo>
                        <a:pt x="52" y="367"/>
                      </a:lnTo>
                      <a:lnTo>
                        <a:pt x="57" y="367"/>
                      </a:lnTo>
                      <a:lnTo>
                        <a:pt x="62" y="365"/>
                      </a:lnTo>
                      <a:lnTo>
                        <a:pt x="64" y="362"/>
                      </a:lnTo>
                      <a:lnTo>
                        <a:pt x="133" y="291"/>
                      </a:lnTo>
                      <a:lnTo>
                        <a:pt x="131" y="231"/>
                      </a:lnTo>
                      <a:lnTo>
                        <a:pt x="142" y="153"/>
                      </a:lnTo>
                      <a:lnTo>
                        <a:pt x="149" y="146"/>
                      </a:lnTo>
                      <a:lnTo>
                        <a:pt x="149" y="131"/>
                      </a:lnTo>
                      <a:lnTo>
                        <a:pt x="121" y="98"/>
                      </a:lnTo>
                      <a:lnTo>
                        <a:pt x="124" y="93"/>
                      </a:lnTo>
                      <a:lnTo>
                        <a:pt x="124" y="82"/>
                      </a:lnTo>
                      <a:lnTo>
                        <a:pt x="105" y="25"/>
                      </a:lnTo>
                      <a:lnTo>
                        <a:pt x="99" y="20"/>
                      </a:lnTo>
                      <a:lnTo>
                        <a:pt x="99" y="20"/>
                      </a:lnTo>
                      <a:close/>
                      <a:moveTo>
                        <a:pt x="13" y="445"/>
                      </a:moveTo>
                      <a:lnTo>
                        <a:pt x="9" y="452"/>
                      </a:lnTo>
                      <a:lnTo>
                        <a:pt x="4" y="452"/>
                      </a:lnTo>
                      <a:lnTo>
                        <a:pt x="0" y="450"/>
                      </a:lnTo>
                      <a:lnTo>
                        <a:pt x="13" y="445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69" name="Freeform 33">
                  <a:extLst>
                    <a:ext uri="{FF2B5EF4-FFF2-40B4-BE49-F238E27FC236}">
                      <a16:creationId xmlns:a16="http://schemas.microsoft.com/office/drawing/2014/main" id="{95BF2147-7893-46D0-4024-6F043CB316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4284" y="2382833"/>
                  <a:ext cx="1003302" cy="782636"/>
                </a:xfrm>
                <a:custGeom>
                  <a:avLst/>
                  <a:gdLst>
                    <a:gd name="T0" fmla="*/ 133 w 632"/>
                    <a:gd name="T1" fmla="*/ 480 h 493"/>
                    <a:gd name="T2" fmla="*/ 117 w 632"/>
                    <a:gd name="T3" fmla="*/ 468 h 493"/>
                    <a:gd name="T4" fmla="*/ 99 w 632"/>
                    <a:gd name="T5" fmla="*/ 464 h 493"/>
                    <a:gd name="T6" fmla="*/ 92 w 632"/>
                    <a:gd name="T7" fmla="*/ 471 h 493"/>
                    <a:gd name="T8" fmla="*/ 76 w 632"/>
                    <a:gd name="T9" fmla="*/ 461 h 493"/>
                    <a:gd name="T10" fmla="*/ 81 w 632"/>
                    <a:gd name="T11" fmla="*/ 447 h 493"/>
                    <a:gd name="T12" fmla="*/ 76 w 632"/>
                    <a:gd name="T13" fmla="*/ 438 h 493"/>
                    <a:gd name="T14" fmla="*/ 53 w 632"/>
                    <a:gd name="T15" fmla="*/ 445 h 493"/>
                    <a:gd name="T16" fmla="*/ 39 w 632"/>
                    <a:gd name="T17" fmla="*/ 417 h 493"/>
                    <a:gd name="T18" fmla="*/ 0 w 632"/>
                    <a:gd name="T19" fmla="*/ 379 h 493"/>
                    <a:gd name="T20" fmla="*/ 7 w 632"/>
                    <a:gd name="T21" fmla="*/ 360 h 493"/>
                    <a:gd name="T22" fmla="*/ 19 w 632"/>
                    <a:gd name="T23" fmla="*/ 356 h 493"/>
                    <a:gd name="T24" fmla="*/ 56 w 632"/>
                    <a:gd name="T25" fmla="*/ 355 h 493"/>
                    <a:gd name="T26" fmla="*/ 85 w 632"/>
                    <a:gd name="T27" fmla="*/ 349 h 493"/>
                    <a:gd name="T28" fmla="*/ 106 w 632"/>
                    <a:gd name="T29" fmla="*/ 340 h 493"/>
                    <a:gd name="T30" fmla="*/ 131 w 632"/>
                    <a:gd name="T31" fmla="*/ 333 h 493"/>
                    <a:gd name="T32" fmla="*/ 154 w 632"/>
                    <a:gd name="T33" fmla="*/ 314 h 493"/>
                    <a:gd name="T34" fmla="*/ 161 w 632"/>
                    <a:gd name="T35" fmla="*/ 294 h 493"/>
                    <a:gd name="T36" fmla="*/ 166 w 632"/>
                    <a:gd name="T37" fmla="*/ 177 h 493"/>
                    <a:gd name="T38" fmla="*/ 281 w 632"/>
                    <a:gd name="T39" fmla="*/ 115 h 493"/>
                    <a:gd name="T40" fmla="*/ 540 w 632"/>
                    <a:gd name="T41" fmla="*/ 18 h 493"/>
                    <a:gd name="T42" fmla="*/ 582 w 632"/>
                    <a:gd name="T43" fmla="*/ 11 h 493"/>
                    <a:gd name="T44" fmla="*/ 607 w 632"/>
                    <a:gd name="T45" fmla="*/ 73 h 493"/>
                    <a:gd name="T46" fmla="*/ 604 w 632"/>
                    <a:gd name="T47" fmla="*/ 89 h 493"/>
                    <a:gd name="T48" fmla="*/ 632 w 632"/>
                    <a:gd name="T49" fmla="*/ 137 h 493"/>
                    <a:gd name="T50" fmla="*/ 614 w 632"/>
                    <a:gd name="T51" fmla="*/ 222 h 493"/>
                    <a:gd name="T52" fmla="*/ 547 w 632"/>
                    <a:gd name="T53" fmla="*/ 353 h 493"/>
                    <a:gd name="T54" fmla="*/ 540 w 632"/>
                    <a:gd name="T55" fmla="*/ 358 h 493"/>
                    <a:gd name="T56" fmla="*/ 535 w 632"/>
                    <a:gd name="T57" fmla="*/ 363 h 493"/>
                    <a:gd name="T58" fmla="*/ 529 w 632"/>
                    <a:gd name="T59" fmla="*/ 413 h 493"/>
                    <a:gd name="T60" fmla="*/ 524 w 632"/>
                    <a:gd name="T61" fmla="*/ 425 h 493"/>
                    <a:gd name="T62" fmla="*/ 513 w 632"/>
                    <a:gd name="T63" fmla="*/ 425 h 493"/>
                    <a:gd name="T64" fmla="*/ 506 w 632"/>
                    <a:gd name="T65" fmla="*/ 431 h 493"/>
                    <a:gd name="T66" fmla="*/ 496 w 632"/>
                    <a:gd name="T67" fmla="*/ 436 h 493"/>
                    <a:gd name="T68" fmla="*/ 478 w 632"/>
                    <a:gd name="T69" fmla="*/ 438 h 493"/>
                    <a:gd name="T70" fmla="*/ 453 w 632"/>
                    <a:gd name="T71" fmla="*/ 431 h 493"/>
                    <a:gd name="T72" fmla="*/ 427 w 632"/>
                    <a:gd name="T73" fmla="*/ 432 h 493"/>
                    <a:gd name="T74" fmla="*/ 395 w 632"/>
                    <a:gd name="T75" fmla="*/ 434 h 493"/>
                    <a:gd name="T76" fmla="*/ 375 w 632"/>
                    <a:gd name="T77" fmla="*/ 455 h 493"/>
                    <a:gd name="T78" fmla="*/ 350 w 632"/>
                    <a:gd name="T79" fmla="*/ 448 h 493"/>
                    <a:gd name="T80" fmla="*/ 329 w 632"/>
                    <a:gd name="T81" fmla="*/ 440 h 493"/>
                    <a:gd name="T82" fmla="*/ 320 w 632"/>
                    <a:gd name="T83" fmla="*/ 432 h 493"/>
                    <a:gd name="T84" fmla="*/ 306 w 632"/>
                    <a:gd name="T85" fmla="*/ 427 h 493"/>
                    <a:gd name="T86" fmla="*/ 292 w 632"/>
                    <a:gd name="T87" fmla="*/ 431 h 493"/>
                    <a:gd name="T88" fmla="*/ 281 w 632"/>
                    <a:gd name="T89" fmla="*/ 434 h 493"/>
                    <a:gd name="T90" fmla="*/ 272 w 632"/>
                    <a:gd name="T91" fmla="*/ 441 h 493"/>
                    <a:gd name="T92" fmla="*/ 255 w 632"/>
                    <a:gd name="T93" fmla="*/ 424 h 493"/>
                    <a:gd name="T94" fmla="*/ 239 w 632"/>
                    <a:gd name="T95" fmla="*/ 415 h 493"/>
                    <a:gd name="T96" fmla="*/ 226 w 632"/>
                    <a:gd name="T97" fmla="*/ 409 h 493"/>
                    <a:gd name="T98" fmla="*/ 210 w 632"/>
                    <a:gd name="T99" fmla="*/ 406 h 493"/>
                    <a:gd name="T100" fmla="*/ 200 w 632"/>
                    <a:gd name="T101" fmla="*/ 409 h 493"/>
                    <a:gd name="T102" fmla="*/ 184 w 632"/>
                    <a:gd name="T103" fmla="*/ 409 h 493"/>
                    <a:gd name="T104" fmla="*/ 170 w 632"/>
                    <a:gd name="T105" fmla="*/ 411 h 493"/>
                    <a:gd name="T106" fmla="*/ 163 w 632"/>
                    <a:gd name="T107" fmla="*/ 415 h 493"/>
                    <a:gd name="T108" fmla="*/ 152 w 632"/>
                    <a:gd name="T109" fmla="*/ 427 h 493"/>
                    <a:gd name="T110" fmla="*/ 152 w 632"/>
                    <a:gd name="T111" fmla="*/ 432 h 493"/>
                    <a:gd name="T112" fmla="*/ 152 w 632"/>
                    <a:gd name="T113" fmla="*/ 443 h 493"/>
                    <a:gd name="T114" fmla="*/ 156 w 632"/>
                    <a:gd name="T115" fmla="*/ 454 h 493"/>
                    <a:gd name="T116" fmla="*/ 140 w 632"/>
                    <a:gd name="T117" fmla="*/ 463 h 493"/>
                    <a:gd name="T118" fmla="*/ 138 w 632"/>
                    <a:gd name="T119" fmla="*/ 471 h 493"/>
                    <a:gd name="T120" fmla="*/ 148 w 632"/>
                    <a:gd name="T121" fmla="*/ 482 h 493"/>
                    <a:gd name="T122" fmla="*/ 141 w 632"/>
                    <a:gd name="T123" fmla="*/ 493 h 4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632" h="493">
                      <a:moveTo>
                        <a:pt x="141" y="493"/>
                      </a:moveTo>
                      <a:lnTo>
                        <a:pt x="133" y="480"/>
                      </a:lnTo>
                      <a:lnTo>
                        <a:pt x="124" y="479"/>
                      </a:lnTo>
                      <a:lnTo>
                        <a:pt x="117" y="468"/>
                      </a:lnTo>
                      <a:lnTo>
                        <a:pt x="102" y="457"/>
                      </a:lnTo>
                      <a:lnTo>
                        <a:pt x="99" y="464"/>
                      </a:lnTo>
                      <a:lnTo>
                        <a:pt x="101" y="470"/>
                      </a:lnTo>
                      <a:lnTo>
                        <a:pt x="92" y="471"/>
                      </a:lnTo>
                      <a:lnTo>
                        <a:pt x="85" y="473"/>
                      </a:lnTo>
                      <a:lnTo>
                        <a:pt x="76" y="461"/>
                      </a:lnTo>
                      <a:lnTo>
                        <a:pt x="81" y="454"/>
                      </a:lnTo>
                      <a:lnTo>
                        <a:pt x="81" y="447"/>
                      </a:lnTo>
                      <a:lnTo>
                        <a:pt x="78" y="443"/>
                      </a:lnTo>
                      <a:lnTo>
                        <a:pt x="76" y="438"/>
                      </a:lnTo>
                      <a:lnTo>
                        <a:pt x="72" y="436"/>
                      </a:lnTo>
                      <a:lnTo>
                        <a:pt x="53" y="445"/>
                      </a:lnTo>
                      <a:lnTo>
                        <a:pt x="39" y="434"/>
                      </a:lnTo>
                      <a:lnTo>
                        <a:pt x="39" y="417"/>
                      </a:lnTo>
                      <a:lnTo>
                        <a:pt x="0" y="392"/>
                      </a:lnTo>
                      <a:lnTo>
                        <a:pt x="0" y="379"/>
                      </a:lnTo>
                      <a:lnTo>
                        <a:pt x="5" y="370"/>
                      </a:lnTo>
                      <a:lnTo>
                        <a:pt x="7" y="360"/>
                      </a:lnTo>
                      <a:lnTo>
                        <a:pt x="9" y="353"/>
                      </a:lnTo>
                      <a:lnTo>
                        <a:pt x="19" y="356"/>
                      </a:lnTo>
                      <a:lnTo>
                        <a:pt x="47" y="353"/>
                      </a:lnTo>
                      <a:lnTo>
                        <a:pt x="56" y="355"/>
                      </a:lnTo>
                      <a:lnTo>
                        <a:pt x="67" y="349"/>
                      </a:lnTo>
                      <a:lnTo>
                        <a:pt x="85" y="349"/>
                      </a:lnTo>
                      <a:lnTo>
                        <a:pt x="94" y="349"/>
                      </a:lnTo>
                      <a:lnTo>
                        <a:pt x="106" y="340"/>
                      </a:lnTo>
                      <a:lnTo>
                        <a:pt x="118" y="340"/>
                      </a:lnTo>
                      <a:lnTo>
                        <a:pt x="131" y="333"/>
                      </a:lnTo>
                      <a:lnTo>
                        <a:pt x="150" y="323"/>
                      </a:lnTo>
                      <a:lnTo>
                        <a:pt x="154" y="314"/>
                      </a:lnTo>
                      <a:lnTo>
                        <a:pt x="154" y="298"/>
                      </a:lnTo>
                      <a:lnTo>
                        <a:pt x="161" y="294"/>
                      </a:lnTo>
                      <a:lnTo>
                        <a:pt x="164" y="257"/>
                      </a:lnTo>
                      <a:lnTo>
                        <a:pt x="166" y="177"/>
                      </a:lnTo>
                      <a:lnTo>
                        <a:pt x="230" y="161"/>
                      </a:lnTo>
                      <a:lnTo>
                        <a:pt x="281" y="115"/>
                      </a:lnTo>
                      <a:lnTo>
                        <a:pt x="467" y="0"/>
                      </a:lnTo>
                      <a:lnTo>
                        <a:pt x="540" y="18"/>
                      </a:lnTo>
                      <a:lnTo>
                        <a:pt x="545" y="25"/>
                      </a:lnTo>
                      <a:lnTo>
                        <a:pt x="582" y="11"/>
                      </a:lnTo>
                      <a:lnTo>
                        <a:pt x="588" y="16"/>
                      </a:lnTo>
                      <a:lnTo>
                        <a:pt x="607" y="73"/>
                      </a:lnTo>
                      <a:lnTo>
                        <a:pt x="607" y="84"/>
                      </a:lnTo>
                      <a:lnTo>
                        <a:pt x="604" y="89"/>
                      </a:lnTo>
                      <a:lnTo>
                        <a:pt x="632" y="122"/>
                      </a:lnTo>
                      <a:lnTo>
                        <a:pt x="632" y="137"/>
                      </a:lnTo>
                      <a:lnTo>
                        <a:pt x="625" y="144"/>
                      </a:lnTo>
                      <a:lnTo>
                        <a:pt x="614" y="222"/>
                      </a:lnTo>
                      <a:lnTo>
                        <a:pt x="616" y="282"/>
                      </a:lnTo>
                      <a:lnTo>
                        <a:pt x="547" y="353"/>
                      </a:lnTo>
                      <a:lnTo>
                        <a:pt x="545" y="356"/>
                      </a:lnTo>
                      <a:lnTo>
                        <a:pt x="540" y="358"/>
                      </a:lnTo>
                      <a:lnTo>
                        <a:pt x="535" y="358"/>
                      </a:lnTo>
                      <a:lnTo>
                        <a:pt x="535" y="363"/>
                      </a:lnTo>
                      <a:lnTo>
                        <a:pt x="538" y="417"/>
                      </a:lnTo>
                      <a:lnTo>
                        <a:pt x="529" y="413"/>
                      </a:lnTo>
                      <a:lnTo>
                        <a:pt x="526" y="420"/>
                      </a:lnTo>
                      <a:lnTo>
                        <a:pt x="524" y="425"/>
                      </a:lnTo>
                      <a:lnTo>
                        <a:pt x="520" y="427"/>
                      </a:lnTo>
                      <a:lnTo>
                        <a:pt x="513" y="425"/>
                      </a:lnTo>
                      <a:lnTo>
                        <a:pt x="508" y="427"/>
                      </a:lnTo>
                      <a:lnTo>
                        <a:pt x="506" y="431"/>
                      </a:lnTo>
                      <a:lnTo>
                        <a:pt x="497" y="434"/>
                      </a:lnTo>
                      <a:lnTo>
                        <a:pt x="496" y="436"/>
                      </a:lnTo>
                      <a:lnTo>
                        <a:pt x="483" y="441"/>
                      </a:lnTo>
                      <a:lnTo>
                        <a:pt x="478" y="438"/>
                      </a:lnTo>
                      <a:lnTo>
                        <a:pt x="467" y="438"/>
                      </a:lnTo>
                      <a:lnTo>
                        <a:pt x="453" y="431"/>
                      </a:lnTo>
                      <a:lnTo>
                        <a:pt x="435" y="429"/>
                      </a:lnTo>
                      <a:lnTo>
                        <a:pt x="427" y="432"/>
                      </a:lnTo>
                      <a:lnTo>
                        <a:pt x="404" y="432"/>
                      </a:lnTo>
                      <a:lnTo>
                        <a:pt x="395" y="434"/>
                      </a:lnTo>
                      <a:lnTo>
                        <a:pt x="386" y="448"/>
                      </a:lnTo>
                      <a:lnTo>
                        <a:pt x="375" y="455"/>
                      </a:lnTo>
                      <a:lnTo>
                        <a:pt x="368" y="454"/>
                      </a:lnTo>
                      <a:lnTo>
                        <a:pt x="350" y="448"/>
                      </a:lnTo>
                      <a:lnTo>
                        <a:pt x="342" y="447"/>
                      </a:lnTo>
                      <a:lnTo>
                        <a:pt x="329" y="440"/>
                      </a:lnTo>
                      <a:lnTo>
                        <a:pt x="320" y="436"/>
                      </a:lnTo>
                      <a:lnTo>
                        <a:pt x="320" y="432"/>
                      </a:lnTo>
                      <a:lnTo>
                        <a:pt x="313" y="427"/>
                      </a:lnTo>
                      <a:lnTo>
                        <a:pt x="306" y="427"/>
                      </a:lnTo>
                      <a:lnTo>
                        <a:pt x="304" y="429"/>
                      </a:lnTo>
                      <a:lnTo>
                        <a:pt x="292" y="431"/>
                      </a:lnTo>
                      <a:lnTo>
                        <a:pt x="287" y="434"/>
                      </a:lnTo>
                      <a:lnTo>
                        <a:pt x="281" y="434"/>
                      </a:lnTo>
                      <a:lnTo>
                        <a:pt x="276" y="440"/>
                      </a:lnTo>
                      <a:lnTo>
                        <a:pt x="272" y="441"/>
                      </a:lnTo>
                      <a:lnTo>
                        <a:pt x="264" y="436"/>
                      </a:lnTo>
                      <a:lnTo>
                        <a:pt x="255" y="424"/>
                      </a:lnTo>
                      <a:lnTo>
                        <a:pt x="251" y="418"/>
                      </a:lnTo>
                      <a:lnTo>
                        <a:pt x="239" y="415"/>
                      </a:lnTo>
                      <a:lnTo>
                        <a:pt x="232" y="413"/>
                      </a:lnTo>
                      <a:lnTo>
                        <a:pt x="226" y="409"/>
                      </a:lnTo>
                      <a:lnTo>
                        <a:pt x="216" y="408"/>
                      </a:lnTo>
                      <a:lnTo>
                        <a:pt x="210" y="406"/>
                      </a:lnTo>
                      <a:lnTo>
                        <a:pt x="203" y="408"/>
                      </a:lnTo>
                      <a:lnTo>
                        <a:pt x="200" y="409"/>
                      </a:lnTo>
                      <a:lnTo>
                        <a:pt x="187" y="409"/>
                      </a:lnTo>
                      <a:lnTo>
                        <a:pt x="184" y="409"/>
                      </a:lnTo>
                      <a:lnTo>
                        <a:pt x="179" y="409"/>
                      </a:lnTo>
                      <a:lnTo>
                        <a:pt x="170" y="411"/>
                      </a:lnTo>
                      <a:lnTo>
                        <a:pt x="166" y="413"/>
                      </a:lnTo>
                      <a:lnTo>
                        <a:pt x="163" y="415"/>
                      </a:lnTo>
                      <a:lnTo>
                        <a:pt x="152" y="424"/>
                      </a:lnTo>
                      <a:lnTo>
                        <a:pt x="152" y="427"/>
                      </a:lnTo>
                      <a:lnTo>
                        <a:pt x="154" y="431"/>
                      </a:lnTo>
                      <a:lnTo>
                        <a:pt x="152" y="432"/>
                      </a:lnTo>
                      <a:lnTo>
                        <a:pt x="150" y="436"/>
                      </a:lnTo>
                      <a:lnTo>
                        <a:pt x="152" y="443"/>
                      </a:lnTo>
                      <a:lnTo>
                        <a:pt x="156" y="447"/>
                      </a:lnTo>
                      <a:lnTo>
                        <a:pt x="156" y="454"/>
                      </a:lnTo>
                      <a:lnTo>
                        <a:pt x="148" y="454"/>
                      </a:lnTo>
                      <a:lnTo>
                        <a:pt x="140" y="463"/>
                      </a:lnTo>
                      <a:lnTo>
                        <a:pt x="141" y="466"/>
                      </a:lnTo>
                      <a:lnTo>
                        <a:pt x="138" y="471"/>
                      </a:lnTo>
                      <a:lnTo>
                        <a:pt x="143" y="482"/>
                      </a:lnTo>
                      <a:lnTo>
                        <a:pt x="148" y="482"/>
                      </a:lnTo>
                      <a:lnTo>
                        <a:pt x="148" y="487"/>
                      </a:lnTo>
                      <a:lnTo>
                        <a:pt x="141" y="493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0" name="Freeform 34">
                  <a:extLst>
                    <a:ext uri="{FF2B5EF4-FFF2-40B4-BE49-F238E27FC236}">
                      <a16:creationId xmlns:a16="http://schemas.microsoft.com/office/drawing/2014/main" id="{7060B21F-65AB-29F5-25AB-BD80A0E91B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2560" y="3027354"/>
                  <a:ext cx="755651" cy="646111"/>
                </a:xfrm>
                <a:custGeom>
                  <a:avLst/>
                  <a:gdLst>
                    <a:gd name="T0" fmla="*/ 448 w 476"/>
                    <a:gd name="T1" fmla="*/ 26 h 407"/>
                    <a:gd name="T2" fmla="*/ 420 w 476"/>
                    <a:gd name="T3" fmla="*/ 14 h 407"/>
                    <a:gd name="T4" fmla="*/ 407 w 476"/>
                    <a:gd name="T5" fmla="*/ 19 h 407"/>
                    <a:gd name="T6" fmla="*/ 391 w 476"/>
                    <a:gd name="T7" fmla="*/ 28 h 407"/>
                    <a:gd name="T8" fmla="*/ 372 w 476"/>
                    <a:gd name="T9" fmla="*/ 32 h 407"/>
                    <a:gd name="T10" fmla="*/ 329 w 476"/>
                    <a:gd name="T11" fmla="*/ 23 h 407"/>
                    <a:gd name="T12" fmla="*/ 289 w 476"/>
                    <a:gd name="T13" fmla="*/ 28 h 407"/>
                    <a:gd name="T14" fmla="*/ 262 w 476"/>
                    <a:gd name="T15" fmla="*/ 48 h 407"/>
                    <a:gd name="T16" fmla="*/ 223 w 476"/>
                    <a:gd name="T17" fmla="*/ 34 h 407"/>
                    <a:gd name="T18" fmla="*/ 207 w 476"/>
                    <a:gd name="T19" fmla="*/ 21 h 407"/>
                    <a:gd name="T20" fmla="*/ 186 w 476"/>
                    <a:gd name="T21" fmla="*/ 25 h 407"/>
                    <a:gd name="T22" fmla="*/ 170 w 476"/>
                    <a:gd name="T23" fmla="*/ 34 h 407"/>
                    <a:gd name="T24" fmla="*/ 149 w 476"/>
                    <a:gd name="T25" fmla="*/ 18 h 407"/>
                    <a:gd name="T26" fmla="*/ 126 w 476"/>
                    <a:gd name="T27" fmla="*/ 7 h 407"/>
                    <a:gd name="T28" fmla="*/ 104 w 476"/>
                    <a:gd name="T29" fmla="*/ 0 h 407"/>
                    <a:gd name="T30" fmla="*/ 81 w 476"/>
                    <a:gd name="T31" fmla="*/ 3 h 407"/>
                    <a:gd name="T32" fmla="*/ 64 w 476"/>
                    <a:gd name="T33" fmla="*/ 5 h 407"/>
                    <a:gd name="T34" fmla="*/ 46 w 476"/>
                    <a:gd name="T35" fmla="*/ 18 h 407"/>
                    <a:gd name="T36" fmla="*/ 46 w 476"/>
                    <a:gd name="T37" fmla="*/ 26 h 407"/>
                    <a:gd name="T38" fmla="*/ 50 w 476"/>
                    <a:gd name="T39" fmla="*/ 41 h 407"/>
                    <a:gd name="T40" fmla="*/ 34 w 476"/>
                    <a:gd name="T41" fmla="*/ 57 h 407"/>
                    <a:gd name="T42" fmla="*/ 37 w 476"/>
                    <a:gd name="T43" fmla="*/ 76 h 407"/>
                    <a:gd name="T44" fmla="*/ 35 w 476"/>
                    <a:gd name="T45" fmla="*/ 87 h 407"/>
                    <a:gd name="T46" fmla="*/ 46 w 476"/>
                    <a:gd name="T47" fmla="*/ 111 h 407"/>
                    <a:gd name="T48" fmla="*/ 50 w 476"/>
                    <a:gd name="T49" fmla="*/ 142 h 407"/>
                    <a:gd name="T50" fmla="*/ 37 w 476"/>
                    <a:gd name="T51" fmla="*/ 150 h 407"/>
                    <a:gd name="T52" fmla="*/ 37 w 476"/>
                    <a:gd name="T53" fmla="*/ 163 h 407"/>
                    <a:gd name="T54" fmla="*/ 23 w 476"/>
                    <a:gd name="T55" fmla="*/ 184 h 407"/>
                    <a:gd name="T56" fmla="*/ 11 w 476"/>
                    <a:gd name="T57" fmla="*/ 197 h 407"/>
                    <a:gd name="T58" fmla="*/ 2 w 476"/>
                    <a:gd name="T59" fmla="*/ 211 h 407"/>
                    <a:gd name="T60" fmla="*/ 2 w 476"/>
                    <a:gd name="T61" fmla="*/ 228 h 407"/>
                    <a:gd name="T62" fmla="*/ 3 w 476"/>
                    <a:gd name="T63" fmla="*/ 243 h 407"/>
                    <a:gd name="T64" fmla="*/ 3 w 476"/>
                    <a:gd name="T65" fmla="*/ 271 h 407"/>
                    <a:gd name="T66" fmla="*/ 3 w 476"/>
                    <a:gd name="T67" fmla="*/ 305 h 407"/>
                    <a:gd name="T68" fmla="*/ 34 w 476"/>
                    <a:gd name="T69" fmla="*/ 310 h 407"/>
                    <a:gd name="T70" fmla="*/ 92 w 476"/>
                    <a:gd name="T71" fmla="*/ 363 h 407"/>
                    <a:gd name="T72" fmla="*/ 101 w 476"/>
                    <a:gd name="T73" fmla="*/ 393 h 407"/>
                    <a:gd name="T74" fmla="*/ 166 w 476"/>
                    <a:gd name="T75" fmla="*/ 406 h 407"/>
                    <a:gd name="T76" fmla="*/ 200 w 476"/>
                    <a:gd name="T77" fmla="*/ 395 h 407"/>
                    <a:gd name="T78" fmla="*/ 221 w 476"/>
                    <a:gd name="T79" fmla="*/ 384 h 407"/>
                    <a:gd name="T80" fmla="*/ 232 w 476"/>
                    <a:gd name="T81" fmla="*/ 391 h 407"/>
                    <a:gd name="T82" fmla="*/ 248 w 476"/>
                    <a:gd name="T83" fmla="*/ 363 h 407"/>
                    <a:gd name="T84" fmla="*/ 250 w 476"/>
                    <a:gd name="T85" fmla="*/ 342 h 407"/>
                    <a:gd name="T86" fmla="*/ 264 w 476"/>
                    <a:gd name="T87" fmla="*/ 324 h 407"/>
                    <a:gd name="T88" fmla="*/ 280 w 476"/>
                    <a:gd name="T89" fmla="*/ 303 h 407"/>
                    <a:gd name="T90" fmla="*/ 294 w 476"/>
                    <a:gd name="T91" fmla="*/ 292 h 407"/>
                    <a:gd name="T92" fmla="*/ 312 w 476"/>
                    <a:gd name="T93" fmla="*/ 297 h 407"/>
                    <a:gd name="T94" fmla="*/ 331 w 476"/>
                    <a:gd name="T95" fmla="*/ 315 h 407"/>
                    <a:gd name="T96" fmla="*/ 351 w 476"/>
                    <a:gd name="T97" fmla="*/ 303 h 407"/>
                    <a:gd name="T98" fmla="*/ 360 w 476"/>
                    <a:gd name="T99" fmla="*/ 292 h 407"/>
                    <a:gd name="T100" fmla="*/ 367 w 476"/>
                    <a:gd name="T101" fmla="*/ 269 h 407"/>
                    <a:gd name="T102" fmla="*/ 379 w 476"/>
                    <a:gd name="T103" fmla="*/ 243 h 407"/>
                    <a:gd name="T104" fmla="*/ 402 w 476"/>
                    <a:gd name="T105" fmla="*/ 220 h 407"/>
                    <a:gd name="T106" fmla="*/ 406 w 476"/>
                    <a:gd name="T107" fmla="*/ 193 h 407"/>
                    <a:gd name="T108" fmla="*/ 430 w 476"/>
                    <a:gd name="T109" fmla="*/ 175 h 407"/>
                    <a:gd name="T110" fmla="*/ 430 w 476"/>
                    <a:gd name="T111" fmla="*/ 149 h 407"/>
                    <a:gd name="T112" fmla="*/ 446 w 476"/>
                    <a:gd name="T113" fmla="*/ 122 h 407"/>
                    <a:gd name="T114" fmla="*/ 461 w 476"/>
                    <a:gd name="T115" fmla="*/ 113 h 407"/>
                    <a:gd name="T116" fmla="*/ 476 w 476"/>
                    <a:gd name="T117" fmla="*/ 97 h 407"/>
                    <a:gd name="T118" fmla="*/ 469 w 476"/>
                    <a:gd name="T119" fmla="*/ 74 h 407"/>
                    <a:gd name="T120" fmla="*/ 459 w 476"/>
                    <a:gd name="T121" fmla="*/ 53 h 407"/>
                    <a:gd name="T122" fmla="*/ 453 w 476"/>
                    <a:gd name="T123" fmla="*/ 37 h 4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76" h="407">
                      <a:moveTo>
                        <a:pt x="453" y="37"/>
                      </a:moveTo>
                      <a:lnTo>
                        <a:pt x="453" y="35"/>
                      </a:lnTo>
                      <a:lnTo>
                        <a:pt x="448" y="26"/>
                      </a:lnTo>
                      <a:lnTo>
                        <a:pt x="438" y="12"/>
                      </a:lnTo>
                      <a:lnTo>
                        <a:pt x="423" y="7"/>
                      </a:lnTo>
                      <a:lnTo>
                        <a:pt x="420" y="14"/>
                      </a:lnTo>
                      <a:lnTo>
                        <a:pt x="418" y="19"/>
                      </a:lnTo>
                      <a:lnTo>
                        <a:pt x="414" y="21"/>
                      </a:lnTo>
                      <a:lnTo>
                        <a:pt x="407" y="19"/>
                      </a:lnTo>
                      <a:lnTo>
                        <a:pt x="402" y="21"/>
                      </a:lnTo>
                      <a:lnTo>
                        <a:pt x="400" y="25"/>
                      </a:lnTo>
                      <a:lnTo>
                        <a:pt x="391" y="28"/>
                      </a:lnTo>
                      <a:lnTo>
                        <a:pt x="386" y="37"/>
                      </a:lnTo>
                      <a:lnTo>
                        <a:pt x="381" y="37"/>
                      </a:lnTo>
                      <a:lnTo>
                        <a:pt x="372" y="32"/>
                      </a:lnTo>
                      <a:lnTo>
                        <a:pt x="361" y="32"/>
                      </a:lnTo>
                      <a:lnTo>
                        <a:pt x="347" y="25"/>
                      </a:lnTo>
                      <a:lnTo>
                        <a:pt x="329" y="23"/>
                      </a:lnTo>
                      <a:lnTo>
                        <a:pt x="321" y="26"/>
                      </a:lnTo>
                      <a:lnTo>
                        <a:pt x="298" y="26"/>
                      </a:lnTo>
                      <a:lnTo>
                        <a:pt x="289" y="28"/>
                      </a:lnTo>
                      <a:lnTo>
                        <a:pt x="280" y="42"/>
                      </a:lnTo>
                      <a:lnTo>
                        <a:pt x="269" y="49"/>
                      </a:lnTo>
                      <a:lnTo>
                        <a:pt x="262" y="48"/>
                      </a:lnTo>
                      <a:lnTo>
                        <a:pt x="244" y="42"/>
                      </a:lnTo>
                      <a:lnTo>
                        <a:pt x="236" y="41"/>
                      </a:lnTo>
                      <a:lnTo>
                        <a:pt x="223" y="34"/>
                      </a:lnTo>
                      <a:lnTo>
                        <a:pt x="214" y="30"/>
                      </a:lnTo>
                      <a:lnTo>
                        <a:pt x="214" y="26"/>
                      </a:lnTo>
                      <a:lnTo>
                        <a:pt x="207" y="21"/>
                      </a:lnTo>
                      <a:lnTo>
                        <a:pt x="200" y="21"/>
                      </a:lnTo>
                      <a:lnTo>
                        <a:pt x="198" y="23"/>
                      </a:lnTo>
                      <a:lnTo>
                        <a:pt x="186" y="25"/>
                      </a:lnTo>
                      <a:lnTo>
                        <a:pt x="181" y="28"/>
                      </a:lnTo>
                      <a:lnTo>
                        <a:pt x="175" y="28"/>
                      </a:lnTo>
                      <a:lnTo>
                        <a:pt x="170" y="34"/>
                      </a:lnTo>
                      <a:lnTo>
                        <a:pt x="166" y="35"/>
                      </a:lnTo>
                      <a:lnTo>
                        <a:pt x="158" y="30"/>
                      </a:lnTo>
                      <a:lnTo>
                        <a:pt x="149" y="18"/>
                      </a:lnTo>
                      <a:lnTo>
                        <a:pt x="145" y="12"/>
                      </a:lnTo>
                      <a:lnTo>
                        <a:pt x="133" y="9"/>
                      </a:lnTo>
                      <a:lnTo>
                        <a:pt x="126" y="7"/>
                      </a:lnTo>
                      <a:lnTo>
                        <a:pt x="120" y="3"/>
                      </a:lnTo>
                      <a:lnTo>
                        <a:pt x="110" y="2"/>
                      </a:lnTo>
                      <a:lnTo>
                        <a:pt x="104" y="0"/>
                      </a:lnTo>
                      <a:lnTo>
                        <a:pt x="97" y="2"/>
                      </a:lnTo>
                      <a:lnTo>
                        <a:pt x="94" y="3"/>
                      </a:lnTo>
                      <a:lnTo>
                        <a:pt x="81" y="3"/>
                      </a:lnTo>
                      <a:lnTo>
                        <a:pt x="78" y="3"/>
                      </a:lnTo>
                      <a:lnTo>
                        <a:pt x="73" y="3"/>
                      </a:lnTo>
                      <a:lnTo>
                        <a:pt x="64" y="5"/>
                      </a:lnTo>
                      <a:lnTo>
                        <a:pt x="60" y="7"/>
                      </a:lnTo>
                      <a:lnTo>
                        <a:pt x="57" y="9"/>
                      </a:lnTo>
                      <a:lnTo>
                        <a:pt x="46" y="18"/>
                      </a:lnTo>
                      <a:lnTo>
                        <a:pt x="46" y="21"/>
                      </a:lnTo>
                      <a:lnTo>
                        <a:pt x="48" y="25"/>
                      </a:lnTo>
                      <a:lnTo>
                        <a:pt x="46" y="26"/>
                      </a:lnTo>
                      <a:lnTo>
                        <a:pt x="44" y="30"/>
                      </a:lnTo>
                      <a:lnTo>
                        <a:pt x="46" y="37"/>
                      </a:lnTo>
                      <a:lnTo>
                        <a:pt x="50" y="41"/>
                      </a:lnTo>
                      <a:lnTo>
                        <a:pt x="50" y="48"/>
                      </a:lnTo>
                      <a:lnTo>
                        <a:pt x="42" y="48"/>
                      </a:lnTo>
                      <a:lnTo>
                        <a:pt x="34" y="57"/>
                      </a:lnTo>
                      <a:lnTo>
                        <a:pt x="35" y="60"/>
                      </a:lnTo>
                      <a:lnTo>
                        <a:pt x="32" y="65"/>
                      </a:lnTo>
                      <a:lnTo>
                        <a:pt x="37" y="76"/>
                      </a:lnTo>
                      <a:lnTo>
                        <a:pt x="42" y="76"/>
                      </a:lnTo>
                      <a:lnTo>
                        <a:pt x="42" y="81"/>
                      </a:lnTo>
                      <a:lnTo>
                        <a:pt x="35" y="87"/>
                      </a:lnTo>
                      <a:lnTo>
                        <a:pt x="34" y="96"/>
                      </a:lnTo>
                      <a:lnTo>
                        <a:pt x="35" y="103"/>
                      </a:lnTo>
                      <a:lnTo>
                        <a:pt x="46" y="111"/>
                      </a:lnTo>
                      <a:lnTo>
                        <a:pt x="46" y="122"/>
                      </a:lnTo>
                      <a:lnTo>
                        <a:pt x="51" y="136"/>
                      </a:lnTo>
                      <a:lnTo>
                        <a:pt x="50" y="142"/>
                      </a:lnTo>
                      <a:lnTo>
                        <a:pt x="41" y="142"/>
                      </a:lnTo>
                      <a:lnTo>
                        <a:pt x="37" y="147"/>
                      </a:lnTo>
                      <a:lnTo>
                        <a:pt x="37" y="150"/>
                      </a:lnTo>
                      <a:lnTo>
                        <a:pt x="46" y="159"/>
                      </a:lnTo>
                      <a:lnTo>
                        <a:pt x="42" y="165"/>
                      </a:lnTo>
                      <a:lnTo>
                        <a:pt x="37" y="163"/>
                      </a:lnTo>
                      <a:lnTo>
                        <a:pt x="32" y="168"/>
                      </a:lnTo>
                      <a:lnTo>
                        <a:pt x="30" y="175"/>
                      </a:lnTo>
                      <a:lnTo>
                        <a:pt x="23" y="184"/>
                      </a:lnTo>
                      <a:lnTo>
                        <a:pt x="19" y="193"/>
                      </a:lnTo>
                      <a:lnTo>
                        <a:pt x="16" y="195"/>
                      </a:lnTo>
                      <a:lnTo>
                        <a:pt x="11" y="197"/>
                      </a:lnTo>
                      <a:lnTo>
                        <a:pt x="5" y="198"/>
                      </a:lnTo>
                      <a:lnTo>
                        <a:pt x="2" y="204"/>
                      </a:lnTo>
                      <a:lnTo>
                        <a:pt x="2" y="211"/>
                      </a:lnTo>
                      <a:lnTo>
                        <a:pt x="2" y="218"/>
                      </a:lnTo>
                      <a:lnTo>
                        <a:pt x="0" y="227"/>
                      </a:lnTo>
                      <a:lnTo>
                        <a:pt x="2" y="228"/>
                      </a:lnTo>
                      <a:lnTo>
                        <a:pt x="2" y="235"/>
                      </a:lnTo>
                      <a:lnTo>
                        <a:pt x="2" y="239"/>
                      </a:lnTo>
                      <a:lnTo>
                        <a:pt x="3" y="243"/>
                      </a:lnTo>
                      <a:lnTo>
                        <a:pt x="3" y="246"/>
                      </a:lnTo>
                      <a:lnTo>
                        <a:pt x="2" y="253"/>
                      </a:lnTo>
                      <a:lnTo>
                        <a:pt x="3" y="271"/>
                      </a:lnTo>
                      <a:lnTo>
                        <a:pt x="3" y="276"/>
                      </a:lnTo>
                      <a:lnTo>
                        <a:pt x="5" y="283"/>
                      </a:lnTo>
                      <a:lnTo>
                        <a:pt x="3" y="305"/>
                      </a:lnTo>
                      <a:lnTo>
                        <a:pt x="3" y="313"/>
                      </a:lnTo>
                      <a:lnTo>
                        <a:pt x="21" y="315"/>
                      </a:lnTo>
                      <a:lnTo>
                        <a:pt x="34" y="310"/>
                      </a:lnTo>
                      <a:lnTo>
                        <a:pt x="64" y="326"/>
                      </a:lnTo>
                      <a:lnTo>
                        <a:pt x="81" y="344"/>
                      </a:lnTo>
                      <a:lnTo>
                        <a:pt x="92" y="363"/>
                      </a:lnTo>
                      <a:lnTo>
                        <a:pt x="90" y="377"/>
                      </a:lnTo>
                      <a:lnTo>
                        <a:pt x="97" y="379"/>
                      </a:lnTo>
                      <a:lnTo>
                        <a:pt x="101" y="393"/>
                      </a:lnTo>
                      <a:lnTo>
                        <a:pt x="112" y="404"/>
                      </a:lnTo>
                      <a:lnTo>
                        <a:pt x="127" y="407"/>
                      </a:lnTo>
                      <a:lnTo>
                        <a:pt x="166" y="406"/>
                      </a:lnTo>
                      <a:lnTo>
                        <a:pt x="175" y="400"/>
                      </a:lnTo>
                      <a:lnTo>
                        <a:pt x="181" y="402"/>
                      </a:lnTo>
                      <a:lnTo>
                        <a:pt x="200" y="395"/>
                      </a:lnTo>
                      <a:lnTo>
                        <a:pt x="207" y="398"/>
                      </a:lnTo>
                      <a:lnTo>
                        <a:pt x="218" y="397"/>
                      </a:lnTo>
                      <a:lnTo>
                        <a:pt x="221" y="384"/>
                      </a:lnTo>
                      <a:lnTo>
                        <a:pt x="228" y="393"/>
                      </a:lnTo>
                      <a:lnTo>
                        <a:pt x="232" y="391"/>
                      </a:lnTo>
                      <a:lnTo>
                        <a:pt x="232" y="391"/>
                      </a:lnTo>
                      <a:lnTo>
                        <a:pt x="232" y="386"/>
                      </a:lnTo>
                      <a:lnTo>
                        <a:pt x="243" y="374"/>
                      </a:lnTo>
                      <a:lnTo>
                        <a:pt x="248" y="363"/>
                      </a:lnTo>
                      <a:lnTo>
                        <a:pt x="246" y="352"/>
                      </a:lnTo>
                      <a:lnTo>
                        <a:pt x="246" y="344"/>
                      </a:lnTo>
                      <a:lnTo>
                        <a:pt x="250" y="342"/>
                      </a:lnTo>
                      <a:lnTo>
                        <a:pt x="250" y="335"/>
                      </a:lnTo>
                      <a:lnTo>
                        <a:pt x="257" y="329"/>
                      </a:lnTo>
                      <a:lnTo>
                        <a:pt x="264" y="324"/>
                      </a:lnTo>
                      <a:lnTo>
                        <a:pt x="267" y="321"/>
                      </a:lnTo>
                      <a:lnTo>
                        <a:pt x="280" y="310"/>
                      </a:lnTo>
                      <a:lnTo>
                        <a:pt x="280" y="303"/>
                      </a:lnTo>
                      <a:lnTo>
                        <a:pt x="282" y="297"/>
                      </a:lnTo>
                      <a:lnTo>
                        <a:pt x="290" y="297"/>
                      </a:lnTo>
                      <a:lnTo>
                        <a:pt x="294" y="292"/>
                      </a:lnTo>
                      <a:lnTo>
                        <a:pt x="296" y="294"/>
                      </a:lnTo>
                      <a:lnTo>
                        <a:pt x="308" y="297"/>
                      </a:lnTo>
                      <a:lnTo>
                        <a:pt x="312" y="297"/>
                      </a:lnTo>
                      <a:lnTo>
                        <a:pt x="321" y="301"/>
                      </a:lnTo>
                      <a:lnTo>
                        <a:pt x="324" y="310"/>
                      </a:lnTo>
                      <a:lnTo>
                        <a:pt x="331" y="315"/>
                      </a:lnTo>
                      <a:lnTo>
                        <a:pt x="337" y="317"/>
                      </a:lnTo>
                      <a:lnTo>
                        <a:pt x="345" y="312"/>
                      </a:lnTo>
                      <a:lnTo>
                        <a:pt x="351" y="303"/>
                      </a:lnTo>
                      <a:lnTo>
                        <a:pt x="351" y="299"/>
                      </a:lnTo>
                      <a:lnTo>
                        <a:pt x="354" y="294"/>
                      </a:lnTo>
                      <a:lnTo>
                        <a:pt x="360" y="292"/>
                      </a:lnTo>
                      <a:lnTo>
                        <a:pt x="365" y="285"/>
                      </a:lnTo>
                      <a:lnTo>
                        <a:pt x="365" y="278"/>
                      </a:lnTo>
                      <a:lnTo>
                        <a:pt x="367" y="269"/>
                      </a:lnTo>
                      <a:lnTo>
                        <a:pt x="381" y="257"/>
                      </a:lnTo>
                      <a:lnTo>
                        <a:pt x="383" y="250"/>
                      </a:lnTo>
                      <a:lnTo>
                        <a:pt x="379" y="243"/>
                      </a:lnTo>
                      <a:lnTo>
                        <a:pt x="384" y="237"/>
                      </a:lnTo>
                      <a:lnTo>
                        <a:pt x="395" y="225"/>
                      </a:lnTo>
                      <a:lnTo>
                        <a:pt x="402" y="220"/>
                      </a:lnTo>
                      <a:lnTo>
                        <a:pt x="404" y="211"/>
                      </a:lnTo>
                      <a:lnTo>
                        <a:pt x="407" y="205"/>
                      </a:lnTo>
                      <a:lnTo>
                        <a:pt x="406" y="193"/>
                      </a:lnTo>
                      <a:lnTo>
                        <a:pt x="411" y="188"/>
                      </a:lnTo>
                      <a:lnTo>
                        <a:pt x="422" y="184"/>
                      </a:lnTo>
                      <a:lnTo>
                        <a:pt x="430" y="175"/>
                      </a:lnTo>
                      <a:lnTo>
                        <a:pt x="430" y="165"/>
                      </a:lnTo>
                      <a:lnTo>
                        <a:pt x="430" y="154"/>
                      </a:lnTo>
                      <a:lnTo>
                        <a:pt x="430" y="149"/>
                      </a:lnTo>
                      <a:lnTo>
                        <a:pt x="434" y="140"/>
                      </a:lnTo>
                      <a:lnTo>
                        <a:pt x="441" y="126"/>
                      </a:lnTo>
                      <a:lnTo>
                        <a:pt x="446" y="122"/>
                      </a:lnTo>
                      <a:lnTo>
                        <a:pt x="446" y="119"/>
                      </a:lnTo>
                      <a:lnTo>
                        <a:pt x="455" y="113"/>
                      </a:lnTo>
                      <a:lnTo>
                        <a:pt x="461" y="113"/>
                      </a:lnTo>
                      <a:lnTo>
                        <a:pt x="466" y="106"/>
                      </a:lnTo>
                      <a:lnTo>
                        <a:pt x="475" y="103"/>
                      </a:lnTo>
                      <a:lnTo>
                        <a:pt x="476" y="97"/>
                      </a:lnTo>
                      <a:lnTo>
                        <a:pt x="473" y="87"/>
                      </a:lnTo>
                      <a:lnTo>
                        <a:pt x="473" y="81"/>
                      </a:lnTo>
                      <a:lnTo>
                        <a:pt x="469" y="74"/>
                      </a:lnTo>
                      <a:lnTo>
                        <a:pt x="462" y="73"/>
                      </a:lnTo>
                      <a:lnTo>
                        <a:pt x="459" y="65"/>
                      </a:lnTo>
                      <a:lnTo>
                        <a:pt x="459" y="53"/>
                      </a:lnTo>
                      <a:lnTo>
                        <a:pt x="457" y="46"/>
                      </a:lnTo>
                      <a:lnTo>
                        <a:pt x="453" y="37"/>
                      </a:lnTo>
                      <a:lnTo>
                        <a:pt x="453" y="3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1" name="Freeform 35">
                  <a:extLst>
                    <a:ext uri="{FF2B5EF4-FFF2-40B4-BE49-F238E27FC236}">
                      <a16:creationId xmlns:a16="http://schemas.microsoft.com/office/drawing/2014/main" id="{F85A0795-D001-453F-4015-D6D417AFB7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1813" y="3695692"/>
                  <a:ext cx="33338" cy="50800"/>
                </a:xfrm>
                <a:custGeom>
                  <a:avLst/>
                  <a:gdLst>
                    <a:gd name="T0" fmla="*/ 0 w 21"/>
                    <a:gd name="T1" fmla="*/ 27 h 32"/>
                    <a:gd name="T2" fmla="*/ 1 w 21"/>
                    <a:gd name="T3" fmla="*/ 20 h 32"/>
                    <a:gd name="T4" fmla="*/ 7 w 21"/>
                    <a:gd name="T5" fmla="*/ 20 h 32"/>
                    <a:gd name="T6" fmla="*/ 8 w 21"/>
                    <a:gd name="T7" fmla="*/ 11 h 32"/>
                    <a:gd name="T8" fmla="*/ 17 w 21"/>
                    <a:gd name="T9" fmla="*/ 0 h 32"/>
                    <a:gd name="T10" fmla="*/ 21 w 21"/>
                    <a:gd name="T11" fmla="*/ 4 h 32"/>
                    <a:gd name="T12" fmla="*/ 21 w 21"/>
                    <a:gd name="T13" fmla="*/ 16 h 32"/>
                    <a:gd name="T14" fmla="*/ 16 w 21"/>
                    <a:gd name="T15" fmla="*/ 32 h 32"/>
                    <a:gd name="T16" fmla="*/ 8 w 21"/>
                    <a:gd name="T17" fmla="*/ 31 h 32"/>
                    <a:gd name="T18" fmla="*/ 0 w 21"/>
                    <a:gd name="T19" fmla="*/ 27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32">
                      <a:moveTo>
                        <a:pt x="0" y="27"/>
                      </a:moveTo>
                      <a:lnTo>
                        <a:pt x="1" y="20"/>
                      </a:lnTo>
                      <a:lnTo>
                        <a:pt x="7" y="20"/>
                      </a:lnTo>
                      <a:lnTo>
                        <a:pt x="8" y="11"/>
                      </a:lnTo>
                      <a:lnTo>
                        <a:pt x="17" y="0"/>
                      </a:lnTo>
                      <a:lnTo>
                        <a:pt x="21" y="4"/>
                      </a:lnTo>
                      <a:lnTo>
                        <a:pt x="21" y="16"/>
                      </a:lnTo>
                      <a:lnTo>
                        <a:pt x="16" y="32"/>
                      </a:lnTo>
                      <a:lnTo>
                        <a:pt x="8" y="31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2" name="Freeform 36">
                  <a:extLst>
                    <a:ext uri="{FF2B5EF4-FFF2-40B4-BE49-F238E27FC236}">
                      <a16:creationId xmlns:a16="http://schemas.microsoft.com/office/drawing/2014/main" id="{952D1B80-3E13-4E98-B79C-732B06B52D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0860" y="3086092"/>
                  <a:ext cx="500064" cy="750886"/>
                </a:xfrm>
                <a:custGeom>
                  <a:avLst/>
                  <a:gdLst>
                    <a:gd name="T0" fmla="*/ 11 w 315"/>
                    <a:gd name="T1" fmla="*/ 337 h 473"/>
                    <a:gd name="T2" fmla="*/ 14 w 315"/>
                    <a:gd name="T3" fmla="*/ 307 h 473"/>
                    <a:gd name="T4" fmla="*/ 25 w 315"/>
                    <a:gd name="T5" fmla="*/ 292 h 473"/>
                    <a:gd name="T6" fmla="*/ 48 w 315"/>
                    <a:gd name="T7" fmla="*/ 273 h 473"/>
                    <a:gd name="T8" fmla="*/ 58 w 315"/>
                    <a:gd name="T9" fmla="*/ 260 h 473"/>
                    <a:gd name="T10" fmla="*/ 76 w 315"/>
                    <a:gd name="T11" fmla="*/ 260 h 473"/>
                    <a:gd name="T12" fmla="*/ 92 w 315"/>
                    <a:gd name="T13" fmla="*/ 273 h 473"/>
                    <a:gd name="T14" fmla="*/ 113 w 315"/>
                    <a:gd name="T15" fmla="*/ 275 h 473"/>
                    <a:gd name="T16" fmla="*/ 122 w 315"/>
                    <a:gd name="T17" fmla="*/ 257 h 473"/>
                    <a:gd name="T18" fmla="*/ 133 w 315"/>
                    <a:gd name="T19" fmla="*/ 241 h 473"/>
                    <a:gd name="T20" fmla="*/ 151 w 315"/>
                    <a:gd name="T21" fmla="*/ 213 h 473"/>
                    <a:gd name="T22" fmla="*/ 163 w 315"/>
                    <a:gd name="T23" fmla="*/ 188 h 473"/>
                    <a:gd name="T24" fmla="*/ 175 w 315"/>
                    <a:gd name="T25" fmla="*/ 168 h 473"/>
                    <a:gd name="T26" fmla="*/ 190 w 315"/>
                    <a:gd name="T27" fmla="*/ 147 h 473"/>
                    <a:gd name="T28" fmla="*/ 198 w 315"/>
                    <a:gd name="T29" fmla="*/ 117 h 473"/>
                    <a:gd name="T30" fmla="*/ 209 w 315"/>
                    <a:gd name="T31" fmla="*/ 89 h 473"/>
                    <a:gd name="T32" fmla="*/ 223 w 315"/>
                    <a:gd name="T33" fmla="*/ 76 h 473"/>
                    <a:gd name="T34" fmla="*/ 243 w 315"/>
                    <a:gd name="T35" fmla="*/ 66 h 473"/>
                    <a:gd name="T36" fmla="*/ 241 w 315"/>
                    <a:gd name="T37" fmla="*/ 44 h 473"/>
                    <a:gd name="T38" fmla="*/ 227 w 315"/>
                    <a:gd name="T39" fmla="*/ 28 h 473"/>
                    <a:gd name="T40" fmla="*/ 221 w 315"/>
                    <a:gd name="T41" fmla="*/ 0 h 473"/>
                    <a:gd name="T42" fmla="*/ 253 w 315"/>
                    <a:gd name="T43" fmla="*/ 30 h 473"/>
                    <a:gd name="T44" fmla="*/ 264 w 315"/>
                    <a:gd name="T45" fmla="*/ 53 h 473"/>
                    <a:gd name="T46" fmla="*/ 262 w 315"/>
                    <a:gd name="T47" fmla="*/ 66 h 473"/>
                    <a:gd name="T48" fmla="*/ 259 w 315"/>
                    <a:gd name="T49" fmla="*/ 87 h 473"/>
                    <a:gd name="T50" fmla="*/ 273 w 315"/>
                    <a:gd name="T51" fmla="*/ 110 h 473"/>
                    <a:gd name="T52" fmla="*/ 289 w 315"/>
                    <a:gd name="T53" fmla="*/ 129 h 473"/>
                    <a:gd name="T54" fmla="*/ 275 w 315"/>
                    <a:gd name="T55" fmla="*/ 128 h 473"/>
                    <a:gd name="T56" fmla="*/ 253 w 315"/>
                    <a:gd name="T57" fmla="*/ 128 h 473"/>
                    <a:gd name="T58" fmla="*/ 236 w 315"/>
                    <a:gd name="T59" fmla="*/ 128 h 473"/>
                    <a:gd name="T60" fmla="*/ 227 w 315"/>
                    <a:gd name="T61" fmla="*/ 138 h 473"/>
                    <a:gd name="T62" fmla="*/ 232 w 315"/>
                    <a:gd name="T63" fmla="*/ 152 h 473"/>
                    <a:gd name="T64" fmla="*/ 255 w 315"/>
                    <a:gd name="T65" fmla="*/ 174 h 473"/>
                    <a:gd name="T66" fmla="*/ 283 w 315"/>
                    <a:gd name="T67" fmla="*/ 206 h 473"/>
                    <a:gd name="T68" fmla="*/ 283 w 315"/>
                    <a:gd name="T69" fmla="*/ 237 h 473"/>
                    <a:gd name="T70" fmla="*/ 266 w 315"/>
                    <a:gd name="T71" fmla="*/ 262 h 473"/>
                    <a:gd name="T72" fmla="*/ 248 w 315"/>
                    <a:gd name="T73" fmla="*/ 285 h 473"/>
                    <a:gd name="T74" fmla="*/ 248 w 315"/>
                    <a:gd name="T75" fmla="*/ 310 h 473"/>
                    <a:gd name="T76" fmla="*/ 252 w 315"/>
                    <a:gd name="T77" fmla="*/ 340 h 473"/>
                    <a:gd name="T78" fmla="*/ 268 w 315"/>
                    <a:gd name="T79" fmla="*/ 367 h 473"/>
                    <a:gd name="T80" fmla="*/ 287 w 315"/>
                    <a:gd name="T81" fmla="*/ 399 h 473"/>
                    <a:gd name="T82" fmla="*/ 310 w 315"/>
                    <a:gd name="T83" fmla="*/ 425 h 473"/>
                    <a:gd name="T84" fmla="*/ 314 w 315"/>
                    <a:gd name="T85" fmla="*/ 443 h 473"/>
                    <a:gd name="T86" fmla="*/ 312 w 315"/>
                    <a:gd name="T87" fmla="*/ 452 h 473"/>
                    <a:gd name="T88" fmla="*/ 308 w 315"/>
                    <a:gd name="T89" fmla="*/ 468 h 473"/>
                    <a:gd name="T90" fmla="*/ 301 w 315"/>
                    <a:gd name="T91" fmla="*/ 471 h 473"/>
                    <a:gd name="T92" fmla="*/ 292 w 315"/>
                    <a:gd name="T93" fmla="*/ 470 h 473"/>
                    <a:gd name="T94" fmla="*/ 273 w 315"/>
                    <a:gd name="T95" fmla="*/ 466 h 473"/>
                    <a:gd name="T96" fmla="*/ 264 w 315"/>
                    <a:gd name="T97" fmla="*/ 468 h 473"/>
                    <a:gd name="T98" fmla="*/ 253 w 315"/>
                    <a:gd name="T99" fmla="*/ 464 h 473"/>
                    <a:gd name="T100" fmla="*/ 243 w 315"/>
                    <a:gd name="T101" fmla="*/ 462 h 473"/>
                    <a:gd name="T102" fmla="*/ 182 w 315"/>
                    <a:gd name="T103" fmla="*/ 455 h 473"/>
                    <a:gd name="T104" fmla="*/ 167 w 315"/>
                    <a:gd name="T105" fmla="*/ 457 h 473"/>
                    <a:gd name="T106" fmla="*/ 154 w 315"/>
                    <a:gd name="T107" fmla="*/ 455 h 473"/>
                    <a:gd name="T108" fmla="*/ 133 w 315"/>
                    <a:gd name="T109" fmla="*/ 455 h 473"/>
                    <a:gd name="T110" fmla="*/ 113 w 315"/>
                    <a:gd name="T111" fmla="*/ 457 h 473"/>
                    <a:gd name="T112" fmla="*/ 108 w 315"/>
                    <a:gd name="T113" fmla="*/ 459 h 473"/>
                    <a:gd name="T114" fmla="*/ 51 w 315"/>
                    <a:gd name="T115" fmla="*/ 459 h 473"/>
                    <a:gd name="T116" fmla="*/ 48 w 315"/>
                    <a:gd name="T117" fmla="*/ 446 h 473"/>
                    <a:gd name="T118" fmla="*/ 44 w 315"/>
                    <a:gd name="T119" fmla="*/ 406 h 473"/>
                    <a:gd name="T120" fmla="*/ 41 w 315"/>
                    <a:gd name="T121" fmla="*/ 379 h 473"/>
                    <a:gd name="T122" fmla="*/ 18 w 315"/>
                    <a:gd name="T123" fmla="*/ 379 h 473"/>
                    <a:gd name="T124" fmla="*/ 0 w 315"/>
                    <a:gd name="T125" fmla="*/ 354 h 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15" h="473">
                      <a:moveTo>
                        <a:pt x="0" y="354"/>
                      </a:moveTo>
                      <a:lnTo>
                        <a:pt x="0" y="349"/>
                      </a:lnTo>
                      <a:lnTo>
                        <a:pt x="11" y="337"/>
                      </a:lnTo>
                      <a:lnTo>
                        <a:pt x="16" y="326"/>
                      </a:lnTo>
                      <a:lnTo>
                        <a:pt x="14" y="315"/>
                      </a:lnTo>
                      <a:lnTo>
                        <a:pt x="14" y="307"/>
                      </a:lnTo>
                      <a:lnTo>
                        <a:pt x="18" y="305"/>
                      </a:lnTo>
                      <a:lnTo>
                        <a:pt x="18" y="298"/>
                      </a:lnTo>
                      <a:lnTo>
                        <a:pt x="25" y="292"/>
                      </a:lnTo>
                      <a:lnTo>
                        <a:pt x="32" y="287"/>
                      </a:lnTo>
                      <a:lnTo>
                        <a:pt x="35" y="284"/>
                      </a:lnTo>
                      <a:lnTo>
                        <a:pt x="48" y="273"/>
                      </a:lnTo>
                      <a:lnTo>
                        <a:pt x="48" y="266"/>
                      </a:lnTo>
                      <a:lnTo>
                        <a:pt x="50" y="260"/>
                      </a:lnTo>
                      <a:lnTo>
                        <a:pt x="58" y="260"/>
                      </a:lnTo>
                      <a:lnTo>
                        <a:pt x="62" y="255"/>
                      </a:lnTo>
                      <a:lnTo>
                        <a:pt x="64" y="257"/>
                      </a:lnTo>
                      <a:lnTo>
                        <a:pt x="76" y="260"/>
                      </a:lnTo>
                      <a:lnTo>
                        <a:pt x="80" y="260"/>
                      </a:lnTo>
                      <a:lnTo>
                        <a:pt x="89" y="264"/>
                      </a:lnTo>
                      <a:lnTo>
                        <a:pt x="92" y="273"/>
                      </a:lnTo>
                      <a:lnTo>
                        <a:pt x="99" y="278"/>
                      </a:lnTo>
                      <a:lnTo>
                        <a:pt x="105" y="280"/>
                      </a:lnTo>
                      <a:lnTo>
                        <a:pt x="113" y="275"/>
                      </a:lnTo>
                      <a:lnTo>
                        <a:pt x="119" y="266"/>
                      </a:lnTo>
                      <a:lnTo>
                        <a:pt x="119" y="262"/>
                      </a:lnTo>
                      <a:lnTo>
                        <a:pt x="122" y="257"/>
                      </a:lnTo>
                      <a:lnTo>
                        <a:pt x="128" y="255"/>
                      </a:lnTo>
                      <a:lnTo>
                        <a:pt x="133" y="248"/>
                      </a:lnTo>
                      <a:lnTo>
                        <a:pt x="133" y="241"/>
                      </a:lnTo>
                      <a:lnTo>
                        <a:pt x="135" y="232"/>
                      </a:lnTo>
                      <a:lnTo>
                        <a:pt x="149" y="220"/>
                      </a:lnTo>
                      <a:lnTo>
                        <a:pt x="151" y="213"/>
                      </a:lnTo>
                      <a:lnTo>
                        <a:pt x="147" y="206"/>
                      </a:lnTo>
                      <a:lnTo>
                        <a:pt x="152" y="200"/>
                      </a:lnTo>
                      <a:lnTo>
                        <a:pt x="163" y="188"/>
                      </a:lnTo>
                      <a:lnTo>
                        <a:pt x="170" y="183"/>
                      </a:lnTo>
                      <a:lnTo>
                        <a:pt x="172" y="174"/>
                      </a:lnTo>
                      <a:lnTo>
                        <a:pt x="175" y="168"/>
                      </a:lnTo>
                      <a:lnTo>
                        <a:pt x="174" y="156"/>
                      </a:lnTo>
                      <a:lnTo>
                        <a:pt x="179" y="151"/>
                      </a:lnTo>
                      <a:lnTo>
                        <a:pt x="190" y="147"/>
                      </a:lnTo>
                      <a:lnTo>
                        <a:pt x="198" y="138"/>
                      </a:lnTo>
                      <a:lnTo>
                        <a:pt x="198" y="128"/>
                      </a:lnTo>
                      <a:lnTo>
                        <a:pt x="198" y="117"/>
                      </a:lnTo>
                      <a:lnTo>
                        <a:pt x="198" y="112"/>
                      </a:lnTo>
                      <a:lnTo>
                        <a:pt x="202" y="103"/>
                      </a:lnTo>
                      <a:lnTo>
                        <a:pt x="209" y="89"/>
                      </a:lnTo>
                      <a:lnTo>
                        <a:pt x="214" y="85"/>
                      </a:lnTo>
                      <a:lnTo>
                        <a:pt x="214" y="82"/>
                      </a:lnTo>
                      <a:lnTo>
                        <a:pt x="223" y="76"/>
                      </a:lnTo>
                      <a:lnTo>
                        <a:pt x="229" y="76"/>
                      </a:lnTo>
                      <a:lnTo>
                        <a:pt x="234" y="69"/>
                      </a:lnTo>
                      <a:lnTo>
                        <a:pt x="243" y="66"/>
                      </a:lnTo>
                      <a:lnTo>
                        <a:pt x="244" y="60"/>
                      </a:lnTo>
                      <a:lnTo>
                        <a:pt x="241" y="50"/>
                      </a:lnTo>
                      <a:lnTo>
                        <a:pt x="241" y="44"/>
                      </a:lnTo>
                      <a:lnTo>
                        <a:pt x="237" y="37"/>
                      </a:lnTo>
                      <a:lnTo>
                        <a:pt x="230" y="36"/>
                      </a:lnTo>
                      <a:lnTo>
                        <a:pt x="227" y="28"/>
                      </a:lnTo>
                      <a:lnTo>
                        <a:pt x="227" y="16"/>
                      </a:lnTo>
                      <a:lnTo>
                        <a:pt x="225" y="9"/>
                      </a:lnTo>
                      <a:lnTo>
                        <a:pt x="221" y="0"/>
                      </a:lnTo>
                      <a:lnTo>
                        <a:pt x="243" y="9"/>
                      </a:lnTo>
                      <a:lnTo>
                        <a:pt x="252" y="18"/>
                      </a:lnTo>
                      <a:lnTo>
                        <a:pt x="253" y="30"/>
                      </a:lnTo>
                      <a:lnTo>
                        <a:pt x="257" y="34"/>
                      </a:lnTo>
                      <a:lnTo>
                        <a:pt x="259" y="41"/>
                      </a:lnTo>
                      <a:lnTo>
                        <a:pt x="264" y="53"/>
                      </a:lnTo>
                      <a:lnTo>
                        <a:pt x="264" y="59"/>
                      </a:lnTo>
                      <a:lnTo>
                        <a:pt x="262" y="62"/>
                      </a:lnTo>
                      <a:lnTo>
                        <a:pt x="262" y="66"/>
                      </a:lnTo>
                      <a:lnTo>
                        <a:pt x="266" y="71"/>
                      </a:lnTo>
                      <a:lnTo>
                        <a:pt x="262" y="83"/>
                      </a:lnTo>
                      <a:lnTo>
                        <a:pt x="259" y="87"/>
                      </a:lnTo>
                      <a:lnTo>
                        <a:pt x="259" y="96"/>
                      </a:lnTo>
                      <a:lnTo>
                        <a:pt x="266" y="106"/>
                      </a:lnTo>
                      <a:lnTo>
                        <a:pt x="273" y="110"/>
                      </a:lnTo>
                      <a:lnTo>
                        <a:pt x="275" y="119"/>
                      </a:lnTo>
                      <a:lnTo>
                        <a:pt x="285" y="128"/>
                      </a:lnTo>
                      <a:lnTo>
                        <a:pt x="289" y="129"/>
                      </a:lnTo>
                      <a:lnTo>
                        <a:pt x="285" y="131"/>
                      </a:lnTo>
                      <a:lnTo>
                        <a:pt x="278" y="131"/>
                      </a:lnTo>
                      <a:lnTo>
                        <a:pt x="275" y="128"/>
                      </a:lnTo>
                      <a:lnTo>
                        <a:pt x="266" y="128"/>
                      </a:lnTo>
                      <a:lnTo>
                        <a:pt x="260" y="128"/>
                      </a:lnTo>
                      <a:lnTo>
                        <a:pt x="253" y="128"/>
                      </a:lnTo>
                      <a:lnTo>
                        <a:pt x="246" y="128"/>
                      </a:lnTo>
                      <a:lnTo>
                        <a:pt x="243" y="128"/>
                      </a:lnTo>
                      <a:lnTo>
                        <a:pt x="236" y="128"/>
                      </a:lnTo>
                      <a:lnTo>
                        <a:pt x="229" y="128"/>
                      </a:lnTo>
                      <a:lnTo>
                        <a:pt x="229" y="135"/>
                      </a:lnTo>
                      <a:lnTo>
                        <a:pt x="227" y="138"/>
                      </a:lnTo>
                      <a:lnTo>
                        <a:pt x="227" y="145"/>
                      </a:lnTo>
                      <a:lnTo>
                        <a:pt x="227" y="151"/>
                      </a:lnTo>
                      <a:lnTo>
                        <a:pt x="232" y="152"/>
                      </a:lnTo>
                      <a:lnTo>
                        <a:pt x="234" y="158"/>
                      </a:lnTo>
                      <a:lnTo>
                        <a:pt x="239" y="161"/>
                      </a:lnTo>
                      <a:lnTo>
                        <a:pt x="255" y="174"/>
                      </a:lnTo>
                      <a:lnTo>
                        <a:pt x="269" y="190"/>
                      </a:lnTo>
                      <a:lnTo>
                        <a:pt x="276" y="195"/>
                      </a:lnTo>
                      <a:lnTo>
                        <a:pt x="283" y="206"/>
                      </a:lnTo>
                      <a:lnTo>
                        <a:pt x="291" y="216"/>
                      </a:lnTo>
                      <a:lnTo>
                        <a:pt x="291" y="227"/>
                      </a:lnTo>
                      <a:lnTo>
                        <a:pt x="283" y="237"/>
                      </a:lnTo>
                      <a:lnTo>
                        <a:pt x="276" y="239"/>
                      </a:lnTo>
                      <a:lnTo>
                        <a:pt x="273" y="248"/>
                      </a:lnTo>
                      <a:lnTo>
                        <a:pt x="266" y="262"/>
                      </a:lnTo>
                      <a:lnTo>
                        <a:pt x="260" y="273"/>
                      </a:lnTo>
                      <a:lnTo>
                        <a:pt x="253" y="284"/>
                      </a:lnTo>
                      <a:lnTo>
                        <a:pt x="248" y="285"/>
                      </a:lnTo>
                      <a:lnTo>
                        <a:pt x="244" y="291"/>
                      </a:lnTo>
                      <a:lnTo>
                        <a:pt x="246" y="299"/>
                      </a:lnTo>
                      <a:lnTo>
                        <a:pt x="248" y="310"/>
                      </a:lnTo>
                      <a:lnTo>
                        <a:pt x="246" y="321"/>
                      </a:lnTo>
                      <a:lnTo>
                        <a:pt x="250" y="331"/>
                      </a:lnTo>
                      <a:lnTo>
                        <a:pt x="252" y="340"/>
                      </a:lnTo>
                      <a:lnTo>
                        <a:pt x="252" y="358"/>
                      </a:lnTo>
                      <a:lnTo>
                        <a:pt x="255" y="361"/>
                      </a:lnTo>
                      <a:lnTo>
                        <a:pt x="268" y="367"/>
                      </a:lnTo>
                      <a:lnTo>
                        <a:pt x="275" y="374"/>
                      </a:lnTo>
                      <a:lnTo>
                        <a:pt x="276" y="383"/>
                      </a:lnTo>
                      <a:lnTo>
                        <a:pt x="287" y="399"/>
                      </a:lnTo>
                      <a:lnTo>
                        <a:pt x="292" y="411"/>
                      </a:lnTo>
                      <a:lnTo>
                        <a:pt x="298" y="415"/>
                      </a:lnTo>
                      <a:lnTo>
                        <a:pt x="310" y="425"/>
                      </a:lnTo>
                      <a:lnTo>
                        <a:pt x="312" y="434"/>
                      </a:lnTo>
                      <a:lnTo>
                        <a:pt x="312" y="441"/>
                      </a:lnTo>
                      <a:lnTo>
                        <a:pt x="314" y="443"/>
                      </a:lnTo>
                      <a:lnTo>
                        <a:pt x="315" y="445"/>
                      </a:lnTo>
                      <a:lnTo>
                        <a:pt x="314" y="446"/>
                      </a:lnTo>
                      <a:lnTo>
                        <a:pt x="312" y="452"/>
                      </a:lnTo>
                      <a:lnTo>
                        <a:pt x="306" y="459"/>
                      </a:lnTo>
                      <a:lnTo>
                        <a:pt x="305" y="462"/>
                      </a:lnTo>
                      <a:lnTo>
                        <a:pt x="308" y="468"/>
                      </a:lnTo>
                      <a:lnTo>
                        <a:pt x="308" y="473"/>
                      </a:lnTo>
                      <a:lnTo>
                        <a:pt x="303" y="473"/>
                      </a:lnTo>
                      <a:lnTo>
                        <a:pt x="301" y="471"/>
                      </a:lnTo>
                      <a:lnTo>
                        <a:pt x="299" y="471"/>
                      </a:lnTo>
                      <a:lnTo>
                        <a:pt x="296" y="470"/>
                      </a:lnTo>
                      <a:lnTo>
                        <a:pt x="292" y="470"/>
                      </a:lnTo>
                      <a:lnTo>
                        <a:pt x="283" y="470"/>
                      </a:lnTo>
                      <a:lnTo>
                        <a:pt x="280" y="470"/>
                      </a:lnTo>
                      <a:lnTo>
                        <a:pt x="273" y="466"/>
                      </a:lnTo>
                      <a:lnTo>
                        <a:pt x="269" y="464"/>
                      </a:lnTo>
                      <a:lnTo>
                        <a:pt x="269" y="468"/>
                      </a:lnTo>
                      <a:lnTo>
                        <a:pt x="264" y="468"/>
                      </a:lnTo>
                      <a:lnTo>
                        <a:pt x="262" y="464"/>
                      </a:lnTo>
                      <a:lnTo>
                        <a:pt x="257" y="464"/>
                      </a:lnTo>
                      <a:lnTo>
                        <a:pt x="253" y="464"/>
                      </a:lnTo>
                      <a:lnTo>
                        <a:pt x="248" y="461"/>
                      </a:lnTo>
                      <a:lnTo>
                        <a:pt x="244" y="461"/>
                      </a:lnTo>
                      <a:lnTo>
                        <a:pt x="243" y="462"/>
                      </a:lnTo>
                      <a:lnTo>
                        <a:pt x="239" y="461"/>
                      </a:lnTo>
                      <a:lnTo>
                        <a:pt x="186" y="459"/>
                      </a:lnTo>
                      <a:lnTo>
                        <a:pt x="182" y="455"/>
                      </a:lnTo>
                      <a:lnTo>
                        <a:pt x="179" y="455"/>
                      </a:lnTo>
                      <a:lnTo>
                        <a:pt x="177" y="457"/>
                      </a:lnTo>
                      <a:lnTo>
                        <a:pt x="167" y="457"/>
                      </a:lnTo>
                      <a:lnTo>
                        <a:pt x="167" y="455"/>
                      </a:lnTo>
                      <a:lnTo>
                        <a:pt x="161" y="455"/>
                      </a:lnTo>
                      <a:lnTo>
                        <a:pt x="154" y="455"/>
                      </a:lnTo>
                      <a:lnTo>
                        <a:pt x="151" y="455"/>
                      </a:lnTo>
                      <a:lnTo>
                        <a:pt x="136" y="454"/>
                      </a:lnTo>
                      <a:lnTo>
                        <a:pt x="133" y="455"/>
                      </a:lnTo>
                      <a:lnTo>
                        <a:pt x="122" y="454"/>
                      </a:lnTo>
                      <a:lnTo>
                        <a:pt x="117" y="457"/>
                      </a:lnTo>
                      <a:lnTo>
                        <a:pt x="113" y="457"/>
                      </a:lnTo>
                      <a:lnTo>
                        <a:pt x="110" y="457"/>
                      </a:lnTo>
                      <a:lnTo>
                        <a:pt x="108" y="461"/>
                      </a:lnTo>
                      <a:lnTo>
                        <a:pt x="108" y="459"/>
                      </a:lnTo>
                      <a:lnTo>
                        <a:pt x="60" y="461"/>
                      </a:lnTo>
                      <a:lnTo>
                        <a:pt x="57" y="459"/>
                      </a:lnTo>
                      <a:lnTo>
                        <a:pt x="51" y="459"/>
                      </a:lnTo>
                      <a:lnTo>
                        <a:pt x="46" y="459"/>
                      </a:lnTo>
                      <a:lnTo>
                        <a:pt x="53" y="452"/>
                      </a:lnTo>
                      <a:lnTo>
                        <a:pt x="48" y="446"/>
                      </a:lnTo>
                      <a:lnTo>
                        <a:pt x="53" y="432"/>
                      </a:lnTo>
                      <a:lnTo>
                        <a:pt x="51" y="416"/>
                      </a:lnTo>
                      <a:lnTo>
                        <a:pt x="44" y="406"/>
                      </a:lnTo>
                      <a:lnTo>
                        <a:pt x="44" y="393"/>
                      </a:lnTo>
                      <a:lnTo>
                        <a:pt x="46" y="388"/>
                      </a:lnTo>
                      <a:lnTo>
                        <a:pt x="41" y="379"/>
                      </a:lnTo>
                      <a:lnTo>
                        <a:pt x="28" y="384"/>
                      </a:lnTo>
                      <a:lnTo>
                        <a:pt x="25" y="379"/>
                      </a:lnTo>
                      <a:lnTo>
                        <a:pt x="18" y="379"/>
                      </a:lnTo>
                      <a:lnTo>
                        <a:pt x="12" y="353"/>
                      </a:lnTo>
                      <a:lnTo>
                        <a:pt x="5" y="356"/>
                      </a:lnTo>
                      <a:lnTo>
                        <a:pt x="0" y="35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3" name="Freeform 37">
                  <a:extLst>
                    <a:ext uri="{FF2B5EF4-FFF2-40B4-BE49-F238E27FC236}">
                      <a16:creationId xmlns:a16="http://schemas.microsoft.com/office/drawing/2014/main" id="{2E9FEF5F-125D-563F-490B-CF4702AEDE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4037" y="3806815"/>
                  <a:ext cx="376238" cy="409574"/>
                </a:xfrm>
                <a:custGeom>
                  <a:avLst/>
                  <a:gdLst>
                    <a:gd name="T0" fmla="*/ 108 w 237"/>
                    <a:gd name="T1" fmla="*/ 3 h 258"/>
                    <a:gd name="T2" fmla="*/ 115 w 237"/>
                    <a:gd name="T3" fmla="*/ 3 h 258"/>
                    <a:gd name="T4" fmla="*/ 131 w 237"/>
                    <a:gd name="T5" fmla="*/ 1 h 258"/>
                    <a:gd name="T6" fmla="*/ 149 w 237"/>
                    <a:gd name="T7" fmla="*/ 1 h 258"/>
                    <a:gd name="T8" fmla="*/ 159 w 237"/>
                    <a:gd name="T9" fmla="*/ 1 h 258"/>
                    <a:gd name="T10" fmla="*/ 165 w 237"/>
                    <a:gd name="T11" fmla="*/ 3 h 258"/>
                    <a:gd name="T12" fmla="*/ 177 w 237"/>
                    <a:gd name="T13" fmla="*/ 1 h 258"/>
                    <a:gd name="T14" fmla="*/ 184 w 237"/>
                    <a:gd name="T15" fmla="*/ 5 h 258"/>
                    <a:gd name="T16" fmla="*/ 182 w 237"/>
                    <a:gd name="T17" fmla="*/ 14 h 258"/>
                    <a:gd name="T18" fmla="*/ 184 w 237"/>
                    <a:gd name="T19" fmla="*/ 31 h 258"/>
                    <a:gd name="T20" fmla="*/ 184 w 237"/>
                    <a:gd name="T21" fmla="*/ 44 h 258"/>
                    <a:gd name="T22" fmla="*/ 195 w 237"/>
                    <a:gd name="T23" fmla="*/ 42 h 258"/>
                    <a:gd name="T24" fmla="*/ 209 w 237"/>
                    <a:gd name="T25" fmla="*/ 42 h 258"/>
                    <a:gd name="T26" fmla="*/ 232 w 237"/>
                    <a:gd name="T27" fmla="*/ 39 h 258"/>
                    <a:gd name="T28" fmla="*/ 237 w 237"/>
                    <a:gd name="T29" fmla="*/ 54 h 258"/>
                    <a:gd name="T30" fmla="*/ 237 w 237"/>
                    <a:gd name="T31" fmla="*/ 63 h 258"/>
                    <a:gd name="T32" fmla="*/ 228 w 237"/>
                    <a:gd name="T33" fmla="*/ 72 h 258"/>
                    <a:gd name="T34" fmla="*/ 218 w 237"/>
                    <a:gd name="T35" fmla="*/ 83 h 258"/>
                    <a:gd name="T36" fmla="*/ 223 w 237"/>
                    <a:gd name="T37" fmla="*/ 92 h 258"/>
                    <a:gd name="T38" fmla="*/ 218 w 237"/>
                    <a:gd name="T39" fmla="*/ 95 h 258"/>
                    <a:gd name="T40" fmla="*/ 214 w 237"/>
                    <a:gd name="T41" fmla="*/ 99 h 258"/>
                    <a:gd name="T42" fmla="*/ 218 w 237"/>
                    <a:gd name="T43" fmla="*/ 106 h 258"/>
                    <a:gd name="T44" fmla="*/ 225 w 237"/>
                    <a:gd name="T45" fmla="*/ 113 h 258"/>
                    <a:gd name="T46" fmla="*/ 232 w 237"/>
                    <a:gd name="T47" fmla="*/ 122 h 258"/>
                    <a:gd name="T48" fmla="*/ 235 w 237"/>
                    <a:gd name="T49" fmla="*/ 134 h 258"/>
                    <a:gd name="T50" fmla="*/ 221 w 237"/>
                    <a:gd name="T51" fmla="*/ 182 h 258"/>
                    <a:gd name="T52" fmla="*/ 223 w 237"/>
                    <a:gd name="T53" fmla="*/ 196 h 258"/>
                    <a:gd name="T54" fmla="*/ 218 w 237"/>
                    <a:gd name="T55" fmla="*/ 191 h 258"/>
                    <a:gd name="T56" fmla="*/ 200 w 237"/>
                    <a:gd name="T57" fmla="*/ 187 h 258"/>
                    <a:gd name="T58" fmla="*/ 189 w 237"/>
                    <a:gd name="T59" fmla="*/ 191 h 258"/>
                    <a:gd name="T60" fmla="*/ 175 w 237"/>
                    <a:gd name="T61" fmla="*/ 186 h 258"/>
                    <a:gd name="T62" fmla="*/ 159 w 237"/>
                    <a:gd name="T63" fmla="*/ 168 h 258"/>
                    <a:gd name="T64" fmla="*/ 157 w 237"/>
                    <a:gd name="T65" fmla="*/ 184 h 258"/>
                    <a:gd name="T66" fmla="*/ 141 w 237"/>
                    <a:gd name="T67" fmla="*/ 191 h 258"/>
                    <a:gd name="T68" fmla="*/ 133 w 237"/>
                    <a:gd name="T69" fmla="*/ 196 h 258"/>
                    <a:gd name="T70" fmla="*/ 120 w 237"/>
                    <a:gd name="T71" fmla="*/ 194 h 258"/>
                    <a:gd name="T72" fmla="*/ 108 w 237"/>
                    <a:gd name="T73" fmla="*/ 200 h 258"/>
                    <a:gd name="T74" fmla="*/ 110 w 237"/>
                    <a:gd name="T75" fmla="*/ 214 h 258"/>
                    <a:gd name="T76" fmla="*/ 122 w 237"/>
                    <a:gd name="T77" fmla="*/ 210 h 258"/>
                    <a:gd name="T78" fmla="*/ 133 w 237"/>
                    <a:gd name="T79" fmla="*/ 217 h 258"/>
                    <a:gd name="T80" fmla="*/ 134 w 237"/>
                    <a:gd name="T81" fmla="*/ 246 h 258"/>
                    <a:gd name="T82" fmla="*/ 118 w 237"/>
                    <a:gd name="T83" fmla="*/ 237 h 258"/>
                    <a:gd name="T84" fmla="*/ 110 w 237"/>
                    <a:gd name="T85" fmla="*/ 240 h 258"/>
                    <a:gd name="T86" fmla="*/ 104 w 237"/>
                    <a:gd name="T87" fmla="*/ 249 h 258"/>
                    <a:gd name="T88" fmla="*/ 97 w 237"/>
                    <a:gd name="T89" fmla="*/ 256 h 258"/>
                    <a:gd name="T90" fmla="*/ 88 w 237"/>
                    <a:gd name="T91" fmla="*/ 246 h 258"/>
                    <a:gd name="T92" fmla="*/ 69 w 237"/>
                    <a:gd name="T93" fmla="*/ 230 h 258"/>
                    <a:gd name="T94" fmla="*/ 39 w 237"/>
                    <a:gd name="T95" fmla="*/ 203 h 258"/>
                    <a:gd name="T96" fmla="*/ 32 w 237"/>
                    <a:gd name="T97" fmla="*/ 193 h 258"/>
                    <a:gd name="T98" fmla="*/ 21 w 237"/>
                    <a:gd name="T99" fmla="*/ 175 h 258"/>
                    <a:gd name="T100" fmla="*/ 14 w 237"/>
                    <a:gd name="T101" fmla="*/ 154 h 258"/>
                    <a:gd name="T102" fmla="*/ 9 w 237"/>
                    <a:gd name="T103" fmla="*/ 143 h 258"/>
                    <a:gd name="T104" fmla="*/ 2 w 237"/>
                    <a:gd name="T105" fmla="*/ 120 h 258"/>
                    <a:gd name="T106" fmla="*/ 19 w 237"/>
                    <a:gd name="T107" fmla="*/ 118 h 258"/>
                    <a:gd name="T108" fmla="*/ 21 w 237"/>
                    <a:gd name="T109" fmla="*/ 83 h 258"/>
                    <a:gd name="T110" fmla="*/ 44 w 237"/>
                    <a:gd name="T111" fmla="*/ 83 h 258"/>
                    <a:gd name="T112" fmla="*/ 25 w 237"/>
                    <a:gd name="T113" fmla="*/ 67 h 258"/>
                    <a:gd name="T114" fmla="*/ 33 w 237"/>
                    <a:gd name="T115" fmla="*/ 56 h 258"/>
                    <a:gd name="T116" fmla="*/ 44 w 237"/>
                    <a:gd name="T117" fmla="*/ 53 h 258"/>
                    <a:gd name="T118" fmla="*/ 49 w 237"/>
                    <a:gd name="T119" fmla="*/ 54 h 258"/>
                    <a:gd name="T120" fmla="*/ 106 w 237"/>
                    <a:gd name="T121" fmla="*/ 7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37" h="258">
                      <a:moveTo>
                        <a:pt x="106" y="7"/>
                      </a:moveTo>
                      <a:lnTo>
                        <a:pt x="108" y="3"/>
                      </a:lnTo>
                      <a:lnTo>
                        <a:pt x="111" y="3"/>
                      </a:lnTo>
                      <a:lnTo>
                        <a:pt x="115" y="3"/>
                      </a:lnTo>
                      <a:lnTo>
                        <a:pt x="120" y="0"/>
                      </a:lnTo>
                      <a:lnTo>
                        <a:pt x="131" y="1"/>
                      </a:lnTo>
                      <a:lnTo>
                        <a:pt x="134" y="0"/>
                      </a:lnTo>
                      <a:lnTo>
                        <a:pt x="149" y="1"/>
                      </a:lnTo>
                      <a:lnTo>
                        <a:pt x="152" y="1"/>
                      </a:lnTo>
                      <a:lnTo>
                        <a:pt x="159" y="1"/>
                      </a:lnTo>
                      <a:lnTo>
                        <a:pt x="165" y="1"/>
                      </a:lnTo>
                      <a:lnTo>
                        <a:pt x="165" y="3"/>
                      </a:lnTo>
                      <a:lnTo>
                        <a:pt x="175" y="3"/>
                      </a:lnTo>
                      <a:lnTo>
                        <a:pt x="177" y="1"/>
                      </a:lnTo>
                      <a:lnTo>
                        <a:pt x="180" y="1"/>
                      </a:lnTo>
                      <a:lnTo>
                        <a:pt x="184" y="5"/>
                      </a:lnTo>
                      <a:lnTo>
                        <a:pt x="184" y="5"/>
                      </a:lnTo>
                      <a:lnTo>
                        <a:pt x="182" y="14"/>
                      </a:lnTo>
                      <a:lnTo>
                        <a:pt x="184" y="21"/>
                      </a:lnTo>
                      <a:lnTo>
                        <a:pt x="184" y="31"/>
                      </a:lnTo>
                      <a:lnTo>
                        <a:pt x="186" y="39"/>
                      </a:lnTo>
                      <a:lnTo>
                        <a:pt x="184" y="44"/>
                      </a:lnTo>
                      <a:lnTo>
                        <a:pt x="188" y="46"/>
                      </a:lnTo>
                      <a:lnTo>
                        <a:pt x="195" y="42"/>
                      </a:lnTo>
                      <a:lnTo>
                        <a:pt x="200" y="44"/>
                      </a:lnTo>
                      <a:lnTo>
                        <a:pt x="209" y="42"/>
                      </a:lnTo>
                      <a:lnTo>
                        <a:pt x="218" y="39"/>
                      </a:lnTo>
                      <a:lnTo>
                        <a:pt x="232" y="39"/>
                      </a:lnTo>
                      <a:lnTo>
                        <a:pt x="235" y="42"/>
                      </a:lnTo>
                      <a:lnTo>
                        <a:pt x="237" y="54"/>
                      </a:lnTo>
                      <a:lnTo>
                        <a:pt x="234" y="60"/>
                      </a:lnTo>
                      <a:lnTo>
                        <a:pt x="237" y="63"/>
                      </a:lnTo>
                      <a:lnTo>
                        <a:pt x="235" y="70"/>
                      </a:lnTo>
                      <a:lnTo>
                        <a:pt x="228" y="72"/>
                      </a:lnTo>
                      <a:lnTo>
                        <a:pt x="219" y="78"/>
                      </a:lnTo>
                      <a:lnTo>
                        <a:pt x="218" y="83"/>
                      </a:lnTo>
                      <a:lnTo>
                        <a:pt x="221" y="86"/>
                      </a:lnTo>
                      <a:lnTo>
                        <a:pt x="223" y="92"/>
                      </a:lnTo>
                      <a:lnTo>
                        <a:pt x="219" y="92"/>
                      </a:lnTo>
                      <a:lnTo>
                        <a:pt x="218" y="95"/>
                      </a:lnTo>
                      <a:lnTo>
                        <a:pt x="214" y="97"/>
                      </a:lnTo>
                      <a:lnTo>
                        <a:pt x="214" y="99"/>
                      </a:lnTo>
                      <a:lnTo>
                        <a:pt x="216" y="102"/>
                      </a:lnTo>
                      <a:lnTo>
                        <a:pt x="218" y="106"/>
                      </a:lnTo>
                      <a:lnTo>
                        <a:pt x="223" y="108"/>
                      </a:lnTo>
                      <a:lnTo>
                        <a:pt x="225" y="113"/>
                      </a:lnTo>
                      <a:lnTo>
                        <a:pt x="230" y="116"/>
                      </a:lnTo>
                      <a:lnTo>
                        <a:pt x="232" y="122"/>
                      </a:lnTo>
                      <a:lnTo>
                        <a:pt x="237" y="127"/>
                      </a:lnTo>
                      <a:lnTo>
                        <a:pt x="235" y="134"/>
                      </a:lnTo>
                      <a:lnTo>
                        <a:pt x="232" y="152"/>
                      </a:lnTo>
                      <a:lnTo>
                        <a:pt x="221" y="182"/>
                      </a:lnTo>
                      <a:lnTo>
                        <a:pt x="223" y="189"/>
                      </a:lnTo>
                      <a:lnTo>
                        <a:pt x="223" y="196"/>
                      </a:lnTo>
                      <a:lnTo>
                        <a:pt x="219" y="196"/>
                      </a:lnTo>
                      <a:lnTo>
                        <a:pt x="218" y="191"/>
                      </a:lnTo>
                      <a:lnTo>
                        <a:pt x="209" y="187"/>
                      </a:lnTo>
                      <a:lnTo>
                        <a:pt x="200" y="187"/>
                      </a:lnTo>
                      <a:lnTo>
                        <a:pt x="195" y="191"/>
                      </a:lnTo>
                      <a:lnTo>
                        <a:pt x="189" y="191"/>
                      </a:lnTo>
                      <a:lnTo>
                        <a:pt x="180" y="193"/>
                      </a:lnTo>
                      <a:lnTo>
                        <a:pt x="175" y="186"/>
                      </a:lnTo>
                      <a:lnTo>
                        <a:pt x="168" y="170"/>
                      </a:lnTo>
                      <a:lnTo>
                        <a:pt x="159" y="168"/>
                      </a:lnTo>
                      <a:lnTo>
                        <a:pt x="156" y="173"/>
                      </a:lnTo>
                      <a:lnTo>
                        <a:pt x="157" y="184"/>
                      </a:lnTo>
                      <a:lnTo>
                        <a:pt x="156" y="191"/>
                      </a:lnTo>
                      <a:lnTo>
                        <a:pt x="141" y="191"/>
                      </a:lnTo>
                      <a:lnTo>
                        <a:pt x="134" y="191"/>
                      </a:lnTo>
                      <a:lnTo>
                        <a:pt x="133" y="196"/>
                      </a:lnTo>
                      <a:lnTo>
                        <a:pt x="129" y="198"/>
                      </a:lnTo>
                      <a:lnTo>
                        <a:pt x="120" y="194"/>
                      </a:lnTo>
                      <a:lnTo>
                        <a:pt x="111" y="194"/>
                      </a:lnTo>
                      <a:lnTo>
                        <a:pt x="108" y="200"/>
                      </a:lnTo>
                      <a:lnTo>
                        <a:pt x="111" y="205"/>
                      </a:lnTo>
                      <a:lnTo>
                        <a:pt x="110" y="214"/>
                      </a:lnTo>
                      <a:lnTo>
                        <a:pt x="117" y="210"/>
                      </a:lnTo>
                      <a:lnTo>
                        <a:pt x="122" y="210"/>
                      </a:lnTo>
                      <a:lnTo>
                        <a:pt x="126" y="212"/>
                      </a:lnTo>
                      <a:lnTo>
                        <a:pt x="133" y="217"/>
                      </a:lnTo>
                      <a:lnTo>
                        <a:pt x="134" y="239"/>
                      </a:lnTo>
                      <a:lnTo>
                        <a:pt x="134" y="246"/>
                      </a:lnTo>
                      <a:lnTo>
                        <a:pt x="122" y="237"/>
                      </a:lnTo>
                      <a:lnTo>
                        <a:pt x="118" y="237"/>
                      </a:lnTo>
                      <a:lnTo>
                        <a:pt x="117" y="240"/>
                      </a:lnTo>
                      <a:lnTo>
                        <a:pt x="110" y="240"/>
                      </a:lnTo>
                      <a:lnTo>
                        <a:pt x="106" y="244"/>
                      </a:lnTo>
                      <a:lnTo>
                        <a:pt x="104" y="249"/>
                      </a:lnTo>
                      <a:lnTo>
                        <a:pt x="99" y="258"/>
                      </a:lnTo>
                      <a:lnTo>
                        <a:pt x="97" y="256"/>
                      </a:lnTo>
                      <a:lnTo>
                        <a:pt x="90" y="253"/>
                      </a:lnTo>
                      <a:lnTo>
                        <a:pt x="88" y="246"/>
                      </a:lnTo>
                      <a:lnTo>
                        <a:pt x="72" y="239"/>
                      </a:lnTo>
                      <a:lnTo>
                        <a:pt x="69" y="230"/>
                      </a:lnTo>
                      <a:lnTo>
                        <a:pt x="51" y="214"/>
                      </a:lnTo>
                      <a:lnTo>
                        <a:pt x="39" y="203"/>
                      </a:lnTo>
                      <a:lnTo>
                        <a:pt x="42" y="200"/>
                      </a:lnTo>
                      <a:lnTo>
                        <a:pt x="32" y="193"/>
                      </a:lnTo>
                      <a:lnTo>
                        <a:pt x="28" y="182"/>
                      </a:lnTo>
                      <a:lnTo>
                        <a:pt x="21" y="175"/>
                      </a:lnTo>
                      <a:lnTo>
                        <a:pt x="21" y="163"/>
                      </a:lnTo>
                      <a:lnTo>
                        <a:pt x="14" y="154"/>
                      </a:lnTo>
                      <a:lnTo>
                        <a:pt x="14" y="147"/>
                      </a:lnTo>
                      <a:lnTo>
                        <a:pt x="9" y="143"/>
                      </a:lnTo>
                      <a:lnTo>
                        <a:pt x="0" y="125"/>
                      </a:lnTo>
                      <a:lnTo>
                        <a:pt x="2" y="120"/>
                      </a:lnTo>
                      <a:lnTo>
                        <a:pt x="10" y="124"/>
                      </a:lnTo>
                      <a:lnTo>
                        <a:pt x="19" y="118"/>
                      </a:lnTo>
                      <a:lnTo>
                        <a:pt x="21" y="95"/>
                      </a:lnTo>
                      <a:lnTo>
                        <a:pt x="21" y="83"/>
                      </a:lnTo>
                      <a:lnTo>
                        <a:pt x="26" y="88"/>
                      </a:lnTo>
                      <a:lnTo>
                        <a:pt x="44" y="83"/>
                      </a:lnTo>
                      <a:lnTo>
                        <a:pt x="32" y="81"/>
                      </a:lnTo>
                      <a:lnTo>
                        <a:pt x="25" y="67"/>
                      </a:lnTo>
                      <a:lnTo>
                        <a:pt x="32" y="65"/>
                      </a:lnTo>
                      <a:lnTo>
                        <a:pt x="33" y="56"/>
                      </a:lnTo>
                      <a:lnTo>
                        <a:pt x="39" y="58"/>
                      </a:lnTo>
                      <a:lnTo>
                        <a:pt x="44" y="53"/>
                      </a:lnTo>
                      <a:lnTo>
                        <a:pt x="48" y="53"/>
                      </a:lnTo>
                      <a:lnTo>
                        <a:pt x="49" y="54"/>
                      </a:lnTo>
                      <a:lnTo>
                        <a:pt x="106" y="54"/>
                      </a:lnTo>
                      <a:lnTo>
                        <a:pt x="106" y="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4" name="Freeform 38">
                  <a:extLst>
                    <a:ext uri="{FF2B5EF4-FFF2-40B4-BE49-F238E27FC236}">
                      <a16:creationId xmlns:a16="http://schemas.microsoft.com/office/drawing/2014/main" id="{DB670B64-1253-7EAC-689F-31D5B1769C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0551" y="3814752"/>
                  <a:ext cx="131764" cy="84138"/>
                </a:xfrm>
                <a:custGeom>
                  <a:avLst/>
                  <a:gdLst>
                    <a:gd name="T0" fmla="*/ 10 w 83"/>
                    <a:gd name="T1" fmla="*/ 51 h 53"/>
                    <a:gd name="T2" fmla="*/ 16 w 83"/>
                    <a:gd name="T3" fmla="*/ 53 h 53"/>
                    <a:gd name="T4" fmla="*/ 21 w 83"/>
                    <a:gd name="T5" fmla="*/ 48 h 53"/>
                    <a:gd name="T6" fmla="*/ 25 w 83"/>
                    <a:gd name="T7" fmla="*/ 48 h 53"/>
                    <a:gd name="T8" fmla="*/ 26 w 83"/>
                    <a:gd name="T9" fmla="*/ 49 h 53"/>
                    <a:gd name="T10" fmla="*/ 83 w 83"/>
                    <a:gd name="T11" fmla="*/ 49 h 53"/>
                    <a:gd name="T12" fmla="*/ 83 w 83"/>
                    <a:gd name="T13" fmla="*/ 0 h 53"/>
                    <a:gd name="T14" fmla="*/ 35 w 83"/>
                    <a:gd name="T15" fmla="*/ 2 h 53"/>
                    <a:gd name="T16" fmla="*/ 32 w 83"/>
                    <a:gd name="T17" fmla="*/ 0 h 53"/>
                    <a:gd name="T18" fmla="*/ 26 w 83"/>
                    <a:gd name="T19" fmla="*/ 0 h 53"/>
                    <a:gd name="T20" fmla="*/ 21 w 83"/>
                    <a:gd name="T21" fmla="*/ 0 h 53"/>
                    <a:gd name="T22" fmla="*/ 19 w 83"/>
                    <a:gd name="T23" fmla="*/ 2 h 53"/>
                    <a:gd name="T24" fmla="*/ 23 w 83"/>
                    <a:gd name="T25" fmla="*/ 9 h 53"/>
                    <a:gd name="T26" fmla="*/ 10 w 83"/>
                    <a:gd name="T27" fmla="*/ 23 h 53"/>
                    <a:gd name="T28" fmla="*/ 0 w 83"/>
                    <a:gd name="T29" fmla="*/ 44 h 53"/>
                    <a:gd name="T30" fmla="*/ 10 w 83"/>
                    <a:gd name="T31" fmla="*/ 49 h 53"/>
                    <a:gd name="T32" fmla="*/ 10 w 83"/>
                    <a:gd name="T33" fmla="*/ 51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3" h="53">
                      <a:moveTo>
                        <a:pt x="10" y="51"/>
                      </a:moveTo>
                      <a:lnTo>
                        <a:pt x="16" y="53"/>
                      </a:lnTo>
                      <a:lnTo>
                        <a:pt x="21" y="48"/>
                      </a:lnTo>
                      <a:lnTo>
                        <a:pt x="25" y="48"/>
                      </a:lnTo>
                      <a:lnTo>
                        <a:pt x="26" y="49"/>
                      </a:lnTo>
                      <a:lnTo>
                        <a:pt x="83" y="49"/>
                      </a:lnTo>
                      <a:lnTo>
                        <a:pt x="83" y="0"/>
                      </a:lnTo>
                      <a:lnTo>
                        <a:pt x="35" y="2"/>
                      </a:lnTo>
                      <a:lnTo>
                        <a:pt x="32" y="0"/>
                      </a:lnTo>
                      <a:lnTo>
                        <a:pt x="26" y="0"/>
                      </a:lnTo>
                      <a:lnTo>
                        <a:pt x="21" y="0"/>
                      </a:lnTo>
                      <a:lnTo>
                        <a:pt x="19" y="2"/>
                      </a:lnTo>
                      <a:lnTo>
                        <a:pt x="23" y="9"/>
                      </a:lnTo>
                      <a:lnTo>
                        <a:pt x="10" y="23"/>
                      </a:lnTo>
                      <a:lnTo>
                        <a:pt x="0" y="44"/>
                      </a:lnTo>
                      <a:lnTo>
                        <a:pt x="10" y="49"/>
                      </a:lnTo>
                      <a:lnTo>
                        <a:pt x="10" y="51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5" name="Freeform 39">
                  <a:extLst>
                    <a:ext uri="{FF2B5EF4-FFF2-40B4-BE49-F238E27FC236}">
                      <a16:creationId xmlns:a16="http://schemas.microsoft.com/office/drawing/2014/main" id="{6F186427-FB47-F859-5AE6-5BD208DF8B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1198" y="3702042"/>
                  <a:ext cx="503239" cy="590548"/>
                </a:xfrm>
                <a:custGeom>
                  <a:avLst/>
                  <a:gdLst>
                    <a:gd name="T0" fmla="*/ 7 w 317"/>
                    <a:gd name="T1" fmla="*/ 310 h 372"/>
                    <a:gd name="T2" fmla="*/ 19 w 317"/>
                    <a:gd name="T3" fmla="*/ 303 h 372"/>
                    <a:gd name="T4" fmla="*/ 35 w 317"/>
                    <a:gd name="T5" fmla="*/ 305 h 372"/>
                    <a:gd name="T6" fmla="*/ 23 w 317"/>
                    <a:gd name="T7" fmla="*/ 276 h 372"/>
                    <a:gd name="T8" fmla="*/ 12 w 317"/>
                    <a:gd name="T9" fmla="*/ 271 h 372"/>
                    <a:gd name="T10" fmla="*/ 21 w 317"/>
                    <a:gd name="T11" fmla="*/ 260 h 372"/>
                    <a:gd name="T12" fmla="*/ 35 w 317"/>
                    <a:gd name="T13" fmla="*/ 257 h 372"/>
                    <a:gd name="T14" fmla="*/ 58 w 317"/>
                    <a:gd name="T15" fmla="*/ 250 h 372"/>
                    <a:gd name="T16" fmla="*/ 69 w 317"/>
                    <a:gd name="T17" fmla="*/ 236 h 372"/>
                    <a:gd name="T18" fmla="*/ 90 w 317"/>
                    <a:gd name="T19" fmla="*/ 257 h 372"/>
                    <a:gd name="T20" fmla="*/ 110 w 317"/>
                    <a:gd name="T21" fmla="*/ 253 h 372"/>
                    <a:gd name="T22" fmla="*/ 124 w 317"/>
                    <a:gd name="T23" fmla="*/ 262 h 372"/>
                    <a:gd name="T24" fmla="*/ 133 w 317"/>
                    <a:gd name="T25" fmla="*/ 218 h 372"/>
                    <a:gd name="T26" fmla="*/ 133 w 317"/>
                    <a:gd name="T27" fmla="*/ 188 h 372"/>
                    <a:gd name="T28" fmla="*/ 124 w 317"/>
                    <a:gd name="T29" fmla="*/ 174 h 372"/>
                    <a:gd name="T30" fmla="*/ 115 w 317"/>
                    <a:gd name="T31" fmla="*/ 165 h 372"/>
                    <a:gd name="T32" fmla="*/ 120 w 317"/>
                    <a:gd name="T33" fmla="*/ 158 h 372"/>
                    <a:gd name="T34" fmla="*/ 119 w 317"/>
                    <a:gd name="T35" fmla="*/ 149 h 372"/>
                    <a:gd name="T36" fmla="*/ 136 w 317"/>
                    <a:gd name="T37" fmla="*/ 136 h 372"/>
                    <a:gd name="T38" fmla="*/ 138 w 317"/>
                    <a:gd name="T39" fmla="*/ 120 h 372"/>
                    <a:gd name="T40" fmla="*/ 119 w 317"/>
                    <a:gd name="T41" fmla="*/ 105 h 372"/>
                    <a:gd name="T42" fmla="*/ 96 w 317"/>
                    <a:gd name="T43" fmla="*/ 108 h 372"/>
                    <a:gd name="T44" fmla="*/ 87 w 317"/>
                    <a:gd name="T45" fmla="*/ 105 h 372"/>
                    <a:gd name="T46" fmla="*/ 83 w 317"/>
                    <a:gd name="T47" fmla="*/ 80 h 372"/>
                    <a:gd name="T48" fmla="*/ 142 w 317"/>
                    <a:gd name="T49" fmla="*/ 74 h 372"/>
                    <a:gd name="T50" fmla="*/ 152 w 317"/>
                    <a:gd name="T51" fmla="*/ 76 h 372"/>
                    <a:gd name="T52" fmla="*/ 163 w 317"/>
                    <a:gd name="T53" fmla="*/ 80 h 372"/>
                    <a:gd name="T54" fmla="*/ 172 w 317"/>
                    <a:gd name="T55" fmla="*/ 78 h 372"/>
                    <a:gd name="T56" fmla="*/ 191 w 317"/>
                    <a:gd name="T57" fmla="*/ 82 h 372"/>
                    <a:gd name="T58" fmla="*/ 200 w 317"/>
                    <a:gd name="T59" fmla="*/ 83 h 372"/>
                    <a:gd name="T60" fmla="*/ 207 w 317"/>
                    <a:gd name="T61" fmla="*/ 80 h 372"/>
                    <a:gd name="T62" fmla="*/ 211 w 317"/>
                    <a:gd name="T63" fmla="*/ 64 h 372"/>
                    <a:gd name="T64" fmla="*/ 243 w 317"/>
                    <a:gd name="T65" fmla="*/ 16 h 372"/>
                    <a:gd name="T66" fmla="*/ 271 w 317"/>
                    <a:gd name="T67" fmla="*/ 2 h 372"/>
                    <a:gd name="T68" fmla="*/ 289 w 317"/>
                    <a:gd name="T69" fmla="*/ 0 h 372"/>
                    <a:gd name="T70" fmla="*/ 305 w 317"/>
                    <a:gd name="T71" fmla="*/ 7 h 372"/>
                    <a:gd name="T72" fmla="*/ 314 w 317"/>
                    <a:gd name="T73" fmla="*/ 7 h 372"/>
                    <a:gd name="T74" fmla="*/ 310 w 317"/>
                    <a:gd name="T75" fmla="*/ 35 h 372"/>
                    <a:gd name="T76" fmla="*/ 294 w 317"/>
                    <a:gd name="T77" fmla="*/ 80 h 372"/>
                    <a:gd name="T78" fmla="*/ 285 w 317"/>
                    <a:gd name="T79" fmla="*/ 106 h 372"/>
                    <a:gd name="T80" fmla="*/ 282 w 317"/>
                    <a:gd name="T81" fmla="*/ 136 h 372"/>
                    <a:gd name="T82" fmla="*/ 276 w 317"/>
                    <a:gd name="T83" fmla="*/ 152 h 372"/>
                    <a:gd name="T84" fmla="*/ 260 w 317"/>
                    <a:gd name="T85" fmla="*/ 202 h 372"/>
                    <a:gd name="T86" fmla="*/ 239 w 317"/>
                    <a:gd name="T87" fmla="*/ 209 h 372"/>
                    <a:gd name="T88" fmla="*/ 221 w 317"/>
                    <a:gd name="T89" fmla="*/ 234 h 372"/>
                    <a:gd name="T90" fmla="*/ 205 w 317"/>
                    <a:gd name="T91" fmla="*/ 268 h 372"/>
                    <a:gd name="T92" fmla="*/ 204 w 317"/>
                    <a:gd name="T93" fmla="*/ 305 h 372"/>
                    <a:gd name="T94" fmla="*/ 190 w 317"/>
                    <a:gd name="T95" fmla="*/ 326 h 372"/>
                    <a:gd name="T96" fmla="*/ 163 w 317"/>
                    <a:gd name="T97" fmla="*/ 353 h 372"/>
                    <a:gd name="T98" fmla="*/ 138 w 317"/>
                    <a:gd name="T99" fmla="*/ 360 h 372"/>
                    <a:gd name="T100" fmla="*/ 138 w 317"/>
                    <a:gd name="T101" fmla="*/ 342 h 372"/>
                    <a:gd name="T102" fmla="*/ 119 w 317"/>
                    <a:gd name="T103" fmla="*/ 349 h 372"/>
                    <a:gd name="T104" fmla="*/ 106 w 317"/>
                    <a:gd name="T105" fmla="*/ 358 h 372"/>
                    <a:gd name="T106" fmla="*/ 94 w 317"/>
                    <a:gd name="T107" fmla="*/ 360 h 372"/>
                    <a:gd name="T108" fmla="*/ 80 w 317"/>
                    <a:gd name="T109" fmla="*/ 358 h 372"/>
                    <a:gd name="T110" fmla="*/ 74 w 317"/>
                    <a:gd name="T111" fmla="*/ 345 h 372"/>
                    <a:gd name="T112" fmla="*/ 60 w 317"/>
                    <a:gd name="T113" fmla="*/ 349 h 372"/>
                    <a:gd name="T114" fmla="*/ 46 w 317"/>
                    <a:gd name="T115" fmla="*/ 360 h 372"/>
                    <a:gd name="T116" fmla="*/ 34 w 317"/>
                    <a:gd name="T117" fmla="*/ 372 h 372"/>
                    <a:gd name="T118" fmla="*/ 23 w 317"/>
                    <a:gd name="T119" fmla="*/ 353 h 372"/>
                    <a:gd name="T120" fmla="*/ 7 w 317"/>
                    <a:gd name="T121" fmla="*/ 331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17" h="372">
                      <a:moveTo>
                        <a:pt x="0" y="324"/>
                      </a:moveTo>
                      <a:lnTo>
                        <a:pt x="5" y="315"/>
                      </a:lnTo>
                      <a:lnTo>
                        <a:pt x="7" y="310"/>
                      </a:lnTo>
                      <a:lnTo>
                        <a:pt x="11" y="306"/>
                      </a:lnTo>
                      <a:lnTo>
                        <a:pt x="18" y="306"/>
                      </a:lnTo>
                      <a:lnTo>
                        <a:pt x="19" y="303"/>
                      </a:lnTo>
                      <a:lnTo>
                        <a:pt x="23" y="303"/>
                      </a:lnTo>
                      <a:lnTo>
                        <a:pt x="35" y="312"/>
                      </a:lnTo>
                      <a:lnTo>
                        <a:pt x="35" y="305"/>
                      </a:lnTo>
                      <a:lnTo>
                        <a:pt x="34" y="283"/>
                      </a:lnTo>
                      <a:lnTo>
                        <a:pt x="27" y="278"/>
                      </a:lnTo>
                      <a:lnTo>
                        <a:pt x="23" y="276"/>
                      </a:lnTo>
                      <a:lnTo>
                        <a:pt x="18" y="276"/>
                      </a:lnTo>
                      <a:lnTo>
                        <a:pt x="11" y="280"/>
                      </a:lnTo>
                      <a:lnTo>
                        <a:pt x="12" y="271"/>
                      </a:lnTo>
                      <a:lnTo>
                        <a:pt x="9" y="266"/>
                      </a:lnTo>
                      <a:lnTo>
                        <a:pt x="12" y="260"/>
                      </a:lnTo>
                      <a:lnTo>
                        <a:pt x="21" y="260"/>
                      </a:lnTo>
                      <a:lnTo>
                        <a:pt x="30" y="264"/>
                      </a:lnTo>
                      <a:lnTo>
                        <a:pt x="34" y="262"/>
                      </a:lnTo>
                      <a:lnTo>
                        <a:pt x="35" y="257"/>
                      </a:lnTo>
                      <a:lnTo>
                        <a:pt x="42" y="257"/>
                      </a:lnTo>
                      <a:lnTo>
                        <a:pt x="57" y="257"/>
                      </a:lnTo>
                      <a:lnTo>
                        <a:pt x="58" y="250"/>
                      </a:lnTo>
                      <a:lnTo>
                        <a:pt x="57" y="239"/>
                      </a:lnTo>
                      <a:lnTo>
                        <a:pt x="60" y="234"/>
                      </a:lnTo>
                      <a:lnTo>
                        <a:pt x="69" y="236"/>
                      </a:lnTo>
                      <a:lnTo>
                        <a:pt x="76" y="252"/>
                      </a:lnTo>
                      <a:lnTo>
                        <a:pt x="81" y="259"/>
                      </a:lnTo>
                      <a:lnTo>
                        <a:pt x="90" y="257"/>
                      </a:lnTo>
                      <a:lnTo>
                        <a:pt x="96" y="257"/>
                      </a:lnTo>
                      <a:lnTo>
                        <a:pt x="101" y="253"/>
                      </a:lnTo>
                      <a:lnTo>
                        <a:pt x="110" y="253"/>
                      </a:lnTo>
                      <a:lnTo>
                        <a:pt x="119" y="257"/>
                      </a:lnTo>
                      <a:lnTo>
                        <a:pt x="120" y="262"/>
                      </a:lnTo>
                      <a:lnTo>
                        <a:pt x="124" y="262"/>
                      </a:lnTo>
                      <a:lnTo>
                        <a:pt x="124" y="255"/>
                      </a:lnTo>
                      <a:lnTo>
                        <a:pt x="122" y="248"/>
                      </a:lnTo>
                      <a:lnTo>
                        <a:pt x="133" y="218"/>
                      </a:lnTo>
                      <a:lnTo>
                        <a:pt x="136" y="200"/>
                      </a:lnTo>
                      <a:lnTo>
                        <a:pt x="138" y="193"/>
                      </a:lnTo>
                      <a:lnTo>
                        <a:pt x="133" y="188"/>
                      </a:lnTo>
                      <a:lnTo>
                        <a:pt x="131" y="182"/>
                      </a:lnTo>
                      <a:lnTo>
                        <a:pt x="126" y="179"/>
                      </a:lnTo>
                      <a:lnTo>
                        <a:pt x="124" y="174"/>
                      </a:lnTo>
                      <a:lnTo>
                        <a:pt x="119" y="172"/>
                      </a:lnTo>
                      <a:lnTo>
                        <a:pt x="117" y="168"/>
                      </a:lnTo>
                      <a:lnTo>
                        <a:pt x="115" y="165"/>
                      </a:lnTo>
                      <a:lnTo>
                        <a:pt x="115" y="163"/>
                      </a:lnTo>
                      <a:lnTo>
                        <a:pt x="119" y="161"/>
                      </a:lnTo>
                      <a:lnTo>
                        <a:pt x="120" y="158"/>
                      </a:lnTo>
                      <a:lnTo>
                        <a:pt x="124" y="158"/>
                      </a:lnTo>
                      <a:lnTo>
                        <a:pt x="122" y="152"/>
                      </a:lnTo>
                      <a:lnTo>
                        <a:pt x="119" y="149"/>
                      </a:lnTo>
                      <a:lnTo>
                        <a:pt x="120" y="144"/>
                      </a:lnTo>
                      <a:lnTo>
                        <a:pt x="129" y="138"/>
                      </a:lnTo>
                      <a:lnTo>
                        <a:pt x="136" y="136"/>
                      </a:lnTo>
                      <a:lnTo>
                        <a:pt x="138" y="129"/>
                      </a:lnTo>
                      <a:lnTo>
                        <a:pt x="135" y="126"/>
                      </a:lnTo>
                      <a:lnTo>
                        <a:pt x="138" y="120"/>
                      </a:lnTo>
                      <a:lnTo>
                        <a:pt x="136" y="108"/>
                      </a:lnTo>
                      <a:lnTo>
                        <a:pt x="133" y="105"/>
                      </a:lnTo>
                      <a:lnTo>
                        <a:pt x="119" y="105"/>
                      </a:lnTo>
                      <a:lnTo>
                        <a:pt x="110" y="108"/>
                      </a:lnTo>
                      <a:lnTo>
                        <a:pt x="101" y="110"/>
                      </a:lnTo>
                      <a:lnTo>
                        <a:pt x="96" y="108"/>
                      </a:lnTo>
                      <a:lnTo>
                        <a:pt x="89" y="112"/>
                      </a:lnTo>
                      <a:lnTo>
                        <a:pt x="85" y="110"/>
                      </a:lnTo>
                      <a:lnTo>
                        <a:pt x="87" y="105"/>
                      </a:lnTo>
                      <a:lnTo>
                        <a:pt x="85" y="97"/>
                      </a:lnTo>
                      <a:lnTo>
                        <a:pt x="85" y="87"/>
                      </a:lnTo>
                      <a:lnTo>
                        <a:pt x="83" y="80"/>
                      </a:lnTo>
                      <a:lnTo>
                        <a:pt x="85" y="71"/>
                      </a:lnTo>
                      <a:lnTo>
                        <a:pt x="138" y="73"/>
                      </a:lnTo>
                      <a:lnTo>
                        <a:pt x="142" y="74"/>
                      </a:lnTo>
                      <a:lnTo>
                        <a:pt x="143" y="73"/>
                      </a:lnTo>
                      <a:lnTo>
                        <a:pt x="147" y="73"/>
                      </a:lnTo>
                      <a:lnTo>
                        <a:pt x="152" y="76"/>
                      </a:lnTo>
                      <a:lnTo>
                        <a:pt x="156" y="76"/>
                      </a:lnTo>
                      <a:lnTo>
                        <a:pt x="161" y="76"/>
                      </a:lnTo>
                      <a:lnTo>
                        <a:pt x="163" y="80"/>
                      </a:lnTo>
                      <a:lnTo>
                        <a:pt x="168" y="80"/>
                      </a:lnTo>
                      <a:lnTo>
                        <a:pt x="168" y="76"/>
                      </a:lnTo>
                      <a:lnTo>
                        <a:pt x="172" y="78"/>
                      </a:lnTo>
                      <a:lnTo>
                        <a:pt x="179" y="82"/>
                      </a:lnTo>
                      <a:lnTo>
                        <a:pt x="182" y="82"/>
                      </a:lnTo>
                      <a:lnTo>
                        <a:pt x="191" y="82"/>
                      </a:lnTo>
                      <a:lnTo>
                        <a:pt x="195" y="82"/>
                      </a:lnTo>
                      <a:lnTo>
                        <a:pt x="198" y="83"/>
                      </a:lnTo>
                      <a:lnTo>
                        <a:pt x="200" y="83"/>
                      </a:lnTo>
                      <a:lnTo>
                        <a:pt x="202" y="85"/>
                      </a:lnTo>
                      <a:lnTo>
                        <a:pt x="207" y="85"/>
                      </a:lnTo>
                      <a:lnTo>
                        <a:pt x="207" y="80"/>
                      </a:lnTo>
                      <a:lnTo>
                        <a:pt x="204" y="74"/>
                      </a:lnTo>
                      <a:lnTo>
                        <a:pt x="205" y="71"/>
                      </a:lnTo>
                      <a:lnTo>
                        <a:pt x="211" y="64"/>
                      </a:lnTo>
                      <a:lnTo>
                        <a:pt x="213" y="58"/>
                      </a:lnTo>
                      <a:lnTo>
                        <a:pt x="232" y="25"/>
                      </a:lnTo>
                      <a:lnTo>
                        <a:pt x="243" y="16"/>
                      </a:lnTo>
                      <a:lnTo>
                        <a:pt x="250" y="14"/>
                      </a:lnTo>
                      <a:lnTo>
                        <a:pt x="253" y="9"/>
                      </a:lnTo>
                      <a:lnTo>
                        <a:pt x="271" y="2"/>
                      </a:lnTo>
                      <a:lnTo>
                        <a:pt x="278" y="4"/>
                      </a:lnTo>
                      <a:lnTo>
                        <a:pt x="282" y="0"/>
                      </a:lnTo>
                      <a:lnTo>
                        <a:pt x="289" y="0"/>
                      </a:lnTo>
                      <a:lnTo>
                        <a:pt x="294" y="0"/>
                      </a:lnTo>
                      <a:lnTo>
                        <a:pt x="298" y="4"/>
                      </a:lnTo>
                      <a:lnTo>
                        <a:pt x="305" y="7"/>
                      </a:lnTo>
                      <a:lnTo>
                        <a:pt x="308" y="5"/>
                      </a:lnTo>
                      <a:lnTo>
                        <a:pt x="314" y="5"/>
                      </a:lnTo>
                      <a:lnTo>
                        <a:pt x="314" y="7"/>
                      </a:lnTo>
                      <a:lnTo>
                        <a:pt x="317" y="14"/>
                      </a:lnTo>
                      <a:lnTo>
                        <a:pt x="317" y="32"/>
                      </a:lnTo>
                      <a:lnTo>
                        <a:pt x="310" y="35"/>
                      </a:lnTo>
                      <a:lnTo>
                        <a:pt x="308" y="43"/>
                      </a:lnTo>
                      <a:lnTo>
                        <a:pt x="291" y="66"/>
                      </a:lnTo>
                      <a:lnTo>
                        <a:pt x="294" y="80"/>
                      </a:lnTo>
                      <a:lnTo>
                        <a:pt x="291" y="89"/>
                      </a:lnTo>
                      <a:lnTo>
                        <a:pt x="291" y="99"/>
                      </a:lnTo>
                      <a:lnTo>
                        <a:pt x="285" y="106"/>
                      </a:lnTo>
                      <a:lnTo>
                        <a:pt x="283" y="119"/>
                      </a:lnTo>
                      <a:lnTo>
                        <a:pt x="285" y="124"/>
                      </a:lnTo>
                      <a:lnTo>
                        <a:pt x="282" y="136"/>
                      </a:lnTo>
                      <a:lnTo>
                        <a:pt x="283" y="138"/>
                      </a:lnTo>
                      <a:lnTo>
                        <a:pt x="282" y="151"/>
                      </a:lnTo>
                      <a:lnTo>
                        <a:pt x="276" y="152"/>
                      </a:lnTo>
                      <a:lnTo>
                        <a:pt x="273" y="167"/>
                      </a:lnTo>
                      <a:lnTo>
                        <a:pt x="273" y="181"/>
                      </a:lnTo>
                      <a:lnTo>
                        <a:pt x="260" y="202"/>
                      </a:lnTo>
                      <a:lnTo>
                        <a:pt x="252" y="206"/>
                      </a:lnTo>
                      <a:lnTo>
                        <a:pt x="244" y="211"/>
                      </a:lnTo>
                      <a:lnTo>
                        <a:pt x="239" y="209"/>
                      </a:lnTo>
                      <a:lnTo>
                        <a:pt x="230" y="216"/>
                      </a:lnTo>
                      <a:lnTo>
                        <a:pt x="221" y="225"/>
                      </a:lnTo>
                      <a:lnTo>
                        <a:pt x="221" y="234"/>
                      </a:lnTo>
                      <a:lnTo>
                        <a:pt x="209" y="248"/>
                      </a:lnTo>
                      <a:lnTo>
                        <a:pt x="204" y="257"/>
                      </a:lnTo>
                      <a:lnTo>
                        <a:pt x="205" y="268"/>
                      </a:lnTo>
                      <a:lnTo>
                        <a:pt x="209" y="271"/>
                      </a:lnTo>
                      <a:lnTo>
                        <a:pt x="207" y="294"/>
                      </a:lnTo>
                      <a:lnTo>
                        <a:pt x="204" y="305"/>
                      </a:lnTo>
                      <a:lnTo>
                        <a:pt x="204" y="312"/>
                      </a:lnTo>
                      <a:lnTo>
                        <a:pt x="198" y="324"/>
                      </a:lnTo>
                      <a:lnTo>
                        <a:pt x="190" y="326"/>
                      </a:lnTo>
                      <a:lnTo>
                        <a:pt x="184" y="330"/>
                      </a:lnTo>
                      <a:lnTo>
                        <a:pt x="181" y="337"/>
                      </a:lnTo>
                      <a:lnTo>
                        <a:pt x="163" y="353"/>
                      </a:lnTo>
                      <a:lnTo>
                        <a:pt x="158" y="361"/>
                      </a:lnTo>
                      <a:lnTo>
                        <a:pt x="149" y="365"/>
                      </a:lnTo>
                      <a:lnTo>
                        <a:pt x="138" y="360"/>
                      </a:lnTo>
                      <a:lnTo>
                        <a:pt x="136" y="353"/>
                      </a:lnTo>
                      <a:lnTo>
                        <a:pt x="135" y="351"/>
                      </a:lnTo>
                      <a:lnTo>
                        <a:pt x="138" y="342"/>
                      </a:lnTo>
                      <a:lnTo>
                        <a:pt x="140" y="338"/>
                      </a:lnTo>
                      <a:lnTo>
                        <a:pt x="126" y="342"/>
                      </a:lnTo>
                      <a:lnTo>
                        <a:pt x="119" y="349"/>
                      </a:lnTo>
                      <a:lnTo>
                        <a:pt x="112" y="347"/>
                      </a:lnTo>
                      <a:lnTo>
                        <a:pt x="106" y="349"/>
                      </a:lnTo>
                      <a:lnTo>
                        <a:pt x="106" y="358"/>
                      </a:lnTo>
                      <a:lnTo>
                        <a:pt x="101" y="363"/>
                      </a:lnTo>
                      <a:lnTo>
                        <a:pt x="94" y="363"/>
                      </a:lnTo>
                      <a:lnTo>
                        <a:pt x="94" y="360"/>
                      </a:lnTo>
                      <a:lnTo>
                        <a:pt x="92" y="354"/>
                      </a:lnTo>
                      <a:lnTo>
                        <a:pt x="85" y="358"/>
                      </a:lnTo>
                      <a:lnTo>
                        <a:pt x="80" y="358"/>
                      </a:lnTo>
                      <a:lnTo>
                        <a:pt x="80" y="358"/>
                      </a:lnTo>
                      <a:lnTo>
                        <a:pt x="80" y="351"/>
                      </a:lnTo>
                      <a:lnTo>
                        <a:pt x="74" y="345"/>
                      </a:lnTo>
                      <a:lnTo>
                        <a:pt x="71" y="342"/>
                      </a:lnTo>
                      <a:lnTo>
                        <a:pt x="67" y="342"/>
                      </a:lnTo>
                      <a:lnTo>
                        <a:pt x="60" y="349"/>
                      </a:lnTo>
                      <a:lnTo>
                        <a:pt x="55" y="349"/>
                      </a:lnTo>
                      <a:lnTo>
                        <a:pt x="51" y="356"/>
                      </a:lnTo>
                      <a:lnTo>
                        <a:pt x="46" y="360"/>
                      </a:lnTo>
                      <a:lnTo>
                        <a:pt x="42" y="360"/>
                      </a:lnTo>
                      <a:lnTo>
                        <a:pt x="39" y="370"/>
                      </a:lnTo>
                      <a:lnTo>
                        <a:pt x="34" y="372"/>
                      </a:lnTo>
                      <a:lnTo>
                        <a:pt x="30" y="367"/>
                      </a:lnTo>
                      <a:lnTo>
                        <a:pt x="30" y="360"/>
                      </a:lnTo>
                      <a:lnTo>
                        <a:pt x="23" y="353"/>
                      </a:lnTo>
                      <a:lnTo>
                        <a:pt x="23" y="344"/>
                      </a:lnTo>
                      <a:lnTo>
                        <a:pt x="11" y="337"/>
                      </a:lnTo>
                      <a:lnTo>
                        <a:pt x="7" y="331"/>
                      </a:lnTo>
                      <a:lnTo>
                        <a:pt x="0" y="32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6" name="Freeform 40">
                  <a:extLst>
                    <a:ext uri="{FF2B5EF4-FFF2-40B4-BE49-F238E27FC236}">
                      <a16:creationId xmlns:a16="http://schemas.microsoft.com/office/drawing/2014/main" id="{91F47D43-8223-D989-15DD-E954AA0ED9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45174" y="4244964"/>
                  <a:ext cx="73025" cy="98425"/>
                </a:xfrm>
                <a:custGeom>
                  <a:avLst/>
                  <a:gdLst>
                    <a:gd name="T0" fmla="*/ 46 w 46"/>
                    <a:gd name="T1" fmla="*/ 16 h 62"/>
                    <a:gd name="T2" fmla="*/ 46 w 46"/>
                    <a:gd name="T3" fmla="*/ 9 h 62"/>
                    <a:gd name="T4" fmla="*/ 40 w 46"/>
                    <a:gd name="T5" fmla="*/ 3 h 62"/>
                    <a:gd name="T6" fmla="*/ 37 w 46"/>
                    <a:gd name="T7" fmla="*/ 0 h 62"/>
                    <a:gd name="T8" fmla="*/ 33 w 46"/>
                    <a:gd name="T9" fmla="*/ 0 h 62"/>
                    <a:gd name="T10" fmla="*/ 26 w 46"/>
                    <a:gd name="T11" fmla="*/ 7 h 62"/>
                    <a:gd name="T12" fmla="*/ 21 w 46"/>
                    <a:gd name="T13" fmla="*/ 7 h 62"/>
                    <a:gd name="T14" fmla="*/ 17 w 46"/>
                    <a:gd name="T15" fmla="*/ 14 h 62"/>
                    <a:gd name="T16" fmla="*/ 12 w 46"/>
                    <a:gd name="T17" fmla="*/ 18 h 62"/>
                    <a:gd name="T18" fmla="*/ 8 w 46"/>
                    <a:gd name="T19" fmla="*/ 18 h 62"/>
                    <a:gd name="T20" fmla="*/ 5 w 46"/>
                    <a:gd name="T21" fmla="*/ 28 h 62"/>
                    <a:gd name="T22" fmla="*/ 0 w 46"/>
                    <a:gd name="T23" fmla="*/ 30 h 62"/>
                    <a:gd name="T24" fmla="*/ 5 w 46"/>
                    <a:gd name="T25" fmla="*/ 35 h 62"/>
                    <a:gd name="T26" fmla="*/ 8 w 46"/>
                    <a:gd name="T27" fmla="*/ 48 h 62"/>
                    <a:gd name="T28" fmla="*/ 3 w 46"/>
                    <a:gd name="T29" fmla="*/ 57 h 62"/>
                    <a:gd name="T30" fmla="*/ 5 w 46"/>
                    <a:gd name="T31" fmla="*/ 62 h 62"/>
                    <a:gd name="T32" fmla="*/ 14 w 46"/>
                    <a:gd name="T33" fmla="*/ 57 h 62"/>
                    <a:gd name="T34" fmla="*/ 21 w 46"/>
                    <a:gd name="T35" fmla="*/ 55 h 62"/>
                    <a:gd name="T36" fmla="*/ 26 w 46"/>
                    <a:gd name="T37" fmla="*/ 51 h 62"/>
                    <a:gd name="T38" fmla="*/ 24 w 46"/>
                    <a:gd name="T39" fmla="*/ 35 h 62"/>
                    <a:gd name="T40" fmla="*/ 28 w 46"/>
                    <a:gd name="T41" fmla="*/ 32 h 62"/>
                    <a:gd name="T42" fmla="*/ 37 w 46"/>
                    <a:gd name="T43" fmla="*/ 23 h 62"/>
                    <a:gd name="T44" fmla="*/ 46 w 46"/>
                    <a:gd name="T45" fmla="*/ 16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46" h="62">
                      <a:moveTo>
                        <a:pt x="46" y="16"/>
                      </a:moveTo>
                      <a:lnTo>
                        <a:pt x="46" y="9"/>
                      </a:lnTo>
                      <a:lnTo>
                        <a:pt x="40" y="3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26" y="7"/>
                      </a:lnTo>
                      <a:lnTo>
                        <a:pt x="21" y="7"/>
                      </a:lnTo>
                      <a:lnTo>
                        <a:pt x="17" y="14"/>
                      </a:lnTo>
                      <a:lnTo>
                        <a:pt x="12" y="18"/>
                      </a:lnTo>
                      <a:lnTo>
                        <a:pt x="8" y="18"/>
                      </a:lnTo>
                      <a:lnTo>
                        <a:pt x="5" y="28"/>
                      </a:lnTo>
                      <a:lnTo>
                        <a:pt x="0" y="30"/>
                      </a:lnTo>
                      <a:lnTo>
                        <a:pt x="5" y="35"/>
                      </a:lnTo>
                      <a:lnTo>
                        <a:pt x="8" y="48"/>
                      </a:lnTo>
                      <a:lnTo>
                        <a:pt x="3" y="57"/>
                      </a:lnTo>
                      <a:lnTo>
                        <a:pt x="5" y="62"/>
                      </a:lnTo>
                      <a:lnTo>
                        <a:pt x="14" y="57"/>
                      </a:lnTo>
                      <a:lnTo>
                        <a:pt x="21" y="55"/>
                      </a:lnTo>
                      <a:lnTo>
                        <a:pt x="26" y="51"/>
                      </a:lnTo>
                      <a:lnTo>
                        <a:pt x="24" y="35"/>
                      </a:lnTo>
                      <a:lnTo>
                        <a:pt x="28" y="32"/>
                      </a:lnTo>
                      <a:lnTo>
                        <a:pt x="37" y="23"/>
                      </a:lnTo>
                      <a:lnTo>
                        <a:pt x="46" y="16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7" name="Freeform 41">
                  <a:extLst>
                    <a:ext uri="{FF2B5EF4-FFF2-40B4-BE49-F238E27FC236}">
                      <a16:creationId xmlns:a16="http://schemas.microsoft.com/office/drawing/2014/main" id="{4E995A1B-4BCD-6580-2568-06E98EC1D7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89764" y="4014778"/>
                  <a:ext cx="736601" cy="752472"/>
                </a:xfrm>
                <a:custGeom>
                  <a:avLst/>
                  <a:gdLst>
                    <a:gd name="T0" fmla="*/ 58 w 464"/>
                    <a:gd name="T1" fmla="*/ 9 h 474"/>
                    <a:gd name="T2" fmla="*/ 196 w 464"/>
                    <a:gd name="T3" fmla="*/ 0 h 474"/>
                    <a:gd name="T4" fmla="*/ 354 w 464"/>
                    <a:gd name="T5" fmla="*/ 106 h 474"/>
                    <a:gd name="T6" fmla="*/ 411 w 464"/>
                    <a:gd name="T7" fmla="*/ 152 h 474"/>
                    <a:gd name="T8" fmla="*/ 412 w 464"/>
                    <a:gd name="T9" fmla="*/ 161 h 474"/>
                    <a:gd name="T10" fmla="*/ 395 w 464"/>
                    <a:gd name="T11" fmla="*/ 210 h 474"/>
                    <a:gd name="T12" fmla="*/ 414 w 464"/>
                    <a:gd name="T13" fmla="*/ 239 h 474"/>
                    <a:gd name="T14" fmla="*/ 423 w 464"/>
                    <a:gd name="T15" fmla="*/ 258 h 474"/>
                    <a:gd name="T16" fmla="*/ 412 w 464"/>
                    <a:gd name="T17" fmla="*/ 271 h 474"/>
                    <a:gd name="T18" fmla="*/ 418 w 464"/>
                    <a:gd name="T19" fmla="*/ 303 h 474"/>
                    <a:gd name="T20" fmla="*/ 419 w 464"/>
                    <a:gd name="T21" fmla="*/ 327 h 474"/>
                    <a:gd name="T22" fmla="*/ 421 w 464"/>
                    <a:gd name="T23" fmla="*/ 340 h 474"/>
                    <a:gd name="T24" fmla="*/ 425 w 464"/>
                    <a:gd name="T25" fmla="*/ 356 h 474"/>
                    <a:gd name="T26" fmla="*/ 443 w 464"/>
                    <a:gd name="T27" fmla="*/ 389 h 474"/>
                    <a:gd name="T28" fmla="*/ 462 w 464"/>
                    <a:gd name="T29" fmla="*/ 402 h 474"/>
                    <a:gd name="T30" fmla="*/ 458 w 464"/>
                    <a:gd name="T31" fmla="*/ 407 h 474"/>
                    <a:gd name="T32" fmla="*/ 439 w 464"/>
                    <a:gd name="T33" fmla="*/ 418 h 474"/>
                    <a:gd name="T34" fmla="*/ 416 w 464"/>
                    <a:gd name="T35" fmla="*/ 425 h 474"/>
                    <a:gd name="T36" fmla="*/ 400 w 464"/>
                    <a:gd name="T37" fmla="*/ 428 h 474"/>
                    <a:gd name="T38" fmla="*/ 373 w 464"/>
                    <a:gd name="T39" fmla="*/ 437 h 474"/>
                    <a:gd name="T40" fmla="*/ 354 w 464"/>
                    <a:gd name="T41" fmla="*/ 432 h 474"/>
                    <a:gd name="T42" fmla="*/ 350 w 464"/>
                    <a:gd name="T43" fmla="*/ 446 h 474"/>
                    <a:gd name="T44" fmla="*/ 326 w 464"/>
                    <a:gd name="T45" fmla="*/ 446 h 474"/>
                    <a:gd name="T46" fmla="*/ 315 w 464"/>
                    <a:gd name="T47" fmla="*/ 442 h 474"/>
                    <a:gd name="T48" fmla="*/ 297 w 464"/>
                    <a:gd name="T49" fmla="*/ 451 h 474"/>
                    <a:gd name="T50" fmla="*/ 283 w 464"/>
                    <a:gd name="T51" fmla="*/ 448 h 474"/>
                    <a:gd name="T52" fmla="*/ 267 w 464"/>
                    <a:gd name="T53" fmla="*/ 442 h 474"/>
                    <a:gd name="T54" fmla="*/ 258 w 464"/>
                    <a:gd name="T55" fmla="*/ 442 h 474"/>
                    <a:gd name="T56" fmla="*/ 205 w 464"/>
                    <a:gd name="T57" fmla="*/ 474 h 474"/>
                    <a:gd name="T58" fmla="*/ 189 w 464"/>
                    <a:gd name="T59" fmla="*/ 373 h 474"/>
                    <a:gd name="T60" fmla="*/ 179 w 464"/>
                    <a:gd name="T61" fmla="*/ 363 h 474"/>
                    <a:gd name="T62" fmla="*/ 168 w 464"/>
                    <a:gd name="T63" fmla="*/ 359 h 474"/>
                    <a:gd name="T64" fmla="*/ 157 w 464"/>
                    <a:gd name="T65" fmla="*/ 357 h 474"/>
                    <a:gd name="T66" fmla="*/ 150 w 464"/>
                    <a:gd name="T67" fmla="*/ 354 h 474"/>
                    <a:gd name="T68" fmla="*/ 140 w 464"/>
                    <a:gd name="T69" fmla="*/ 345 h 474"/>
                    <a:gd name="T70" fmla="*/ 127 w 464"/>
                    <a:gd name="T71" fmla="*/ 334 h 474"/>
                    <a:gd name="T72" fmla="*/ 97 w 464"/>
                    <a:gd name="T73" fmla="*/ 327 h 474"/>
                    <a:gd name="T74" fmla="*/ 85 w 464"/>
                    <a:gd name="T75" fmla="*/ 315 h 474"/>
                    <a:gd name="T76" fmla="*/ 69 w 464"/>
                    <a:gd name="T77" fmla="*/ 313 h 474"/>
                    <a:gd name="T78" fmla="*/ 16 w 464"/>
                    <a:gd name="T79" fmla="*/ 233 h 474"/>
                    <a:gd name="T80" fmla="*/ 21 w 464"/>
                    <a:gd name="T81" fmla="*/ 150 h 474"/>
                    <a:gd name="T82" fmla="*/ 53 w 464"/>
                    <a:gd name="T83" fmla="*/ 124 h 474"/>
                    <a:gd name="T84" fmla="*/ 69 w 464"/>
                    <a:gd name="T85" fmla="*/ 108 h 474"/>
                    <a:gd name="T86" fmla="*/ 63 w 464"/>
                    <a:gd name="T87" fmla="*/ 88 h 474"/>
                    <a:gd name="T88" fmla="*/ 55 w 464"/>
                    <a:gd name="T89" fmla="*/ 74 h 474"/>
                    <a:gd name="T90" fmla="*/ 55 w 464"/>
                    <a:gd name="T91" fmla="*/ 69 h 474"/>
                    <a:gd name="T92" fmla="*/ 67 w 464"/>
                    <a:gd name="T93" fmla="*/ 63 h 474"/>
                    <a:gd name="T94" fmla="*/ 69 w 464"/>
                    <a:gd name="T95" fmla="*/ 44 h 474"/>
                    <a:gd name="T96" fmla="*/ 62 w 464"/>
                    <a:gd name="T97" fmla="*/ 23 h 4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64" h="474">
                      <a:moveTo>
                        <a:pt x="51" y="10"/>
                      </a:moveTo>
                      <a:lnTo>
                        <a:pt x="55" y="7"/>
                      </a:lnTo>
                      <a:lnTo>
                        <a:pt x="58" y="9"/>
                      </a:lnTo>
                      <a:lnTo>
                        <a:pt x="62" y="5"/>
                      </a:lnTo>
                      <a:lnTo>
                        <a:pt x="111" y="5"/>
                      </a:lnTo>
                      <a:lnTo>
                        <a:pt x="196" y="0"/>
                      </a:lnTo>
                      <a:lnTo>
                        <a:pt x="349" y="88"/>
                      </a:lnTo>
                      <a:lnTo>
                        <a:pt x="357" y="102"/>
                      </a:lnTo>
                      <a:lnTo>
                        <a:pt x="354" y="106"/>
                      </a:lnTo>
                      <a:lnTo>
                        <a:pt x="356" y="111"/>
                      </a:lnTo>
                      <a:lnTo>
                        <a:pt x="359" y="117"/>
                      </a:lnTo>
                      <a:lnTo>
                        <a:pt x="411" y="152"/>
                      </a:lnTo>
                      <a:lnTo>
                        <a:pt x="409" y="152"/>
                      </a:lnTo>
                      <a:lnTo>
                        <a:pt x="412" y="154"/>
                      </a:lnTo>
                      <a:lnTo>
                        <a:pt x="412" y="161"/>
                      </a:lnTo>
                      <a:lnTo>
                        <a:pt x="409" y="164"/>
                      </a:lnTo>
                      <a:lnTo>
                        <a:pt x="400" y="193"/>
                      </a:lnTo>
                      <a:lnTo>
                        <a:pt x="395" y="210"/>
                      </a:lnTo>
                      <a:lnTo>
                        <a:pt x="395" y="219"/>
                      </a:lnTo>
                      <a:lnTo>
                        <a:pt x="405" y="230"/>
                      </a:lnTo>
                      <a:lnTo>
                        <a:pt x="414" y="239"/>
                      </a:lnTo>
                      <a:lnTo>
                        <a:pt x="419" y="239"/>
                      </a:lnTo>
                      <a:lnTo>
                        <a:pt x="427" y="253"/>
                      </a:lnTo>
                      <a:lnTo>
                        <a:pt x="423" y="258"/>
                      </a:lnTo>
                      <a:lnTo>
                        <a:pt x="419" y="258"/>
                      </a:lnTo>
                      <a:lnTo>
                        <a:pt x="414" y="260"/>
                      </a:lnTo>
                      <a:lnTo>
                        <a:pt x="412" y="271"/>
                      </a:lnTo>
                      <a:lnTo>
                        <a:pt x="412" y="287"/>
                      </a:lnTo>
                      <a:lnTo>
                        <a:pt x="419" y="292"/>
                      </a:lnTo>
                      <a:lnTo>
                        <a:pt x="418" y="303"/>
                      </a:lnTo>
                      <a:lnTo>
                        <a:pt x="412" y="306"/>
                      </a:lnTo>
                      <a:lnTo>
                        <a:pt x="414" y="315"/>
                      </a:lnTo>
                      <a:lnTo>
                        <a:pt x="419" y="327"/>
                      </a:lnTo>
                      <a:lnTo>
                        <a:pt x="416" y="327"/>
                      </a:lnTo>
                      <a:lnTo>
                        <a:pt x="419" y="333"/>
                      </a:lnTo>
                      <a:lnTo>
                        <a:pt x="421" y="340"/>
                      </a:lnTo>
                      <a:lnTo>
                        <a:pt x="425" y="345"/>
                      </a:lnTo>
                      <a:lnTo>
                        <a:pt x="421" y="352"/>
                      </a:lnTo>
                      <a:lnTo>
                        <a:pt x="425" y="356"/>
                      </a:lnTo>
                      <a:lnTo>
                        <a:pt x="430" y="368"/>
                      </a:lnTo>
                      <a:lnTo>
                        <a:pt x="428" y="375"/>
                      </a:lnTo>
                      <a:lnTo>
                        <a:pt x="443" y="389"/>
                      </a:lnTo>
                      <a:lnTo>
                        <a:pt x="453" y="391"/>
                      </a:lnTo>
                      <a:lnTo>
                        <a:pt x="462" y="398"/>
                      </a:lnTo>
                      <a:lnTo>
                        <a:pt x="462" y="402"/>
                      </a:lnTo>
                      <a:lnTo>
                        <a:pt x="464" y="402"/>
                      </a:lnTo>
                      <a:lnTo>
                        <a:pt x="462" y="404"/>
                      </a:lnTo>
                      <a:lnTo>
                        <a:pt x="458" y="407"/>
                      </a:lnTo>
                      <a:lnTo>
                        <a:pt x="451" y="405"/>
                      </a:lnTo>
                      <a:lnTo>
                        <a:pt x="446" y="412"/>
                      </a:lnTo>
                      <a:lnTo>
                        <a:pt x="439" y="418"/>
                      </a:lnTo>
                      <a:lnTo>
                        <a:pt x="432" y="418"/>
                      </a:lnTo>
                      <a:lnTo>
                        <a:pt x="425" y="425"/>
                      </a:lnTo>
                      <a:lnTo>
                        <a:pt x="416" y="425"/>
                      </a:lnTo>
                      <a:lnTo>
                        <a:pt x="412" y="428"/>
                      </a:lnTo>
                      <a:lnTo>
                        <a:pt x="407" y="432"/>
                      </a:lnTo>
                      <a:lnTo>
                        <a:pt x="400" y="428"/>
                      </a:lnTo>
                      <a:lnTo>
                        <a:pt x="384" y="434"/>
                      </a:lnTo>
                      <a:lnTo>
                        <a:pt x="381" y="437"/>
                      </a:lnTo>
                      <a:lnTo>
                        <a:pt x="373" y="437"/>
                      </a:lnTo>
                      <a:lnTo>
                        <a:pt x="368" y="434"/>
                      </a:lnTo>
                      <a:lnTo>
                        <a:pt x="363" y="435"/>
                      </a:lnTo>
                      <a:lnTo>
                        <a:pt x="354" y="432"/>
                      </a:lnTo>
                      <a:lnTo>
                        <a:pt x="352" y="435"/>
                      </a:lnTo>
                      <a:lnTo>
                        <a:pt x="354" y="439"/>
                      </a:lnTo>
                      <a:lnTo>
                        <a:pt x="350" y="446"/>
                      </a:lnTo>
                      <a:lnTo>
                        <a:pt x="340" y="446"/>
                      </a:lnTo>
                      <a:lnTo>
                        <a:pt x="331" y="450"/>
                      </a:lnTo>
                      <a:lnTo>
                        <a:pt x="326" y="446"/>
                      </a:lnTo>
                      <a:lnTo>
                        <a:pt x="320" y="446"/>
                      </a:lnTo>
                      <a:lnTo>
                        <a:pt x="320" y="444"/>
                      </a:lnTo>
                      <a:lnTo>
                        <a:pt x="315" y="442"/>
                      </a:lnTo>
                      <a:lnTo>
                        <a:pt x="311" y="444"/>
                      </a:lnTo>
                      <a:lnTo>
                        <a:pt x="308" y="446"/>
                      </a:lnTo>
                      <a:lnTo>
                        <a:pt x="297" y="451"/>
                      </a:lnTo>
                      <a:lnTo>
                        <a:pt x="287" y="455"/>
                      </a:lnTo>
                      <a:lnTo>
                        <a:pt x="287" y="451"/>
                      </a:lnTo>
                      <a:lnTo>
                        <a:pt x="283" y="448"/>
                      </a:lnTo>
                      <a:lnTo>
                        <a:pt x="278" y="446"/>
                      </a:lnTo>
                      <a:lnTo>
                        <a:pt x="272" y="442"/>
                      </a:lnTo>
                      <a:lnTo>
                        <a:pt x="267" y="442"/>
                      </a:lnTo>
                      <a:lnTo>
                        <a:pt x="267" y="439"/>
                      </a:lnTo>
                      <a:lnTo>
                        <a:pt x="260" y="439"/>
                      </a:lnTo>
                      <a:lnTo>
                        <a:pt x="258" y="442"/>
                      </a:lnTo>
                      <a:lnTo>
                        <a:pt x="253" y="444"/>
                      </a:lnTo>
                      <a:lnTo>
                        <a:pt x="212" y="444"/>
                      </a:lnTo>
                      <a:lnTo>
                        <a:pt x="205" y="474"/>
                      </a:lnTo>
                      <a:lnTo>
                        <a:pt x="205" y="404"/>
                      </a:lnTo>
                      <a:lnTo>
                        <a:pt x="203" y="388"/>
                      </a:lnTo>
                      <a:lnTo>
                        <a:pt x="189" y="373"/>
                      </a:lnTo>
                      <a:lnTo>
                        <a:pt x="184" y="368"/>
                      </a:lnTo>
                      <a:lnTo>
                        <a:pt x="180" y="366"/>
                      </a:lnTo>
                      <a:lnTo>
                        <a:pt x="179" y="363"/>
                      </a:lnTo>
                      <a:lnTo>
                        <a:pt x="175" y="363"/>
                      </a:lnTo>
                      <a:lnTo>
                        <a:pt x="173" y="361"/>
                      </a:lnTo>
                      <a:lnTo>
                        <a:pt x="168" y="359"/>
                      </a:lnTo>
                      <a:lnTo>
                        <a:pt x="166" y="361"/>
                      </a:lnTo>
                      <a:lnTo>
                        <a:pt x="163" y="359"/>
                      </a:lnTo>
                      <a:lnTo>
                        <a:pt x="157" y="357"/>
                      </a:lnTo>
                      <a:lnTo>
                        <a:pt x="156" y="354"/>
                      </a:lnTo>
                      <a:lnTo>
                        <a:pt x="152" y="352"/>
                      </a:lnTo>
                      <a:lnTo>
                        <a:pt x="150" y="354"/>
                      </a:lnTo>
                      <a:lnTo>
                        <a:pt x="150" y="354"/>
                      </a:lnTo>
                      <a:lnTo>
                        <a:pt x="147" y="354"/>
                      </a:lnTo>
                      <a:lnTo>
                        <a:pt x="140" y="345"/>
                      </a:lnTo>
                      <a:lnTo>
                        <a:pt x="136" y="340"/>
                      </a:lnTo>
                      <a:lnTo>
                        <a:pt x="131" y="338"/>
                      </a:lnTo>
                      <a:lnTo>
                        <a:pt x="127" y="334"/>
                      </a:lnTo>
                      <a:lnTo>
                        <a:pt x="122" y="334"/>
                      </a:lnTo>
                      <a:lnTo>
                        <a:pt x="104" y="327"/>
                      </a:lnTo>
                      <a:lnTo>
                        <a:pt x="97" y="327"/>
                      </a:lnTo>
                      <a:lnTo>
                        <a:pt x="92" y="324"/>
                      </a:lnTo>
                      <a:lnTo>
                        <a:pt x="90" y="320"/>
                      </a:lnTo>
                      <a:lnTo>
                        <a:pt x="85" y="315"/>
                      </a:lnTo>
                      <a:lnTo>
                        <a:pt x="81" y="315"/>
                      </a:lnTo>
                      <a:lnTo>
                        <a:pt x="74" y="313"/>
                      </a:lnTo>
                      <a:lnTo>
                        <a:pt x="69" y="313"/>
                      </a:lnTo>
                      <a:lnTo>
                        <a:pt x="55" y="306"/>
                      </a:lnTo>
                      <a:lnTo>
                        <a:pt x="44" y="274"/>
                      </a:lnTo>
                      <a:lnTo>
                        <a:pt x="16" y="233"/>
                      </a:lnTo>
                      <a:lnTo>
                        <a:pt x="5" y="184"/>
                      </a:lnTo>
                      <a:lnTo>
                        <a:pt x="0" y="150"/>
                      </a:lnTo>
                      <a:lnTo>
                        <a:pt x="21" y="150"/>
                      </a:lnTo>
                      <a:lnTo>
                        <a:pt x="35" y="147"/>
                      </a:lnTo>
                      <a:lnTo>
                        <a:pt x="42" y="136"/>
                      </a:lnTo>
                      <a:lnTo>
                        <a:pt x="53" y="124"/>
                      </a:lnTo>
                      <a:lnTo>
                        <a:pt x="58" y="120"/>
                      </a:lnTo>
                      <a:lnTo>
                        <a:pt x="63" y="115"/>
                      </a:lnTo>
                      <a:lnTo>
                        <a:pt x="69" y="108"/>
                      </a:lnTo>
                      <a:lnTo>
                        <a:pt x="70" y="102"/>
                      </a:lnTo>
                      <a:lnTo>
                        <a:pt x="69" y="90"/>
                      </a:lnTo>
                      <a:lnTo>
                        <a:pt x="63" y="88"/>
                      </a:lnTo>
                      <a:lnTo>
                        <a:pt x="62" y="83"/>
                      </a:lnTo>
                      <a:lnTo>
                        <a:pt x="55" y="79"/>
                      </a:lnTo>
                      <a:lnTo>
                        <a:pt x="55" y="74"/>
                      </a:lnTo>
                      <a:lnTo>
                        <a:pt x="53" y="71"/>
                      </a:lnTo>
                      <a:lnTo>
                        <a:pt x="53" y="67"/>
                      </a:lnTo>
                      <a:lnTo>
                        <a:pt x="55" y="69"/>
                      </a:lnTo>
                      <a:lnTo>
                        <a:pt x="60" y="71"/>
                      </a:lnTo>
                      <a:lnTo>
                        <a:pt x="63" y="67"/>
                      </a:lnTo>
                      <a:lnTo>
                        <a:pt x="67" y="63"/>
                      </a:lnTo>
                      <a:lnTo>
                        <a:pt x="69" y="58"/>
                      </a:lnTo>
                      <a:lnTo>
                        <a:pt x="70" y="53"/>
                      </a:lnTo>
                      <a:lnTo>
                        <a:pt x="69" y="44"/>
                      </a:lnTo>
                      <a:lnTo>
                        <a:pt x="65" y="33"/>
                      </a:lnTo>
                      <a:lnTo>
                        <a:pt x="62" y="26"/>
                      </a:lnTo>
                      <a:lnTo>
                        <a:pt x="62" y="23"/>
                      </a:lnTo>
                      <a:lnTo>
                        <a:pt x="56" y="17"/>
                      </a:lnTo>
                      <a:lnTo>
                        <a:pt x="51" y="1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8" name="Freeform 42">
                  <a:extLst>
                    <a:ext uri="{FF2B5EF4-FFF2-40B4-BE49-F238E27FC236}">
                      <a16:creationId xmlns:a16="http://schemas.microsoft.com/office/drawing/2014/main" id="{87F8D773-1D73-31AA-4989-4658A74C63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9127" y="4029066"/>
                  <a:ext cx="131764" cy="111125"/>
                </a:xfrm>
                <a:custGeom>
                  <a:avLst/>
                  <a:gdLst>
                    <a:gd name="T0" fmla="*/ 23 w 83"/>
                    <a:gd name="T1" fmla="*/ 10 h 70"/>
                    <a:gd name="T2" fmla="*/ 25 w 83"/>
                    <a:gd name="T3" fmla="*/ 10 h 70"/>
                    <a:gd name="T4" fmla="*/ 32 w 83"/>
                    <a:gd name="T5" fmla="*/ 10 h 70"/>
                    <a:gd name="T6" fmla="*/ 39 w 83"/>
                    <a:gd name="T7" fmla="*/ 5 h 70"/>
                    <a:gd name="T8" fmla="*/ 45 w 83"/>
                    <a:gd name="T9" fmla="*/ 7 h 70"/>
                    <a:gd name="T10" fmla="*/ 48 w 83"/>
                    <a:gd name="T11" fmla="*/ 10 h 70"/>
                    <a:gd name="T12" fmla="*/ 53 w 83"/>
                    <a:gd name="T13" fmla="*/ 10 h 70"/>
                    <a:gd name="T14" fmla="*/ 57 w 83"/>
                    <a:gd name="T15" fmla="*/ 7 h 70"/>
                    <a:gd name="T16" fmla="*/ 57 w 83"/>
                    <a:gd name="T17" fmla="*/ 1 h 70"/>
                    <a:gd name="T18" fmla="*/ 64 w 83"/>
                    <a:gd name="T19" fmla="*/ 0 h 70"/>
                    <a:gd name="T20" fmla="*/ 69 w 83"/>
                    <a:gd name="T21" fmla="*/ 8 h 70"/>
                    <a:gd name="T22" fmla="*/ 75 w 83"/>
                    <a:gd name="T23" fmla="*/ 14 h 70"/>
                    <a:gd name="T24" fmla="*/ 75 w 83"/>
                    <a:gd name="T25" fmla="*/ 17 h 70"/>
                    <a:gd name="T26" fmla="*/ 78 w 83"/>
                    <a:gd name="T27" fmla="*/ 24 h 70"/>
                    <a:gd name="T28" fmla="*/ 82 w 83"/>
                    <a:gd name="T29" fmla="*/ 35 h 70"/>
                    <a:gd name="T30" fmla="*/ 83 w 83"/>
                    <a:gd name="T31" fmla="*/ 44 h 70"/>
                    <a:gd name="T32" fmla="*/ 82 w 83"/>
                    <a:gd name="T33" fmla="*/ 49 h 70"/>
                    <a:gd name="T34" fmla="*/ 80 w 83"/>
                    <a:gd name="T35" fmla="*/ 54 h 70"/>
                    <a:gd name="T36" fmla="*/ 76 w 83"/>
                    <a:gd name="T37" fmla="*/ 58 h 70"/>
                    <a:gd name="T38" fmla="*/ 73 w 83"/>
                    <a:gd name="T39" fmla="*/ 62 h 70"/>
                    <a:gd name="T40" fmla="*/ 68 w 83"/>
                    <a:gd name="T41" fmla="*/ 60 h 70"/>
                    <a:gd name="T42" fmla="*/ 66 w 83"/>
                    <a:gd name="T43" fmla="*/ 58 h 70"/>
                    <a:gd name="T44" fmla="*/ 66 w 83"/>
                    <a:gd name="T45" fmla="*/ 56 h 70"/>
                    <a:gd name="T46" fmla="*/ 60 w 83"/>
                    <a:gd name="T47" fmla="*/ 53 h 70"/>
                    <a:gd name="T48" fmla="*/ 59 w 83"/>
                    <a:gd name="T49" fmla="*/ 47 h 70"/>
                    <a:gd name="T50" fmla="*/ 55 w 83"/>
                    <a:gd name="T51" fmla="*/ 46 h 70"/>
                    <a:gd name="T52" fmla="*/ 52 w 83"/>
                    <a:gd name="T53" fmla="*/ 42 h 70"/>
                    <a:gd name="T54" fmla="*/ 46 w 83"/>
                    <a:gd name="T55" fmla="*/ 42 h 70"/>
                    <a:gd name="T56" fmla="*/ 48 w 83"/>
                    <a:gd name="T57" fmla="*/ 51 h 70"/>
                    <a:gd name="T58" fmla="*/ 43 w 83"/>
                    <a:gd name="T59" fmla="*/ 63 h 70"/>
                    <a:gd name="T60" fmla="*/ 43 w 83"/>
                    <a:gd name="T61" fmla="*/ 67 h 70"/>
                    <a:gd name="T62" fmla="*/ 34 w 83"/>
                    <a:gd name="T63" fmla="*/ 70 h 70"/>
                    <a:gd name="T64" fmla="*/ 30 w 83"/>
                    <a:gd name="T65" fmla="*/ 65 h 70"/>
                    <a:gd name="T66" fmla="*/ 27 w 83"/>
                    <a:gd name="T67" fmla="*/ 67 h 70"/>
                    <a:gd name="T68" fmla="*/ 25 w 83"/>
                    <a:gd name="T69" fmla="*/ 69 h 70"/>
                    <a:gd name="T70" fmla="*/ 18 w 83"/>
                    <a:gd name="T71" fmla="*/ 67 h 70"/>
                    <a:gd name="T72" fmla="*/ 14 w 83"/>
                    <a:gd name="T73" fmla="*/ 60 h 70"/>
                    <a:gd name="T74" fmla="*/ 11 w 83"/>
                    <a:gd name="T75" fmla="*/ 58 h 70"/>
                    <a:gd name="T76" fmla="*/ 4 w 83"/>
                    <a:gd name="T77" fmla="*/ 58 h 70"/>
                    <a:gd name="T78" fmla="*/ 0 w 83"/>
                    <a:gd name="T79" fmla="*/ 60 h 70"/>
                    <a:gd name="T80" fmla="*/ 0 w 83"/>
                    <a:gd name="T81" fmla="*/ 53 h 70"/>
                    <a:gd name="T82" fmla="*/ 7 w 83"/>
                    <a:gd name="T83" fmla="*/ 28 h 70"/>
                    <a:gd name="T84" fmla="*/ 14 w 83"/>
                    <a:gd name="T85" fmla="*/ 19 h 70"/>
                    <a:gd name="T86" fmla="*/ 23 w 83"/>
                    <a:gd name="T87" fmla="*/ 1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83" h="70">
                      <a:moveTo>
                        <a:pt x="23" y="10"/>
                      </a:moveTo>
                      <a:lnTo>
                        <a:pt x="25" y="10"/>
                      </a:lnTo>
                      <a:lnTo>
                        <a:pt x="32" y="10"/>
                      </a:lnTo>
                      <a:lnTo>
                        <a:pt x="39" y="5"/>
                      </a:lnTo>
                      <a:lnTo>
                        <a:pt x="45" y="7"/>
                      </a:lnTo>
                      <a:lnTo>
                        <a:pt x="48" y="10"/>
                      </a:lnTo>
                      <a:lnTo>
                        <a:pt x="53" y="10"/>
                      </a:lnTo>
                      <a:lnTo>
                        <a:pt x="57" y="7"/>
                      </a:lnTo>
                      <a:lnTo>
                        <a:pt x="57" y="1"/>
                      </a:lnTo>
                      <a:lnTo>
                        <a:pt x="64" y="0"/>
                      </a:lnTo>
                      <a:lnTo>
                        <a:pt x="69" y="8"/>
                      </a:lnTo>
                      <a:lnTo>
                        <a:pt x="75" y="14"/>
                      </a:lnTo>
                      <a:lnTo>
                        <a:pt x="75" y="17"/>
                      </a:lnTo>
                      <a:lnTo>
                        <a:pt x="78" y="24"/>
                      </a:lnTo>
                      <a:lnTo>
                        <a:pt x="82" y="35"/>
                      </a:lnTo>
                      <a:lnTo>
                        <a:pt x="83" y="44"/>
                      </a:lnTo>
                      <a:lnTo>
                        <a:pt x="82" y="49"/>
                      </a:lnTo>
                      <a:lnTo>
                        <a:pt x="80" y="54"/>
                      </a:lnTo>
                      <a:lnTo>
                        <a:pt x="76" y="58"/>
                      </a:lnTo>
                      <a:lnTo>
                        <a:pt x="73" y="62"/>
                      </a:lnTo>
                      <a:lnTo>
                        <a:pt x="68" y="60"/>
                      </a:lnTo>
                      <a:lnTo>
                        <a:pt x="66" y="58"/>
                      </a:lnTo>
                      <a:lnTo>
                        <a:pt x="66" y="56"/>
                      </a:lnTo>
                      <a:lnTo>
                        <a:pt x="60" y="53"/>
                      </a:lnTo>
                      <a:lnTo>
                        <a:pt x="59" y="47"/>
                      </a:lnTo>
                      <a:lnTo>
                        <a:pt x="55" y="46"/>
                      </a:lnTo>
                      <a:lnTo>
                        <a:pt x="52" y="42"/>
                      </a:lnTo>
                      <a:lnTo>
                        <a:pt x="46" y="42"/>
                      </a:lnTo>
                      <a:lnTo>
                        <a:pt x="48" y="51"/>
                      </a:lnTo>
                      <a:lnTo>
                        <a:pt x="43" y="63"/>
                      </a:lnTo>
                      <a:lnTo>
                        <a:pt x="43" y="67"/>
                      </a:lnTo>
                      <a:lnTo>
                        <a:pt x="34" y="70"/>
                      </a:lnTo>
                      <a:lnTo>
                        <a:pt x="30" y="65"/>
                      </a:lnTo>
                      <a:lnTo>
                        <a:pt x="27" y="67"/>
                      </a:lnTo>
                      <a:lnTo>
                        <a:pt x="25" y="69"/>
                      </a:lnTo>
                      <a:lnTo>
                        <a:pt x="18" y="67"/>
                      </a:lnTo>
                      <a:lnTo>
                        <a:pt x="14" y="60"/>
                      </a:lnTo>
                      <a:lnTo>
                        <a:pt x="11" y="58"/>
                      </a:lnTo>
                      <a:lnTo>
                        <a:pt x="4" y="58"/>
                      </a:lnTo>
                      <a:lnTo>
                        <a:pt x="0" y="60"/>
                      </a:lnTo>
                      <a:lnTo>
                        <a:pt x="0" y="53"/>
                      </a:lnTo>
                      <a:lnTo>
                        <a:pt x="7" y="28"/>
                      </a:lnTo>
                      <a:lnTo>
                        <a:pt x="14" y="19"/>
                      </a:lnTo>
                      <a:lnTo>
                        <a:pt x="23" y="1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79" name="Freeform 43">
                  <a:extLst>
                    <a:ext uri="{FF2B5EF4-FFF2-40B4-BE49-F238E27FC236}">
                      <a16:creationId xmlns:a16="http://schemas.microsoft.com/office/drawing/2014/main" id="{C5BC17B3-CC02-EBDF-431B-59EE918EF4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5952" y="4095739"/>
                  <a:ext cx="134938" cy="157162"/>
                </a:xfrm>
                <a:custGeom>
                  <a:avLst/>
                  <a:gdLst>
                    <a:gd name="T0" fmla="*/ 15 w 85"/>
                    <a:gd name="T1" fmla="*/ 99 h 99"/>
                    <a:gd name="T2" fmla="*/ 36 w 85"/>
                    <a:gd name="T3" fmla="*/ 99 h 99"/>
                    <a:gd name="T4" fmla="*/ 50 w 85"/>
                    <a:gd name="T5" fmla="*/ 96 h 99"/>
                    <a:gd name="T6" fmla="*/ 57 w 85"/>
                    <a:gd name="T7" fmla="*/ 85 h 99"/>
                    <a:gd name="T8" fmla="*/ 68 w 85"/>
                    <a:gd name="T9" fmla="*/ 73 h 99"/>
                    <a:gd name="T10" fmla="*/ 73 w 85"/>
                    <a:gd name="T11" fmla="*/ 69 h 99"/>
                    <a:gd name="T12" fmla="*/ 78 w 85"/>
                    <a:gd name="T13" fmla="*/ 64 h 99"/>
                    <a:gd name="T14" fmla="*/ 84 w 85"/>
                    <a:gd name="T15" fmla="*/ 57 h 99"/>
                    <a:gd name="T16" fmla="*/ 85 w 85"/>
                    <a:gd name="T17" fmla="*/ 51 h 99"/>
                    <a:gd name="T18" fmla="*/ 84 w 85"/>
                    <a:gd name="T19" fmla="*/ 39 h 99"/>
                    <a:gd name="T20" fmla="*/ 78 w 85"/>
                    <a:gd name="T21" fmla="*/ 37 h 99"/>
                    <a:gd name="T22" fmla="*/ 77 w 85"/>
                    <a:gd name="T23" fmla="*/ 32 h 99"/>
                    <a:gd name="T24" fmla="*/ 70 w 85"/>
                    <a:gd name="T25" fmla="*/ 28 h 99"/>
                    <a:gd name="T26" fmla="*/ 70 w 85"/>
                    <a:gd name="T27" fmla="*/ 23 h 99"/>
                    <a:gd name="T28" fmla="*/ 68 w 85"/>
                    <a:gd name="T29" fmla="*/ 20 h 99"/>
                    <a:gd name="T30" fmla="*/ 68 w 85"/>
                    <a:gd name="T31" fmla="*/ 14 h 99"/>
                    <a:gd name="T32" fmla="*/ 62 w 85"/>
                    <a:gd name="T33" fmla="*/ 11 h 99"/>
                    <a:gd name="T34" fmla="*/ 61 w 85"/>
                    <a:gd name="T35" fmla="*/ 5 h 99"/>
                    <a:gd name="T36" fmla="*/ 57 w 85"/>
                    <a:gd name="T37" fmla="*/ 4 h 99"/>
                    <a:gd name="T38" fmla="*/ 54 w 85"/>
                    <a:gd name="T39" fmla="*/ 0 h 99"/>
                    <a:gd name="T40" fmla="*/ 48 w 85"/>
                    <a:gd name="T41" fmla="*/ 0 h 99"/>
                    <a:gd name="T42" fmla="*/ 50 w 85"/>
                    <a:gd name="T43" fmla="*/ 9 h 99"/>
                    <a:gd name="T44" fmla="*/ 45 w 85"/>
                    <a:gd name="T45" fmla="*/ 21 h 99"/>
                    <a:gd name="T46" fmla="*/ 45 w 85"/>
                    <a:gd name="T47" fmla="*/ 25 h 99"/>
                    <a:gd name="T48" fmla="*/ 36 w 85"/>
                    <a:gd name="T49" fmla="*/ 28 h 99"/>
                    <a:gd name="T50" fmla="*/ 32 w 85"/>
                    <a:gd name="T51" fmla="*/ 23 h 99"/>
                    <a:gd name="T52" fmla="*/ 29 w 85"/>
                    <a:gd name="T53" fmla="*/ 25 h 99"/>
                    <a:gd name="T54" fmla="*/ 27 w 85"/>
                    <a:gd name="T55" fmla="*/ 27 h 99"/>
                    <a:gd name="T56" fmla="*/ 20 w 85"/>
                    <a:gd name="T57" fmla="*/ 25 h 99"/>
                    <a:gd name="T58" fmla="*/ 16 w 85"/>
                    <a:gd name="T59" fmla="*/ 18 h 99"/>
                    <a:gd name="T60" fmla="*/ 13 w 85"/>
                    <a:gd name="T61" fmla="*/ 16 h 99"/>
                    <a:gd name="T62" fmla="*/ 6 w 85"/>
                    <a:gd name="T63" fmla="*/ 16 h 99"/>
                    <a:gd name="T64" fmla="*/ 2 w 85"/>
                    <a:gd name="T65" fmla="*/ 18 h 99"/>
                    <a:gd name="T66" fmla="*/ 0 w 85"/>
                    <a:gd name="T67" fmla="*/ 21 h 99"/>
                    <a:gd name="T68" fmla="*/ 6 w 85"/>
                    <a:gd name="T69" fmla="*/ 30 h 99"/>
                    <a:gd name="T70" fmla="*/ 8 w 85"/>
                    <a:gd name="T71" fmla="*/ 39 h 99"/>
                    <a:gd name="T72" fmla="*/ 8 w 85"/>
                    <a:gd name="T73" fmla="*/ 50 h 99"/>
                    <a:gd name="T74" fmla="*/ 15 w 85"/>
                    <a:gd name="T75" fmla="*/ 99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5" h="99">
                      <a:moveTo>
                        <a:pt x="15" y="99"/>
                      </a:moveTo>
                      <a:lnTo>
                        <a:pt x="36" y="99"/>
                      </a:lnTo>
                      <a:lnTo>
                        <a:pt x="50" y="96"/>
                      </a:lnTo>
                      <a:lnTo>
                        <a:pt x="57" y="85"/>
                      </a:lnTo>
                      <a:lnTo>
                        <a:pt x="68" y="73"/>
                      </a:lnTo>
                      <a:lnTo>
                        <a:pt x="73" y="69"/>
                      </a:lnTo>
                      <a:lnTo>
                        <a:pt x="78" y="64"/>
                      </a:lnTo>
                      <a:lnTo>
                        <a:pt x="84" y="57"/>
                      </a:lnTo>
                      <a:lnTo>
                        <a:pt x="85" y="51"/>
                      </a:lnTo>
                      <a:lnTo>
                        <a:pt x="84" y="39"/>
                      </a:lnTo>
                      <a:lnTo>
                        <a:pt x="78" y="37"/>
                      </a:lnTo>
                      <a:lnTo>
                        <a:pt x="77" y="32"/>
                      </a:lnTo>
                      <a:lnTo>
                        <a:pt x="70" y="28"/>
                      </a:lnTo>
                      <a:lnTo>
                        <a:pt x="70" y="23"/>
                      </a:lnTo>
                      <a:lnTo>
                        <a:pt x="68" y="20"/>
                      </a:lnTo>
                      <a:lnTo>
                        <a:pt x="68" y="14"/>
                      </a:lnTo>
                      <a:lnTo>
                        <a:pt x="62" y="11"/>
                      </a:lnTo>
                      <a:lnTo>
                        <a:pt x="61" y="5"/>
                      </a:lnTo>
                      <a:lnTo>
                        <a:pt x="57" y="4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50" y="9"/>
                      </a:lnTo>
                      <a:lnTo>
                        <a:pt x="45" y="21"/>
                      </a:lnTo>
                      <a:lnTo>
                        <a:pt x="45" y="25"/>
                      </a:lnTo>
                      <a:lnTo>
                        <a:pt x="36" y="28"/>
                      </a:lnTo>
                      <a:lnTo>
                        <a:pt x="32" y="23"/>
                      </a:lnTo>
                      <a:lnTo>
                        <a:pt x="29" y="25"/>
                      </a:lnTo>
                      <a:lnTo>
                        <a:pt x="27" y="27"/>
                      </a:lnTo>
                      <a:lnTo>
                        <a:pt x="20" y="25"/>
                      </a:lnTo>
                      <a:lnTo>
                        <a:pt x="16" y="18"/>
                      </a:lnTo>
                      <a:lnTo>
                        <a:pt x="13" y="16"/>
                      </a:lnTo>
                      <a:lnTo>
                        <a:pt x="6" y="16"/>
                      </a:lnTo>
                      <a:lnTo>
                        <a:pt x="2" y="18"/>
                      </a:lnTo>
                      <a:lnTo>
                        <a:pt x="0" y="21"/>
                      </a:lnTo>
                      <a:lnTo>
                        <a:pt x="6" y="30"/>
                      </a:lnTo>
                      <a:lnTo>
                        <a:pt x="8" y="39"/>
                      </a:lnTo>
                      <a:lnTo>
                        <a:pt x="8" y="50"/>
                      </a:lnTo>
                      <a:lnTo>
                        <a:pt x="15" y="99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0" name="Freeform 44">
                  <a:extLst>
                    <a:ext uri="{FF2B5EF4-FFF2-40B4-BE49-F238E27FC236}">
                      <a16:creationId xmlns:a16="http://schemas.microsoft.com/office/drawing/2014/main" id="{6C017984-CE7D-733D-01A1-DB094A0C47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3113" y="3597264"/>
                  <a:ext cx="1257302" cy="1249359"/>
                </a:xfrm>
                <a:custGeom>
                  <a:avLst/>
                  <a:gdLst>
                    <a:gd name="T0" fmla="*/ 23 w 792"/>
                    <a:gd name="T1" fmla="*/ 440 h 787"/>
                    <a:gd name="T2" fmla="*/ 55 w 792"/>
                    <a:gd name="T3" fmla="*/ 429 h 787"/>
                    <a:gd name="T4" fmla="*/ 87 w 792"/>
                    <a:gd name="T5" fmla="*/ 408 h 787"/>
                    <a:gd name="T6" fmla="*/ 110 w 792"/>
                    <a:gd name="T7" fmla="*/ 431 h 787"/>
                    <a:gd name="T8" fmla="*/ 159 w 792"/>
                    <a:gd name="T9" fmla="*/ 390 h 787"/>
                    <a:gd name="T10" fmla="*/ 165 w 792"/>
                    <a:gd name="T11" fmla="*/ 323 h 787"/>
                    <a:gd name="T12" fmla="*/ 205 w 792"/>
                    <a:gd name="T13" fmla="*/ 277 h 787"/>
                    <a:gd name="T14" fmla="*/ 243 w 792"/>
                    <a:gd name="T15" fmla="*/ 217 h 787"/>
                    <a:gd name="T16" fmla="*/ 252 w 792"/>
                    <a:gd name="T17" fmla="*/ 165 h 787"/>
                    <a:gd name="T18" fmla="*/ 278 w 792"/>
                    <a:gd name="T19" fmla="*/ 98 h 787"/>
                    <a:gd name="T20" fmla="*/ 273 w 792"/>
                    <a:gd name="T21" fmla="*/ 47 h 787"/>
                    <a:gd name="T22" fmla="*/ 287 w 792"/>
                    <a:gd name="T23" fmla="*/ 24 h 787"/>
                    <a:gd name="T24" fmla="*/ 314 w 792"/>
                    <a:gd name="T25" fmla="*/ 11 h 787"/>
                    <a:gd name="T26" fmla="*/ 356 w 792"/>
                    <a:gd name="T27" fmla="*/ 41 h 787"/>
                    <a:gd name="T28" fmla="*/ 400 w 792"/>
                    <a:gd name="T29" fmla="*/ 45 h 787"/>
                    <a:gd name="T30" fmla="*/ 429 w 792"/>
                    <a:gd name="T31" fmla="*/ 43 h 787"/>
                    <a:gd name="T32" fmla="*/ 461 w 792"/>
                    <a:gd name="T33" fmla="*/ 31 h 787"/>
                    <a:gd name="T34" fmla="*/ 515 w 792"/>
                    <a:gd name="T35" fmla="*/ 13 h 787"/>
                    <a:gd name="T36" fmla="*/ 540 w 792"/>
                    <a:gd name="T37" fmla="*/ 16 h 787"/>
                    <a:gd name="T38" fmla="*/ 562 w 792"/>
                    <a:gd name="T39" fmla="*/ 0 h 787"/>
                    <a:gd name="T40" fmla="*/ 595 w 792"/>
                    <a:gd name="T41" fmla="*/ 13 h 787"/>
                    <a:gd name="T42" fmla="*/ 645 w 792"/>
                    <a:gd name="T43" fmla="*/ 15 h 787"/>
                    <a:gd name="T44" fmla="*/ 677 w 792"/>
                    <a:gd name="T45" fmla="*/ 43 h 787"/>
                    <a:gd name="T46" fmla="*/ 707 w 792"/>
                    <a:gd name="T47" fmla="*/ 38 h 787"/>
                    <a:gd name="T48" fmla="*/ 739 w 792"/>
                    <a:gd name="T49" fmla="*/ 27 h 787"/>
                    <a:gd name="T50" fmla="*/ 769 w 792"/>
                    <a:gd name="T51" fmla="*/ 61 h 787"/>
                    <a:gd name="T52" fmla="*/ 790 w 792"/>
                    <a:gd name="T53" fmla="*/ 77 h 787"/>
                    <a:gd name="T54" fmla="*/ 785 w 792"/>
                    <a:gd name="T55" fmla="*/ 130 h 787"/>
                    <a:gd name="T56" fmla="*/ 753 w 792"/>
                    <a:gd name="T57" fmla="*/ 195 h 787"/>
                    <a:gd name="T58" fmla="*/ 728 w 792"/>
                    <a:gd name="T59" fmla="*/ 280 h 787"/>
                    <a:gd name="T60" fmla="*/ 709 w 792"/>
                    <a:gd name="T61" fmla="*/ 353 h 787"/>
                    <a:gd name="T62" fmla="*/ 765 w 792"/>
                    <a:gd name="T63" fmla="*/ 567 h 787"/>
                    <a:gd name="T64" fmla="*/ 691 w 792"/>
                    <a:gd name="T65" fmla="*/ 636 h 787"/>
                    <a:gd name="T66" fmla="*/ 684 w 792"/>
                    <a:gd name="T67" fmla="*/ 667 h 787"/>
                    <a:gd name="T68" fmla="*/ 675 w 792"/>
                    <a:gd name="T69" fmla="*/ 720 h 787"/>
                    <a:gd name="T70" fmla="*/ 717 w 792"/>
                    <a:gd name="T71" fmla="*/ 746 h 787"/>
                    <a:gd name="T72" fmla="*/ 728 w 792"/>
                    <a:gd name="T73" fmla="*/ 787 h 787"/>
                    <a:gd name="T74" fmla="*/ 700 w 792"/>
                    <a:gd name="T75" fmla="*/ 787 h 787"/>
                    <a:gd name="T76" fmla="*/ 641 w 792"/>
                    <a:gd name="T77" fmla="*/ 739 h 787"/>
                    <a:gd name="T78" fmla="*/ 618 w 792"/>
                    <a:gd name="T79" fmla="*/ 711 h 787"/>
                    <a:gd name="T80" fmla="*/ 588 w 792"/>
                    <a:gd name="T81" fmla="*/ 729 h 787"/>
                    <a:gd name="T82" fmla="*/ 546 w 792"/>
                    <a:gd name="T83" fmla="*/ 714 h 787"/>
                    <a:gd name="T84" fmla="*/ 530 w 792"/>
                    <a:gd name="T85" fmla="*/ 697 h 787"/>
                    <a:gd name="T86" fmla="*/ 507 w 792"/>
                    <a:gd name="T87" fmla="*/ 702 h 787"/>
                    <a:gd name="T88" fmla="*/ 489 w 792"/>
                    <a:gd name="T89" fmla="*/ 686 h 787"/>
                    <a:gd name="T90" fmla="*/ 455 w 792"/>
                    <a:gd name="T91" fmla="*/ 695 h 787"/>
                    <a:gd name="T92" fmla="*/ 425 w 792"/>
                    <a:gd name="T93" fmla="*/ 693 h 787"/>
                    <a:gd name="T94" fmla="*/ 418 w 792"/>
                    <a:gd name="T95" fmla="*/ 681 h 787"/>
                    <a:gd name="T96" fmla="*/ 411 w 792"/>
                    <a:gd name="T97" fmla="*/ 649 h 787"/>
                    <a:gd name="T98" fmla="*/ 404 w 792"/>
                    <a:gd name="T99" fmla="*/ 628 h 787"/>
                    <a:gd name="T100" fmla="*/ 400 w 792"/>
                    <a:gd name="T101" fmla="*/ 587 h 787"/>
                    <a:gd name="T102" fmla="*/ 399 w 792"/>
                    <a:gd name="T103" fmla="*/ 557 h 787"/>
                    <a:gd name="T104" fmla="*/ 352 w 792"/>
                    <a:gd name="T105" fmla="*/ 525 h 787"/>
                    <a:gd name="T106" fmla="*/ 301 w 792"/>
                    <a:gd name="T107" fmla="*/ 530 h 787"/>
                    <a:gd name="T108" fmla="*/ 259 w 792"/>
                    <a:gd name="T109" fmla="*/ 562 h 787"/>
                    <a:gd name="T110" fmla="*/ 214 w 792"/>
                    <a:gd name="T111" fmla="*/ 546 h 787"/>
                    <a:gd name="T112" fmla="*/ 198 w 792"/>
                    <a:gd name="T113" fmla="*/ 511 h 787"/>
                    <a:gd name="T114" fmla="*/ 190 w 792"/>
                    <a:gd name="T115" fmla="*/ 479 h 787"/>
                    <a:gd name="T116" fmla="*/ 90 w 792"/>
                    <a:gd name="T117" fmla="*/ 472 h 787"/>
                    <a:gd name="T118" fmla="*/ 42 w 792"/>
                    <a:gd name="T119" fmla="*/ 472 h 787"/>
                    <a:gd name="T120" fmla="*/ 21 w 792"/>
                    <a:gd name="T121" fmla="*/ 479 h 7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92" h="787">
                      <a:moveTo>
                        <a:pt x="0" y="470"/>
                      </a:moveTo>
                      <a:lnTo>
                        <a:pt x="9" y="465"/>
                      </a:lnTo>
                      <a:lnTo>
                        <a:pt x="16" y="463"/>
                      </a:lnTo>
                      <a:lnTo>
                        <a:pt x="21" y="459"/>
                      </a:lnTo>
                      <a:lnTo>
                        <a:pt x="19" y="443"/>
                      </a:lnTo>
                      <a:lnTo>
                        <a:pt x="23" y="440"/>
                      </a:lnTo>
                      <a:lnTo>
                        <a:pt x="32" y="431"/>
                      </a:lnTo>
                      <a:lnTo>
                        <a:pt x="41" y="424"/>
                      </a:lnTo>
                      <a:lnTo>
                        <a:pt x="46" y="424"/>
                      </a:lnTo>
                      <a:lnTo>
                        <a:pt x="53" y="420"/>
                      </a:lnTo>
                      <a:lnTo>
                        <a:pt x="55" y="426"/>
                      </a:lnTo>
                      <a:lnTo>
                        <a:pt x="55" y="429"/>
                      </a:lnTo>
                      <a:lnTo>
                        <a:pt x="62" y="429"/>
                      </a:lnTo>
                      <a:lnTo>
                        <a:pt x="67" y="424"/>
                      </a:lnTo>
                      <a:lnTo>
                        <a:pt x="67" y="415"/>
                      </a:lnTo>
                      <a:lnTo>
                        <a:pt x="73" y="413"/>
                      </a:lnTo>
                      <a:lnTo>
                        <a:pt x="80" y="415"/>
                      </a:lnTo>
                      <a:lnTo>
                        <a:pt x="87" y="408"/>
                      </a:lnTo>
                      <a:lnTo>
                        <a:pt x="101" y="404"/>
                      </a:lnTo>
                      <a:lnTo>
                        <a:pt x="99" y="408"/>
                      </a:lnTo>
                      <a:lnTo>
                        <a:pt x="96" y="417"/>
                      </a:lnTo>
                      <a:lnTo>
                        <a:pt x="97" y="419"/>
                      </a:lnTo>
                      <a:lnTo>
                        <a:pt x="99" y="426"/>
                      </a:lnTo>
                      <a:lnTo>
                        <a:pt x="110" y="431"/>
                      </a:lnTo>
                      <a:lnTo>
                        <a:pt x="119" y="427"/>
                      </a:lnTo>
                      <a:lnTo>
                        <a:pt x="124" y="419"/>
                      </a:lnTo>
                      <a:lnTo>
                        <a:pt x="142" y="403"/>
                      </a:lnTo>
                      <a:lnTo>
                        <a:pt x="145" y="396"/>
                      </a:lnTo>
                      <a:lnTo>
                        <a:pt x="151" y="392"/>
                      </a:lnTo>
                      <a:lnTo>
                        <a:pt x="159" y="390"/>
                      </a:lnTo>
                      <a:lnTo>
                        <a:pt x="165" y="378"/>
                      </a:lnTo>
                      <a:lnTo>
                        <a:pt x="165" y="371"/>
                      </a:lnTo>
                      <a:lnTo>
                        <a:pt x="168" y="360"/>
                      </a:lnTo>
                      <a:lnTo>
                        <a:pt x="170" y="337"/>
                      </a:lnTo>
                      <a:lnTo>
                        <a:pt x="166" y="334"/>
                      </a:lnTo>
                      <a:lnTo>
                        <a:pt x="165" y="323"/>
                      </a:lnTo>
                      <a:lnTo>
                        <a:pt x="170" y="314"/>
                      </a:lnTo>
                      <a:lnTo>
                        <a:pt x="182" y="300"/>
                      </a:lnTo>
                      <a:lnTo>
                        <a:pt x="182" y="291"/>
                      </a:lnTo>
                      <a:lnTo>
                        <a:pt x="191" y="282"/>
                      </a:lnTo>
                      <a:lnTo>
                        <a:pt x="200" y="275"/>
                      </a:lnTo>
                      <a:lnTo>
                        <a:pt x="205" y="277"/>
                      </a:lnTo>
                      <a:lnTo>
                        <a:pt x="213" y="272"/>
                      </a:lnTo>
                      <a:lnTo>
                        <a:pt x="221" y="268"/>
                      </a:lnTo>
                      <a:lnTo>
                        <a:pt x="234" y="247"/>
                      </a:lnTo>
                      <a:lnTo>
                        <a:pt x="234" y="233"/>
                      </a:lnTo>
                      <a:lnTo>
                        <a:pt x="237" y="218"/>
                      </a:lnTo>
                      <a:lnTo>
                        <a:pt x="243" y="217"/>
                      </a:lnTo>
                      <a:lnTo>
                        <a:pt x="244" y="204"/>
                      </a:lnTo>
                      <a:lnTo>
                        <a:pt x="243" y="202"/>
                      </a:lnTo>
                      <a:lnTo>
                        <a:pt x="246" y="190"/>
                      </a:lnTo>
                      <a:lnTo>
                        <a:pt x="244" y="185"/>
                      </a:lnTo>
                      <a:lnTo>
                        <a:pt x="246" y="172"/>
                      </a:lnTo>
                      <a:lnTo>
                        <a:pt x="252" y="165"/>
                      </a:lnTo>
                      <a:lnTo>
                        <a:pt x="252" y="155"/>
                      </a:lnTo>
                      <a:lnTo>
                        <a:pt x="255" y="146"/>
                      </a:lnTo>
                      <a:lnTo>
                        <a:pt x="252" y="132"/>
                      </a:lnTo>
                      <a:lnTo>
                        <a:pt x="269" y="109"/>
                      </a:lnTo>
                      <a:lnTo>
                        <a:pt x="271" y="101"/>
                      </a:lnTo>
                      <a:lnTo>
                        <a:pt x="278" y="98"/>
                      </a:lnTo>
                      <a:lnTo>
                        <a:pt x="278" y="80"/>
                      </a:lnTo>
                      <a:lnTo>
                        <a:pt x="275" y="73"/>
                      </a:lnTo>
                      <a:lnTo>
                        <a:pt x="275" y="64"/>
                      </a:lnTo>
                      <a:lnTo>
                        <a:pt x="276" y="57"/>
                      </a:lnTo>
                      <a:lnTo>
                        <a:pt x="280" y="54"/>
                      </a:lnTo>
                      <a:lnTo>
                        <a:pt x="273" y="47"/>
                      </a:lnTo>
                      <a:lnTo>
                        <a:pt x="273" y="41"/>
                      </a:lnTo>
                      <a:lnTo>
                        <a:pt x="278" y="41"/>
                      </a:lnTo>
                      <a:lnTo>
                        <a:pt x="282" y="38"/>
                      </a:lnTo>
                      <a:lnTo>
                        <a:pt x="282" y="32"/>
                      </a:lnTo>
                      <a:lnTo>
                        <a:pt x="285" y="29"/>
                      </a:lnTo>
                      <a:lnTo>
                        <a:pt x="287" y="24"/>
                      </a:lnTo>
                      <a:lnTo>
                        <a:pt x="290" y="20"/>
                      </a:lnTo>
                      <a:lnTo>
                        <a:pt x="294" y="20"/>
                      </a:lnTo>
                      <a:lnTo>
                        <a:pt x="301" y="15"/>
                      </a:lnTo>
                      <a:lnTo>
                        <a:pt x="308" y="15"/>
                      </a:lnTo>
                      <a:lnTo>
                        <a:pt x="310" y="11"/>
                      </a:lnTo>
                      <a:lnTo>
                        <a:pt x="314" y="11"/>
                      </a:lnTo>
                      <a:lnTo>
                        <a:pt x="319" y="16"/>
                      </a:lnTo>
                      <a:lnTo>
                        <a:pt x="324" y="16"/>
                      </a:lnTo>
                      <a:lnTo>
                        <a:pt x="337" y="27"/>
                      </a:lnTo>
                      <a:lnTo>
                        <a:pt x="342" y="29"/>
                      </a:lnTo>
                      <a:lnTo>
                        <a:pt x="354" y="38"/>
                      </a:lnTo>
                      <a:lnTo>
                        <a:pt x="356" y="41"/>
                      </a:lnTo>
                      <a:lnTo>
                        <a:pt x="365" y="39"/>
                      </a:lnTo>
                      <a:lnTo>
                        <a:pt x="374" y="45"/>
                      </a:lnTo>
                      <a:lnTo>
                        <a:pt x="384" y="45"/>
                      </a:lnTo>
                      <a:lnTo>
                        <a:pt x="390" y="47"/>
                      </a:lnTo>
                      <a:lnTo>
                        <a:pt x="395" y="45"/>
                      </a:lnTo>
                      <a:lnTo>
                        <a:pt x="400" y="45"/>
                      </a:lnTo>
                      <a:lnTo>
                        <a:pt x="407" y="47"/>
                      </a:lnTo>
                      <a:lnTo>
                        <a:pt x="418" y="48"/>
                      </a:lnTo>
                      <a:lnTo>
                        <a:pt x="422" y="52"/>
                      </a:lnTo>
                      <a:lnTo>
                        <a:pt x="430" y="48"/>
                      </a:lnTo>
                      <a:lnTo>
                        <a:pt x="432" y="47"/>
                      </a:lnTo>
                      <a:lnTo>
                        <a:pt x="429" y="43"/>
                      </a:lnTo>
                      <a:lnTo>
                        <a:pt x="427" y="38"/>
                      </a:lnTo>
                      <a:lnTo>
                        <a:pt x="434" y="31"/>
                      </a:lnTo>
                      <a:lnTo>
                        <a:pt x="439" y="24"/>
                      </a:lnTo>
                      <a:lnTo>
                        <a:pt x="448" y="24"/>
                      </a:lnTo>
                      <a:lnTo>
                        <a:pt x="455" y="25"/>
                      </a:lnTo>
                      <a:lnTo>
                        <a:pt x="461" y="31"/>
                      </a:lnTo>
                      <a:lnTo>
                        <a:pt x="466" y="29"/>
                      </a:lnTo>
                      <a:lnTo>
                        <a:pt x="484" y="25"/>
                      </a:lnTo>
                      <a:lnTo>
                        <a:pt x="487" y="22"/>
                      </a:lnTo>
                      <a:lnTo>
                        <a:pt x="492" y="20"/>
                      </a:lnTo>
                      <a:lnTo>
                        <a:pt x="510" y="13"/>
                      </a:lnTo>
                      <a:lnTo>
                        <a:pt x="515" y="13"/>
                      </a:lnTo>
                      <a:lnTo>
                        <a:pt x="517" y="15"/>
                      </a:lnTo>
                      <a:lnTo>
                        <a:pt x="519" y="16"/>
                      </a:lnTo>
                      <a:lnTo>
                        <a:pt x="521" y="22"/>
                      </a:lnTo>
                      <a:lnTo>
                        <a:pt x="524" y="22"/>
                      </a:lnTo>
                      <a:lnTo>
                        <a:pt x="530" y="18"/>
                      </a:lnTo>
                      <a:lnTo>
                        <a:pt x="540" y="16"/>
                      </a:lnTo>
                      <a:lnTo>
                        <a:pt x="546" y="16"/>
                      </a:lnTo>
                      <a:lnTo>
                        <a:pt x="551" y="16"/>
                      </a:lnTo>
                      <a:lnTo>
                        <a:pt x="556" y="8"/>
                      </a:lnTo>
                      <a:lnTo>
                        <a:pt x="554" y="4"/>
                      </a:lnTo>
                      <a:lnTo>
                        <a:pt x="554" y="2"/>
                      </a:lnTo>
                      <a:lnTo>
                        <a:pt x="562" y="0"/>
                      </a:lnTo>
                      <a:lnTo>
                        <a:pt x="565" y="6"/>
                      </a:lnTo>
                      <a:lnTo>
                        <a:pt x="574" y="6"/>
                      </a:lnTo>
                      <a:lnTo>
                        <a:pt x="579" y="6"/>
                      </a:lnTo>
                      <a:lnTo>
                        <a:pt x="583" y="8"/>
                      </a:lnTo>
                      <a:lnTo>
                        <a:pt x="588" y="9"/>
                      </a:lnTo>
                      <a:lnTo>
                        <a:pt x="595" y="13"/>
                      </a:lnTo>
                      <a:lnTo>
                        <a:pt x="609" y="13"/>
                      </a:lnTo>
                      <a:lnTo>
                        <a:pt x="613" y="15"/>
                      </a:lnTo>
                      <a:lnTo>
                        <a:pt x="625" y="9"/>
                      </a:lnTo>
                      <a:lnTo>
                        <a:pt x="634" y="9"/>
                      </a:lnTo>
                      <a:lnTo>
                        <a:pt x="643" y="15"/>
                      </a:lnTo>
                      <a:lnTo>
                        <a:pt x="645" y="15"/>
                      </a:lnTo>
                      <a:lnTo>
                        <a:pt x="647" y="22"/>
                      </a:lnTo>
                      <a:lnTo>
                        <a:pt x="650" y="27"/>
                      </a:lnTo>
                      <a:lnTo>
                        <a:pt x="655" y="29"/>
                      </a:lnTo>
                      <a:lnTo>
                        <a:pt x="661" y="34"/>
                      </a:lnTo>
                      <a:lnTo>
                        <a:pt x="670" y="41"/>
                      </a:lnTo>
                      <a:lnTo>
                        <a:pt x="677" y="43"/>
                      </a:lnTo>
                      <a:lnTo>
                        <a:pt x="682" y="43"/>
                      </a:lnTo>
                      <a:lnTo>
                        <a:pt x="686" y="38"/>
                      </a:lnTo>
                      <a:lnTo>
                        <a:pt x="689" y="34"/>
                      </a:lnTo>
                      <a:lnTo>
                        <a:pt x="700" y="34"/>
                      </a:lnTo>
                      <a:lnTo>
                        <a:pt x="705" y="34"/>
                      </a:lnTo>
                      <a:lnTo>
                        <a:pt x="707" y="38"/>
                      </a:lnTo>
                      <a:lnTo>
                        <a:pt x="710" y="38"/>
                      </a:lnTo>
                      <a:lnTo>
                        <a:pt x="719" y="34"/>
                      </a:lnTo>
                      <a:lnTo>
                        <a:pt x="723" y="31"/>
                      </a:lnTo>
                      <a:lnTo>
                        <a:pt x="726" y="25"/>
                      </a:lnTo>
                      <a:lnTo>
                        <a:pt x="735" y="25"/>
                      </a:lnTo>
                      <a:lnTo>
                        <a:pt x="739" y="27"/>
                      </a:lnTo>
                      <a:lnTo>
                        <a:pt x="744" y="38"/>
                      </a:lnTo>
                      <a:lnTo>
                        <a:pt x="749" y="43"/>
                      </a:lnTo>
                      <a:lnTo>
                        <a:pt x="751" y="47"/>
                      </a:lnTo>
                      <a:lnTo>
                        <a:pt x="762" y="50"/>
                      </a:lnTo>
                      <a:lnTo>
                        <a:pt x="767" y="54"/>
                      </a:lnTo>
                      <a:lnTo>
                        <a:pt x="769" y="61"/>
                      </a:lnTo>
                      <a:lnTo>
                        <a:pt x="772" y="64"/>
                      </a:lnTo>
                      <a:lnTo>
                        <a:pt x="774" y="71"/>
                      </a:lnTo>
                      <a:lnTo>
                        <a:pt x="774" y="75"/>
                      </a:lnTo>
                      <a:lnTo>
                        <a:pt x="776" y="75"/>
                      </a:lnTo>
                      <a:lnTo>
                        <a:pt x="786" y="75"/>
                      </a:lnTo>
                      <a:lnTo>
                        <a:pt x="790" y="77"/>
                      </a:lnTo>
                      <a:lnTo>
                        <a:pt x="788" y="86"/>
                      </a:lnTo>
                      <a:lnTo>
                        <a:pt x="783" y="91"/>
                      </a:lnTo>
                      <a:lnTo>
                        <a:pt x="783" y="101"/>
                      </a:lnTo>
                      <a:lnTo>
                        <a:pt x="781" y="116"/>
                      </a:lnTo>
                      <a:lnTo>
                        <a:pt x="781" y="126"/>
                      </a:lnTo>
                      <a:lnTo>
                        <a:pt x="785" y="130"/>
                      </a:lnTo>
                      <a:lnTo>
                        <a:pt x="788" y="135"/>
                      </a:lnTo>
                      <a:lnTo>
                        <a:pt x="792" y="142"/>
                      </a:lnTo>
                      <a:lnTo>
                        <a:pt x="792" y="146"/>
                      </a:lnTo>
                      <a:lnTo>
                        <a:pt x="771" y="174"/>
                      </a:lnTo>
                      <a:lnTo>
                        <a:pt x="756" y="190"/>
                      </a:lnTo>
                      <a:lnTo>
                        <a:pt x="753" y="195"/>
                      </a:lnTo>
                      <a:lnTo>
                        <a:pt x="737" y="225"/>
                      </a:lnTo>
                      <a:lnTo>
                        <a:pt x="735" y="229"/>
                      </a:lnTo>
                      <a:lnTo>
                        <a:pt x="733" y="240"/>
                      </a:lnTo>
                      <a:lnTo>
                        <a:pt x="733" y="256"/>
                      </a:lnTo>
                      <a:lnTo>
                        <a:pt x="728" y="270"/>
                      </a:lnTo>
                      <a:lnTo>
                        <a:pt x="728" y="280"/>
                      </a:lnTo>
                      <a:lnTo>
                        <a:pt x="717" y="291"/>
                      </a:lnTo>
                      <a:lnTo>
                        <a:pt x="710" y="300"/>
                      </a:lnTo>
                      <a:lnTo>
                        <a:pt x="703" y="325"/>
                      </a:lnTo>
                      <a:lnTo>
                        <a:pt x="701" y="335"/>
                      </a:lnTo>
                      <a:lnTo>
                        <a:pt x="707" y="344"/>
                      </a:lnTo>
                      <a:lnTo>
                        <a:pt x="709" y="353"/>
                      </a:lnTo>
                      <a:lnTo>
                        <a:pt x="709" y="364"/>
                      </a:lnTo>
                      <a:lnTo>
                        <a:pt x="721" y="447"/>
                      </a:lnTo>
                      <a:lnTo>
                        <a:pt x="732" y="496"/>
                      </a:lnTo>
                      <a:lnTo>
                        <a:pt x="760" y="537"/>
                      </a:lnTo>
                      <a:lnTo>
                        <a:pt x="771" y="569"/>
                      </a:lnTo>
                      <a:lnTo>
                        <a:pt x="765" y="567"/>
                      </a:lnTo>
                      <a:lnTo>
                        <a:pt x="696" y="583"/>
                      </a:lnTo>
                      <a:lnTo>
                        <a:pt x="680" y="615"/>
                      </a:lnTo>
                      <a:lnTo>
                        <a:pt x="682" y="624"/>
                      </a:lnTo>
                      <a:lnTo>
                        <a:pt x="687" y="629"/>
                      </a:lnTo>
                      <a:lnTo>
                        <a:pt x="691" y="631"/>
                      </a:lnTo>
                      <a:lnTo>
                        <a:pt x="691" y="636"/>
                      </a:lnTo>
                      <a:lnTo>
                        <a:pt x="687" y="638"/>
                      </a:lnTo>
                      <a:lnTo>
                        <a:pt x="689" y="643"/>
                      </a:lnTo>
                      <a:lnTo>
                        <a:pt x="687" y="651"/>
                      </a:lnTo>
                      <a:lnTo>
                        <a:pt x="689" y="656"/>
                      </a:lnTo>
                      <a:lnTo>
                        <a:pt x="687" y="665"/>
                      </a:lnTo>
                      <a:lnTo>
                        <a:pt x="684" y="667"/>
                      </a:lnTo>
                      <a:lnTo>
                        <a:pt x="686" y="670"/>
                      </a:lnTo>
                      <a:lnTo>
                        <a:pt x="684" y="674"/>
                      </a:lnTo>
                      <a:lnTo>
                        <a:pt x="675" y="681"/>
                      </a:lnTo>
                      <a:lnTo>
                        <a:pt x="675" y="686"/>
                      </a:lnTo>
                      <a:lnTo>
                        <a:pt x="675" y="709"/>
                      </a:lnTo>
                      <a:lnTo>
                        <a:pt x="675" y="720"/>
                      </a:lnTo>
                      <a:lnTo>
                        <a:pt x="680" y="725"/>
                      </a:lnTo>
                      <a:lnTo>
                        <a:pt x="691" y="736"/>
                      </a:lnTo>
                      <a:lnTo>
                        <a:pt x="694" y="743"/>
                      </a:lnTo>
                      <a:lnTo>
                        <a:pt x="698" y="748"/>
                      </a:lnTo>
                      <a:lnTo>
                        <a:pt x="716" y="748"/>
                      </a:lnTo>
                      <a:lnTo>
                        <a:pt x="717" y="746"/>
                      </a:lnTo>
                      <a:lnTo>
                        <a:pt x="714" y="743"/>
                      </a:lnTo>
                      <a:lnTo>
                        <a:pt x="714" y="739"/>
                      </a:lnTo>
                      <a:lnTo>
                        <a:pt x="723" y="737"/>
                      </a:lnTo>
                      <a:lnTo>
                        <a:pt x="728" y="739"/>
                      </a:lnTo>
                      <a:lnTo>
                        <a:pt x="730" y="783"/>
                      </a:lnTo>
                      <a:lnTo>
                        <a:pt x="728" y="787"/>
                      </a:lnTo>
                      <a:lnTo>
                        <a:pt x="721" y="785"/>
                      </a:lnTo>
                      <a:lnTo>
                        <a:pt x="721" y="783"/>
                      </a:lnTo>
                      <a:lnTo>
                        <a:pt x="717" y="782"/>
                      </a:lnTo>
                      <a:lnTo>
                        <a:pt x="712" y="785"/>
                      </a:lnTo>
                      <a:lnTo>
                        <a:pt x="705" y="787"/>
                      </a:lnTo>
                      <a:lnTo>
                        <a:pt x="700" y="787"/>
                      </a:lnTo>
                      <a:lnTo>
                        <a:pt x="691" y="778"/>
                      </a:lnTo>
                      <a:lnTo>
                        <a:pt x="682" y="769"/>
                      </a:lnTo>
                      <a:lnTo>
                        <a:pt x="675" y="762"/>
                      </a:lnTo>
                      <a:lnTo>
                        <a:pt x="666" y="750"/>
                      </a:lnTo>
                      <a:lnTo>
                        <a:pt x="657" y="744"/>
                      </a:lnTo>
                      <a:lnTo>
                        <a:pt x="641" y="739"/>
                      </a:lnTo>
                      <a:lnTo>
                        <a:pt x="632" y="734"/>
                      </a:lnTo>
                      <a:lnTo>
                        <a:pt x="631" y="730"/>
                      </a:lnTo>
                      <a:lnTo>
                        <a:pt x="625" y="721"/>
                      </a:lnTo>
                      <a:lnTo>
                        <a:pt x="625" y="711"/>
                      </a:lnTo>
                      <a:lnTo>
                        <a:pt x="622" y="709"/>
                      </a:lnTo>
                      <a:lnTo>
                        <a:pt x="618" y="711"/>
                      </a:lnTo>
                      <a:lnTo>
                        <a:pt x="613" y="713"/>
                      </a:lnTo>
                      <a:lnTo>
                        <a:pt x="608" y="723"/>
                      </a:lnTo>
                      <a:lnTo>
                        <a:pt x="608" y="727"/>
                      </a:lnTo>
                      <a:lnTo>
                        <a:pt x="595" y="730"/>
                      </a:lnTo>
                      <a:lnTo>
                        <a:pt x="588" y="730"/>
                      </a:lnTo>
                      <a:lnTo>
                        <a:pt x="588" y="729"/>
                      </a:lnTo>
                      <a:lnTo>
                        <a:pt x="577" y="727"/>
                      </a:lnTo>
                      <a:lnTo>
                        <a:pt x="570" y="725"/>
                      </a:lnTo>
                      <a:lnTo>
                        <a:pt x="560" y="720"/>
                      </a:lnTo>
                      <a:lnTo>
                        <a:pt x="556" y="720"/>
                      </a:lnTo>
                      <a:lnTo>
                        <a:pt x="549" y="714"/>
                      </a:lnTo>
                      <a:lnTo>
                        <a:pt x="546" y="714"/>
                      </a:lnTo>
                      <a:lnTo>
                        <a:pt x="546" y="713"/>
                      </a:lnTo>
                      <a:lnTo>
                        <a:pt x="546" y="705"/>
                      </a:lnTo>
                      <a:lnTo>
                        <a:pt x="542" y="702"/>
                      </a:lnTo>
                      <a:lnTo>
                        <a:pt x="542" y="695"/>
                      </a:lnTo>
                      <a:lnTo>
                        <a:pt x="540" y="693"/>
                      </a:lnTo>
                      <a:lnTo>
                        <a:pt x="530" y="697"/>
                      </a:lnTo>
                      <a:lnTo>
                        <a:pt x="526" y="700"/>
                      </a:lnTo>
                      <a:lnTo>
                        <a:pt x="521" y="700"/>
                      </a:lnTo>
                      <a:lnTo>
                        <a:pt x="514" y="702"/>
                      </a:lnTo>
                      <a:lnTo>
                        <a:pt x="510" y="705"/>
                      </a:lnTo>
                      <a:lnTo>
                        <a:pt x="507" y="705"/>
                      </a:lnTo>
                      <a:lnTo>
                        <a:pt x="507" y="702"/>
                      </a:lnTo>
                      <a:lnTo>
                        <a:pt x="505" y="695"/>
                      </a:lnTo>
                      <a:lnTo>
                        <a:pt x="503" y="693"/>
                      </a:lnTo>
                      <a:lnTo>
                        <a:pt x="496" y="690"/>
                      </a:lnTo>
                      <a:lnTo>
                        <a:pt x="492" y="690"/>
                      </a:lnTo>
                      <a:lnTo>
                        <a:pt x="489" y="688"/>
                      </a:lnTo>
                      <a:lnTo>
                        <a:pt x="489" y="686"/>
                      </a:lnTo>
                      <a:lnTo>
                        <a:pt x="482" y="688"/>
                      </a:lnTo>
                      <a:lnTo>
                        <a:pt x="475" y="690"/>
                      </a:lnTo>
                      <a:lnTo>
                        <a:pt x="468" y="693"/>
                      </a:lnTo>
                      <a:lnTo>
                        <a:pt x="464" y="695"/>
                      </a:lnTo>
                      <a:lnTo>
                        <a:pt x="459" y="697"/>
                      </a:lnTo>
                      <a:lnTo>
                        <a:pt x="455" y="695"/>
                      </a:lnTo>
                      <a:lnTo>
                        <a:pt x="445" y="695"/>
                      </a:lnTo>
                      <a:lnTo>
                        <a:pt x="439" y="693"/>
                      </a:lnTo>
                      <a:lnTo>
                        <a:pt x="434" y="690"/>
                      </a:lnTo>
                      <a:lnTo>
                        <a:pt x="430" y="690"/>
                      </a:lnTo>
                      <a:lnTo>
                        <a:pt x="429" y="691"/>
                      </a:lnTo>
                      <a:lnTo>
                        <a:pt x="425" y="693"/>
                      </a:lnTo>
                      <a:lnTo>
                        <a:pt x="422" y="695"/>
                      </a:lnTo>
                      <a:lnTo>
                        <a:pt x="418" y="695"/>
                      </a:lnTo>
                      <a:lnTo>
                        <a:pt x="416" y="693"/>
                      </a:lnTo>
                      <a:lnTo>
                        <a:pt x="416" y="684"/>
                      </a:lnTo>
                      <a:lnTo>
                        <a:pt x="420" y="682"/>
                      </a:lnTo>
                      <a:lnTo>
                        <a:pt x="418" y="681"/>
                      </a:lnTo>
                      <a:lnTo>
                        <a:pt x="422" y="674"/>
                      </a:lnTo>
                      <a:lnTo>
                        <a:pt x="416" y="670"/>
                      </a:lnTo>
                      <a:lnTo>
                        <a:pt x="414" y="661"/>
                      </a:lnTo>
                      <a:lnTo>
                        <a:pt x="416" y="659"/>
                      </a:lnTo>
                      <a:lnTo>
                        <a:pt x="416" y="654"/>
                      </a:lnTo>
                      <a:lnTo>
                        <a:pt x="411" y="649"/>
                      </a:lnTo>
                      <a:lnTo>
                        <a:pt x="411" y="645"/>
                      </a:lnTo>
                      <a:lnTo>
                        <a:pt x="413" y="640"/>
                      </a:lnTo>
                      <a:lnTo>
                        <a:pt x="413" y="635"/>
                      </a:lnTo>
                      <a:lnTo>
                        <a:pt x="409" y="635"/>
                      </a:lnTo>
                      <a:lnTo>
                        <a:pt x="406" y="629"/>
                      </a:lnTo>
                      <a:lnTo>
                        <a:pt x="404" y="628"/>
                      </a:lnTo>
                      <a:lnTo>
                        <a:pt x="404" y="622"/>
                      </a:lnTo>
                      <a:lnTo>
                        <a:pt x="400" y="617"/>
                      </a:lnTo>
                      <a:lnTo>
                        <a:pt x="400" y="613"/>
                      </a:lnTo>
                      <a:lnTo>
                        <a:pt x="399" y="610"/>
                      </a:lnTo>
                      <a:lnTo>
                        <a:pt x="400" y="601"/>
                      </a:lnTo>
                      <a:lnTo>
                        <a:pt x="400" y="587"/>
                      </a:lnTo>
                      <a:lnTo>
                        <a:pt x="399" y="582"/>
                      </a:lnTo>
                      <a:lnTo>
                        <a:pt x="399" y="578"/>
                      </a:lnTo>
                      <a:lnTo>
                        <a:pt x="400" y="576"/>
                      </a:lnTo>
                      <a:lnTo>
                        <a:pt x="400" y="569"/>
                      </a:lnTo>
                      <a:lnTo>
                        <a:pt x="397" y="562"/>
                      </a:lnTo>
                      <a:lnTo>
                        <a:pt x="399" y="557"/>
                      </a:lnTo>
                      <a:lnTo>
                        <a:pt x="402" y="550"/>
                      </a:lnTo>
                      <a:lnTo>
                        <a:pt x="402" y="543"/>
                      </a:lnTo>
                      <a:lnTo>
                        <a:pt x="402" y="537"/>
                      </a:lnTo>
                      <a:lnTo>
                        <a:pt x="400" y="532"/>
                      </a:lnTo>
                      <a:lnTo>
                        <a:pt x="352" y="528"/>
                      </a:lnTo>
                      <a:lnTo>
                        <a:pt x="352" y="525"/>
                      </a:lnTo>
                      <a:lnTo>
                        <a:pt x="354" y="520"/>
                      </a:lnTo>
                      <a:lnTo>
                        <a:pt x="354" y="514"/>
                      </a:lnTo>
                      <a:lnTo>
                        <a:pt x="342" y="514"/>
                      </a:lnTo>
                      <a:lnTo>
                        <a:pt x="342" y="518"/>
                      </a:lnTo>
                      <a:lnTo>
                        <a:pt x="301" y="518"/>
                      </a:lnTo>
                      <a:lnTo>
                        <a:pt x="301" y="530"/>
                      </a:lnTo>
                      <a:lnTo>
                        <a:pt x="298" y="537"/>
                      </a:lnTo>
                      <a:lnTo>
                        <a:pt x="294" y="539"/>
                      </a:lnTo>
                      <a:lnTo>
                        <a:pt x="296" y="546"/>
                      </a:lnTo>
                      <a:lnTo>
                        <a:pt x="296" y="558"/>
                      </a:lnTo>
                      <a:lnTo>
                        <a:pt x="264" y="560"/>
                      </a:lnTo>
                      <a:lnTo>
                        <a:pt x="259" y="562"/>
                      </a:lnTo>
                      <a:lnTo>
                        <a:pt x="244" y="562"/>
                      </a:lnTo>
                      <a:lnTo>
                        <a:pt x="239" y="560"/>
                      </a:lnTo>
                      <a:lnTo>
                        <a:pt x="232" y="562"/>
                      </a:lnTo>
                      <a:lnTo>
                        <a:pt x="221" y="562"/>
                      </a:lnTo>
                      <a:lnTo>
                        <a:pt x="216" y="560"/>
                      </a:lnTo>
                      <a:lnTo>
                        <a:pt x="214" y="546"/>
                      </a:lnTo>
                      <a:lnTo>
                        <a:pt x="209" y="537"/>
                      </a:lnTo>
                      <a:lnTo>
                        <a:pt x="205" y="532"/>
                      </a:lnTo>
                      <a:lnTo>
                        <a:pt x="202" y="530"/>
                      </a:lnTo>
                      <a:lnTo>
                        <a:pt x="202" y="525"/>
                      </a:lnTo>
                      <a:lnTo>
                        <a:pt x="200" y="521"/>
                      </a:lnTo>
                      <a:lnTo>
                        <a:pt x="198" y="511"/>
                      </a:lnTo>
                      <a:lnTo>
                        <a:pt x="193" y="504"/>
                      </a:lnTo>
                      <a:lnTo>
                        <a:pt x="193" y="498"/>
                      </a:lnTo>
                      <a:lnTo>
                        <a:pt x="195" y="495"/>
                      </a:lnTo>
                      <a:lnTo>
                        <a:pt x="195" y="489"/>
                      </a:lnTo>
                      <a:lnTo>
                        <a:pt x="191" y="484"/>
                      </a:lnTo>
                      <a:lnTo>
                        <a:pt x="190" y="479"/>
                      </a:lnTo>
                      <a:lnTo>
                        <a:pt x="191" y="477"/>
                      </a:lnTo>
                      <a:lnTo>
                        <a:pt x="191" y="472"/>
                      </a:lnTo>
                      <a:lnTo>
                        <a:pt x="147" y="472"/>
                      </a:lnTo>
                      <a:lnTo>
                        <a:pt x="119" y="472"/>
                      </a:lnTo>
                      <a:lnTo>
                        <a:pt x="104" y="473"/>
                      </a:lnTo>
                      <a:lnTo>
                        <a:pt x="90" y="472"/>
                      </a:lnTo>
                      <a:lnTo>
                        <a:pt x="85" y="472"/>
                      </a:lnTo>
                      <a:lnTo>
                        <a:pt x="73" y="472"/>
                      </a:lnTo>
                      <a:lnTo>
                        <a:pt x="62" y="472"/>
                      </a:lnTo>
                      <a:lnTo>
                        <a:pt x="55" y="472"/>
                      </a:lnTo>
                      <a:lnTo>
                        <a:pt x="48" y="472"/>
                      </a:lnTo>
                      <a:lnTo>
                        <a:pt x="42" y="472"/>
                      </a:lnTo>
                      <a:lnTo>
                        <a:pt x="35" y="473"/>
                      </a:lnTo>
                      <a:lnTo>
                        <a:pt x="28" y="475"/>
                      </a:lnTo>
                      <a:lnTo>
                        <a:pt x="27" y="475"/>
                      </a:lnTo>
                      <a:lnTo>
                        <a:pt x="23" y="475"/>
                      </a:lnTo>
                      <a:lnTo>
                        <a:pt x="21" y="479"/>
                      </a:lnTo>
                      <a:lnTo>
                        <a:pt x="21" y="479"/>
                      </a:lnTo>
                      <a:lnTo>
                        <a:pt x="19" y="479"/>
                      </a:lnTo>
                      <a:lnTo>
                        <a:pt x="19" y="479"/>
                      </a:lnTo>
                      <a:lnTo>
                        <a:pt x="14" y="475"/>
                      </a:lnTo>
                      <a:lnTo>
                        <a:pt x="3" y="473"/>
                      </a:lnTo>
                      <a:lnTo>
                        <a:pt x="0" y="47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1" name="Freeform 45">
                  <a:extLst>
                    <a:ext uri="{FF2B5EF4-FFF2-40B4-BE49-F238E27FC236}">
                      <a16:creationId xmlns:a16="http://schemas.microsoft.com/office/drawing/2014/main" id="{1476C23E-B8FE-95CC-A6B8-5D0D7D7D25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05665" y="4573572"/>
                  <a:ext cx="211138" cy="531811"/>
                </a:xfrm>
                <a:custGeom>
                  <a:avLst/>
                  <a:gdLst>
                    <a:gd name="T0" fmla="*/ 16 w 133"/>
                    <a:gd name="T1" fmla="*/ 0 h 335"/>
                    <a:gd name="T2" fmla="*/ 21 w 133"/>
                    <a:gd name="T3" fmla="*/ 5 h 335"/>
                    <a:gd name="T4" fmla="*/ 30 w 133"/>
                    <a:gd name="T5" fmla="*/ 9 h 335"/>
                    <a:gd name="T6" fmla="*/ 37 w 133"/>
                    <a:gd name="T7" fmla="*/ 9 h 335"/>
                    <a:gd name="T8" fmla="*/ 43 w 133"/>
                    <a:gd name="T9" fmla="*/ 11 h 335"/>
                    <a:gd name="T10" fmla="*/ 48 w 133"/>
                    <a:gd name="T11" fmla="*/ 16 h 335"/>
                    <a:gd name="T12" fmla="*/ 67 w 133"/>
                    <a:gd name="T13" fmla="*/ 36 h 335"/>
                    <a:gd name="T14" fmla="*/ 69 w 133"/>
                    <a:gd name="T15" fmla="*/ 122 h 335"/>
                    <a:gd name="T16" fmla="*/ 73 w 133"/>
                    <a:gd name="T17" fmla="*/ 168 h 335"/>
                    <a:gd name="T18" fmla="*/ 92 w 133"/>
                    <a:gd name="T19" fmla="*/ 181 h 335"/>
                    <a:gd name="T20" fmla="*/ 99 w 133"/>
                    <a:gd name="T21" fmla="*/ 184 h 335"/>
                    <a:gd name="T22" fmla="*/ 117 w 133"/>
                    <a:gd name="T23" fmla="*/ 206 h 335"/>
                    <a:gd name="T24" fmla="*/ 129 w 133"/>
                    <a:gd name="T25" fmla="*/ 229 h 335"/>
                    <a:gd name="T26" fmla="*/ 133 w 133"/>
                    <a:gd name="T27" fmla="*/ 239 h 335"/>
                    <a:gd name="T28" fmla="*/ 126 w 133"/>
                    <a:gd name="T29" fmla="*/ 245 h 335"/>
                    <a:gd name="T30" fmla="*/ 119 w 133"/>
                    <a:gd name="T31" fmla="*/ 248 h 335"/>
                    <a:gd name="T32" fmla="*/ 121 w 133"/>
                    <a:gd name="T33" fmla="*/ 255 h 335"/>
                    <a:gd name="T34" fmla="*/ 124 w 133"/>
                    <a:gd name="T35" fmla="*/ 275 h 335"/>
                    <a:gd name="T36" fmla="*/ 115 w 133"/>
                    <a:gd name="T37" fmla="*/ 287 h 335"/>
                    <a:gd name="T38" fmla="*/ 103 w 133"/>
                    <a:gd name="T39" fmla="*/ 300 h 335"/>
                    <a:gd name="T40" fmla="*/ 97 w 133"/>
                    <a:gd name="T41" fmla="*/ 315 h 335"/>
                    <a:gd name="T42" fmla="*/ 99 w 133"/>
                    <a:gd name="T43" fmla="*/ 333 h 335"/>
                    <a:gd name="T44" fmla="*/ 89 w 133"/>
                    <a:gd name="T45" fmla="*/ 330 h 335"/>
                    <a:gd name="T46" fmla="*/ 87 w 133"/>
                    <a:gd name="T47" fmla="*/ 317 h 335"/>
                    <a:gd name="T48" fmla="*/ 76 w 133"/>
                    <a:gd name="T49" fmla="*/ 310 h 335"/>
                    <a:gd name="T50" fmla="*/ 62 w 133"/>
                    <a:gd name="T51" fmla="*/ 294 h 335"/>
                    <a:gd name="T52" fmla="*/ 58 w 133"/>
                    <a:gd name="T53" fmla="*/ 278 h 335"/>
                    <a:gd name="T54" fmla="*/ 62 w 133"/>
                    <a:gd name="T55" fmla="*/ 264 h 335"/>
                    <a:gd name="T56" fmla="*/ 73 w 133"/>
                    <a:gd name="T57" fmla="*/ 245 h 335"/>
                    <a:gd name="T58" fmla="*/ 74 w 133"/>
                    <a:gd name="T59" fmla="*/ 225 h 335"/>
                    <a:gd name="T60" fmla="*/ 58 w 133"/>
                    <a:gd name="T61" fmla="*/ 214 h 335"/>
                    <a:gd name="T62" fmla="*/ 46 w 133"/>
                    <a:gd name="T63" fmla="*/ 220 h 335"/>
                    <a:gd name="T64" fmla="*/ 39 w 133"/>
                    <a:gd name="T65" fmla="*/ 222 h 335"/>
                    <a:gd name="T66" fmla="*/ 30 w 133"/>
                    <a:gd name="T67" fmla="*/ 213 h 335"/>
                    <a:gd name="T68" fmla="*/ 27 w 133"/>
                    <a:gd name="T69" fmla="*/ 204 h 335"/>
                    <a:gd name="T70" fmla="*/ 12 w 133"/>
                    <a:gd name="T71" fmla="*/ 202 h 335"/>
                    <a:gd name="T72" fmla="*/ 7 w 133"/>
                    <a:gd name="T73" fmla="*/ 190 h 335"/>
                    <a:gd name="T74" fmla="*/ 0 w 133"/>
                    <a:gd name="T75" fmla="*/ 179 h 335"/>
                    <a:gd name="T76" fmla="*/ 11 w 133"/>
                    <a:gd name="T77" fmla="*/ 170 h 335"/>
                    <a:gd name="T78" fmla="*/ 12 w 133"/>
                    <a:gd name="T79" fmla="*/ 160 h 335"/>
                    <a:gd name="T80" fmla="*/ 11 w 133"/>
                    <a:gd name="T81" fmla="*/ 151 h 335"/>
                    <a:gd name="T82" fmla="*/ 21 w 133"/>
                    <a:gd name="T83" fmla="*/ 140 h 335"/>
                    <a:gd name="T84" fmla="*/ 30 w 133"/>
                    <a:gd name="T85" fmla="*/ 133 h 335"/>
                    <a:gd name="T86" fmla="*/ 34 w 133"/>
                    <a:gd name="T87" fmla="*/ 129 h 335"/>
                    <a:gd name="T88" fmla="*/ 28 w 133"/>
                    <a:gd name="T89" fmla="*/ 122 h 335"/>
                    <a:gd name="T90" fmla="*/ 28 w 133"/>
                    <a:gd name="T91" fmla="*/ 115 h 335"/>
                    <a:gd name="T92" fmla="*/ 27 w 133"/>
                    <a:gd name="T93" fmla="*/ 105 h 335"/>
                    <a:gd name="T94" fmla="*/ 28 w 133"/>
                    <a:gd name="T95" fmla="*/ 94 h 335"/>
                    <a:gd name="T96" fmla="*/ 25 w 133"/>
                    <a:gd name="T97" fmla="*/ 80 h 335"/>
                    <a:gd name="T98" fmla="*/ 35 w 133"/>
                    <a:gd name="T99" fmla="*/ 64 h 335"/>
                    <a:gd name="T100" fmla="*/ 37 w 133"/>
                    <a:gd name="T101" fmla="*/ 59 h 335"/>
                    <a:gd name="T102" fmla="*/ 35 w 133"/>
                    <a:gd name="T103" fmla="*/ 44 h 335"/>
                    <a:gd name="T104" fmla="*/ 27 w 133"/>
                    <a:gd name="T105" fmla="*/ 36 h 335"/>
                    <a:gd name="T106" fmla="*/ 32 w 133"/>
                    <a:gd name="T107" fmla="*/ 21 h 335"/>
                    <a:gd name="T108" fmla="*/ 21 w 133"/>
                    <a:gd name="T109" fmla="*/ 16 h 335"/>
                    <a:gd name="T110" fmla="*/ 16 w 133"/>
                    <a:gd name="T111" fmla="*/ 9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33" h="335">
                      <a:moveTo>
                        <a:pt x="14" y="2"/>
                      </a:moveTo>
                      <a:lnTo>
                        <a:pt x="16" y="0"/>
                      </a:lnTo>
                      <a:lnTo>
                        <a:pt x="20" y="2"/>
                      </a:lnTo>
                      <a:lnTo>
                        <a:pt x="21" y="5"/>
                      </a:lnTo>
                      <a:lnTo>
                        <a:pt x="27" y="7"/>
                      </a:lnTo>
                      <a:lnTo>
                        <a:pt x="30" y="9"/>
                      </a:lnTo>
                      <a:lnTo>
                        <a:pt x="32" y="7"/>
                      </a:lnTo>
                      <a:lnTo>
                        <a:pt x="37" y="9"/>
                      </a:lnTo>
                      <a:lnTo>
                        <a:pt x="39" y="11"/>
                      </a:lnTo>
                      <a:lnTo>
                        <a:pt x="43" y="11"/>
                      </a:lnTo>
                      <a:lnTo>
                        <a:pt x="44" y="14"/>
                      </a:lnTo>
                      <a:lnTo>
                        <a:pt x="48" y="16"/>
                      </a:lnTo>
                      <a:lnTo>
                        <a:pt x="53" y="21"/>
                      </a:lnTo>
                      <a:lnTo>
                        <a:pt x="67" y="36"/>
                      </a:lnTo>
                      <a:lnTo>
                        <a:pt x="69" y="52"/>
                      </a:lnTo>
                      <a:lnTo>
                        <a:pt x="69" y="122"/>
                      </a:lnTo>
                      <a:lnTo>
                        <a:pt x="66" y="129"/>
                      </a:lnTo>
                      <a:lnTo>
                        <a:pt x="73" y="168"/>
                      </a:lnTo>
                      <a:lnTo>
                        <a:pt x="87" y="174"/>
                      </a:lnTo>
                      <a:lnTo>
                        <a:pt x="92" y="181"/>
                      </a:lnTo>
                      <a:lnTo>
                        <a:pt x="96" y="184"/>
                      </a:lnTo>
                      <a:lnTo>
                        <a:pt x="99" y="184"/>
                      </a:lnTo>
                      <a:lnTo>
                        <a:pt x="113" y="199"/>
                      </a:lnTo>
                      <a:lnTo>
                        <a:pt x="117" y="206"/>
                      </a:lnTo>
                      <a:lnTo>
                        <a:pt x="126" y="218"/>
                      </a:lnTo>
                      <a:lnTo>
                        <a:pt x="129" y="229"/>
                      </a:lnTo>
                      <a:lnTo>
                        <a:pt x="131" y="234"/>
                      </a:lnTo>
                      <a:lnTo>
                        <a:pt x="133" y="239"/>
                      </a:lnTo>
                      <a:lnTo>
                        <a:pt x="128" y="241"/>
                      </a:lnTo>
                      <a:lnTo>
                        <a:pt x="126" y="245"/>
                      </a:lnTo>
                      <a:lnTo>
                        <a:pt x="121" y="245"/>
                      </a:lnTo>
                      <a:lnTo>
                        <a:pt x="119" y="248"/>
                      </a:lnTo>
                      <a:lnTo>
                        <a:pt x="121" y="252"/>
                      </a:lnTo>
                      <a:lnTo>
                        <a:pt x="121" y="255"/>
                      </a:lnTo>
                      <a:lnTo>
                        <a:pt x="124" y="261"/>
                      </a:lnTo>
                      <a:lnTo>
                        <a:pt x="124" y="275"/>
                      </a:lnTo>
                      <a:lnTo>
                        <a:pt x="122" y="282"/>
                      </a:lnTo>
                      <a:lnTo>
                        <a:pt x="115" y="287"/>
                      </a:lnTo>
                      <a:lnTo>
                        <a:pt x="108" y="289"/>
                      </a:lnTo>
                      <a:lnTo>
                        <a:pt x="103" y="300"/>
                      </a:lnTo>
                      <a:lnTo>
                        <a:pt x="103" y="308"/>
                      </a:lnTo>
                      <a:lnTo>
                        <a:pt x="97" y="315"/>
                      </a:lnTo>
                      <a:lnTo>
                        <a:pt x="101" y="324"/>
                      </a:lnTo>
                      <a:lnTo>
                        <a:pt x="99" y="333"/>
                      </a:lnTo>
                      <a:lnTo>
                        <a:pt x="90" y="335"/>
                      </a:lnTo>
                      <a:lnTo>
                        <a:pt x="89" y="330"/>
                      </a:lnTo>
                      <a:lnTo>
                        <a:pt x="92" y="324"/>
                      </a:lnTo>
                      <a:lnTo>
                        <a:pt x="87" y="317"/>
                      </a:lnTo>
                      <a:lnTo>
                        <a:pt x="82" y="312"/>
                      </a:lnTo>
                      <a:lnTo>
                        <a:pt x="76" y="310"/>
                      </a:lnTo>
                      <a:lnTo>
                        <a:pt x="69" y="303"/>
                      </a:lnTo>
                      <a:lnTo>
                        <a:pt x="62" y="294"/>
                      </a:lnTo>
                      <a:lnTo>
                        <a:pt x="62" y="287"/>
                      </a:lnTo>
                      <a:lnTo>
                        <a:pt x="58" y="278"/>
                      </a:lnTo>
                      <a:lnTo>
                        <a:pt x="57" y="271"/>
                      </a:lnTo>
                      <a:lnTo>
                        <a:pt x="62" y="264"/>
                      </a:lnTo>
                      <a:lnTo>
                        <a:pt x="64" y="255"/>
                      </a:lnTo>
                      <a:lnTo>
                        <a:pt x="73" y="245"/>
                      </a:lnTo>
                      <a:lnTo>
                        <a:pt x="74" y="236"/>
                      </a:lnTo>
                      <a:lnTo>
                        <a:pt x="74" y="225"/>
                      </a:lnTo>
                      <a:lnTo>
                        <a:pt x="69" y="218"/>
                      </a:lnTo>
                      <a:lnTo>
                        <a:pt x="58" y="214"/>
                      </a:lnTo>
                      <a:lnTo>
                        <a:pt x="50" y="216"/>
                      </a:lnTo>
                      <a:lnTo>
                        <a:pt x="46" y="220"/>
                      </a:lnTo>
                      <a:lnTo>
                        <a:pt x="41" y="220"/>
                      </a:lnTo>
                      <a:lnTo>
                        <a:pt x="39" y="222"/>
                      </a:lnTo>
                      <a:lnTo>
                        <a:pt x="32" y="216"/>
                      </a:lnTo>
                      <a:lnTo>
                        <a:pt x="30" y="213"/>
                      </a:lnTo>
                      <a:lnTo>
                        <a:pt x="27" y="207"/>
                      </a:lnTo>
                      <a:lnTo>
                        <a:pt x="27" y="204"/>
                      </a:lnTo>
                      <a:lnTo>
                        <a:pt x="23" y="200"/>
                      </a:lnTo>
                      <a:lnTo>
                        <a:pt x="12" y="202"/>
                      </a:lnTo>
                      <a:lnTo>
                        <a:pt x="11" y="199"/>
                      </a:lnTo>
                      <a:lnTo>
                        <a:pt x="7" y="190"/>
                      </a:lnTo>
                      <a:lnTo>
                        <a:pt x="2" y="183"/>
                      </a:lnTo>
                      <a:lnTo>
                        <a:pt x="0" y="179"/>
                      </a:lnTo>
                      <a:lnTo>
                        <a:pt x="5" y="177"/>
                      </a:lnTo>
                      <a:lnTo>
                        <a:pt x="11" y="170"/>
                      </a:lnTo>
                      <a:lnTo>
                        <a:pt x="11" y="163"/>
                      </a:lnTo>
                      <a:lnTo>
                        <a:pt x="12" y="160"/>
                      </a:lnTo>
                      <a:lnTo>
                        <a:pt x="11" y="156"/>
                      </a:lnTo>
                      <a:lnTo>
                        <a:pt x="11" y="151"/>
                      </a:lnTo>
                      <a:lnTo>
                        <a:pt x="12" y="147"/>
                      </a:lnTo>
                      <a:lnTo>
                        <a:pt x="21" y="140"/>
                      </a:lnTo>
                      <a:lnTo>
                        <a:pt x="28" y="138"/>
                      </a:lnTo>
                      <a:lnTo>
                        <a:pt x="30" y="133"/>
                      </a:lnTo>
                      <a:lnTo>
                        <a:pt x="34" y="133"/>
                      </a:lnTo>
                      <a:lnTo>
                        <a:pt x="34" y="129"/>
                      </a:lnTo>
                      <a:lnTo>
                        <a:pt x="28" y="126"/>
                      </a:lnTo>
                      <a:lnTo>
                        <a:pt x="28" y="122"/>
                      </a:lnTo>
                      <a:lnTo>
                        <a:pt x="27" y="117"/>
                      </a:lnTo>
                      <a:lnTo>
                        <a:pt x="28" y="115"/>
                      </a:lnTo>
                      <a:lnTo>
                        <a:pt x="30" y="110"/>
                      </a:lnTo>
                      <a:lnTo>
                        <a:pt x="27" y="105"/>
                      </a:lnTo>
                      <a:lnTo>
                        <a:pt x="30" y="99"/>
                      </a:lnTo>
                      <a:lnTo>
                        <a:pt x="28" y="94"/>
                      </a:lnTo>
                      <a:lnTo>
                        <a:pt x="28" y="87"/>
                      </a:lnTo>
                      <a:lnTo>
                        <a:pt x="25" y="80"/>
                      </a:lnTo>
                      <a:lnTo>
                        <a:pt x="27" y="75"/>
                      </a:lnTo>
                      <a:lnTo>
                        <a:pt x="35" y="64"/>
                      </a:lnTo>
                      <a:lnTo>
                        <a:pt x="35" y="62"/>
                      </a:lnTo>
                      <a:lnTo>
                        <a:pt x="37" y="59"/>
                      </a:lnTo>
                      <a:lnTo>
                        <a:pt x="37" y="50"/>
                      </a:lnTo>
                      <a:lnTo>
                        <a:pt x="35" y="44"/>
                      </a:lnTo>
                      <a:lnTo>
                        <a:pt x="28" y="39"/>
                      </a:lnTo>
                      <a:lnTo>
                        <a:pt x="27" y="36"/>
                      </a:lnTo>
                      <a:lnTo>
                        <a:pt x="32" y="25"/>
                      </a:lnTo>
                      <a:lnTo>
                        <a:pt x="32" y="21"/>
                      </a:lnTo>
                      <a:lnTo>
                        <a:pt x="27" y="20"/>
                      </a:lnTo>
                      <a:lnTo>
                        <a:pt x="21" y="16"/>
                      </a:lnTo>
                      <a:lnTo>
                        <a:pt x="20" y="11"/>
                      </a:lnTo>
                      <a:lnTo>
                        <a:pt x="16" y="9"/>
                      </a:lnTo>
                      <a:lnTo>
                        <a:pt x="14" y="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2" name="Freeform 46">
                  <a:extLst>
                    <a:ext uri="{FF2B5EF4-FFF2-40B4-BE49-F238E27FC236}">
                      <a16:creationId xmlns:a16="http://schemas.microsoft.com/office/drawing/2014/main" id="{6C87D640-39ED-787A-3643-83638AFC63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86526" y="4497372"/>
                  <a:ext cx="777877" cy="661984"/>
                </a:xfrm>
                <a:custGeom>
                  <a:avLst/>
                  <a:gdLst>
                    <a:gd name="T0" fmla="*/ 104 w 490"/>
                    <a:gd name="T1" fmla="*/ 126 h 417"/>
                    <a:gd name="T2" fmla="*/ 111 w 490"/>
                    <a:gd name="T3" fmla="*/ 138 h 417"/>
                    <a:gd name="T4" fmla="*/ 131 w 490"/>
                    <a:gd name="T5" fmla="*/ 130 h 417"/>
                    <a:gd name="T6" fmla="*/ 147 w 490"/>
                    <a:gd name="T7" fmla="*/ 138 h 417"/>
                    <a:gd name="T8" fmla="*/ 157 w 490"/>
                    <a:gd name="T9" fmla="*/ 153 h 417"/>
                    <a:gd name="T10" fmla="*/ 189 w 490"/>
                    <a:gd name="T11" fmla="*/ 162 h 417"/>
                    <a:gd name="T12" fmla="*/ 209 w 490"/>
                    <a:gd name="T13" fmla="*/ 156 h 417"/>
                    <a:gd name="T14" fmla="*/ 226 w 490"/>
                    <a:gd name="T15" fmla="*/ 144 h 417"/>
                    <a:gd name="T16" fmla="*/ 242 w 490"/>
                    <a:gd name="T17" fmla="*/ 172 h 417"/>
                    <a:gd name="T18" fmla="*/ 283 w 490"/>
                    <a:gd name="T19" fmla="*/ 202 h 417"/>
                    <a:gd name="T20" fmla="*/ 313 w 490"/>
                    <a:gd name="T21" fmla="*/ 218 h 417"/>
                    <a:gd name="T22" fmla="*/ 329 w 490"/>
                    <a:gd name="T23" fmla="*/ 220 h 417"/>
                    <a:gd name="T24" fmla="*/ 315 w 490"/>
                    <a:gd name="T25" fmla="*/ 172 h 417"/>
                    <a:gd name="T26" fmla="*/ 299 w 490"/>
                    <a:gd name="T27" fmla="*/ 181 h 417"/>
                    <a:gd name="T28" fmla="*/ 276 w 490"/>
                    <a:gd name="T29" fmla="*/ 153 h 417"/>
                    <a:gd name="T30" fmla="*/ 285 w 490"/>
                    <a:gd name="T31" fmla="*/ 107 h 417"/>
                    <a:gd name="T32" fmla="*/ 290 w 490"/>
                    <a:gd name="T33" fmla="*/ 89 h 417"/>
                    <a:gd name="T34" fmla="*/ 292 w 490"/>
                    <a:gd name="T35" fmla="*/ 69 h 417"/>
                    <a:gd name="T36" fmla="*/ 281 w 490"/>
                    <a:gd name="T37" fmla="*/ 48 h 417"/>
                    <a:gd name="T38" fmla="*/ 391 w 490"/>
                    <a:gd name="T39" fmla="*/ 9 h 417"/>
                    <a:gd name="T40" fmla="*/ 409 w 490"/>
                    <a:gd name="T41" fmla="*/ 20 h 417"/>
                    <a:gd name="T42" fmla="*/ 444 w 490"/>
                    <a:gd name="T43" fmla="*/ 30 h 417"/>
                    <a:gd name="T44" fmla="*/ 464 w 490"/>
                    <a:gd name="T45" fmla="*/ 50 h 417"/>
                    <a:gd name="T46" fmla="*/ 474 w 490"/>
                    <a:gd name="T47" fmla="*/ 64 h 417"/>
                    <a:gd name="T48" fmla="*/ 480 w 490"/>
                    <a:gd name="T49" fmla="*/ 84 h 417"/>
                    <a:gd name="T50" fmla="*/ 490 w 490"/>
                    <a:gd name="T51" fmla="*/ 107 h 417"/>
                    <a:gd name="T52" fmla="*/ 478 w 490"/>
                    <a:gd name="T53" fmla="*/ 128 h 417"/>
                    <a:gd name="T54" fmla="*/ 480 w 490"/>
                    <a:gd name="T55" fmla="*/ 153 h 417"/>
                    <a:gd name="T56" fmla="*/ 481 w 490"/>
                    <a:gd name="T57" fmla="*/ 170 h 417"/>
                    <a:gd name="T58" fmla="*/ 483 w 490"/>
                    <a:gd name="T59" fmla="*/ 181 h 417"/>
                    <a:gd name="T60" fmla="*/ 464 w 490"/>
                    <a:gd name="T61" fmla="*/ 199 h 417"/>
                    <a:gd name="T62" fmla="*/ 464 w 490"/>
                    <a:gd name="T63" fmla="*/ 218 h 417"/>
                    <a:gd name="T64" fmla="*/ 460 w 490"/>
                    <a:gd name="T65" fmla="*/ 238 h 417"/>
                    <a:gd name="T66" fmla="*/ 453 w 490"/>
                    <a:gd name="T67" fmla="*/ 254 h 417"/>
                    <a:gd name="T68" fmla="*/ 370 w 490"/>
                    <a:gd name="T69" fmla="*/ 284 h 417"/>
                    <a:gd name="T70" fmla="*/ 354 w 490"/>
                    <a:gd name="T71" fmla="*/ 316 h 417"/>
                    <a:gd name="T72" fmla="*/ 336 w 490"/>
                    <a:gd name="T73" fmla="*/ 316 h 417"/>
                    <a:gd name="T74" fmla="*/ 308 w 490"/>
                    <a:gd name="T75" fmla="*/ 317 h 417"/>
                    <a:gd name="T76" fmla="*/ 288 w 490"/>
                    <a:gd name="T77" fmla="*/ 337 h 417"/>
                    <a:gd name="T78" fmla="*/ 283 w 490"/>
                    <a:gd name="T79" fmla="*/ 349 h 417"/>
                    <a:gd name="T80" fmla="*/ 212 w 490"/>
                    <a:gd name="T81" fmla="*/ 413 h 417"/>
                    <a:gd name="T82" fmla="*/ 186 w 490"/>
                    <a:gd name="T83" fmla="*/ 410 h 417"/>
                    <a:gd name="T84" fmla="*/ 168 w 490"/>
                    <a:gd name="T85" fmla="*/ 408 h 417"/>
                    <a:gd name="T86" fmla="*/ 145 w 490"/>
                    <a:gd name="T87" fmla="*/ 406 h 417"/>
                    <a:gd name="T88" fmla="*/ 124 w 490"/>
                    <a:gd name="T89" fmla="*/ 397 h 417"/>
                    <a:gd name="T90" fmla="*/ 113 w 490"/>
                    <a:gd name="T91" fmla="*/ 394 h 417"/>
                    <a:gd name="T92" fmla="*/ 56 w 490"/>
                    <a:gd name="T93" fmla="*/ 402 h 417"/>
                    <a:gd name="T94" fmla="*/ 42 w 490"/>
                    <a:gd name="T95" fmla="*/ 383 h 417"/>
                    <a:gd name="T96" fmla="*/ 15 w 490"/>
                    <a:gd name="T97" fmla="*/ 362 h 417"/>
                    <a:gd name="T98" fmla="*/ 0 w 490"/>
                    <a:gd name="T99" fmla="*/ 342 h 417"/>
                    <a:gd name="T100" fmla="*/ 92 w 490"/>
                    <a:gd name="T101" fmla="*/ 188 h 417"/>
                    <a:gd name="T102" fmla="*/ 90 w 490"/>
                    <a:gd name="T103" fmla="*/ 162 h 417"/>
                    <a:gd name="T104" fmla="*/ 90 w 490"/>
                    <a:gd name="T105" fmla="*/ 123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90" h="417">
                      <a:moveTo>
                        <a:pt x="90" y="121"/>
                      </a:moveTo>
                      <a:lnTo>
                        <a:pt x="93" y="123"/>
                      </a:lnTo>
                      <a:lnTo>
                        <a:pt x="97" y="123"/>
                      </a:lnTo>
                      <a:lnTo>
                        <a:pt x="104" y="126"/>
                      </a:lnTo>
                      <a:lnTo>
                        <a:pt x="106" y="128"/>
                      </a:lnTo>
                      <a:lnTo>
                        <a:pt x="108" y="135"/>
                      </a:lnTo>
                      <a:lnTo>
                        <a:pt x="108" y="138"/>
                      </a:lnTo>
                      <a:lnTo>
                        <a:pt x="111" y="138"/>
                      </a:lnTo>
                      <a:lnTo>
                        <a:pt x="115" y="135"/>
                      </a:lnTo>
                      <a:lnTo>
                        <a:pt x="122" y="133"/>
                      </a:lnTo>
                      <a:lnTo>
                        <a:pt x="127" y="133"/>
                      </a:lnTo>
                      <a:lnTo>
                        <a:pt x="131" y="130"/>
                      </a:lnTo>
                      <a:lnTo>
                        <a:pt x="141" y="126"/>
                      </a:lnTo>
                      <a:lnTo>
                        <a:pt x="143" y="128"/>
                      </a:lnTo>
                      <a:lnTo>
                        <a:pt x="143" y="135"/>
                      </a:lnTo>
                      <a:lnTo>
                        <a:pt x="147" y="138"/>
                      </a:lnTo>
                      <a:lnTo>
                        <a:pt x="147" y="146"/>
                      </a:lnTo>
                      <a:lnTo>
                        <a:pt x="147" y="147"/>
                      </a:lnTo>
                      <a:lnTo>
                        <a:pt x="150" y="147"/>
                      </a:lnTo>
                      <a:lnTo>
                        <a:pt x="157" y="153"/>
                      </a:lnTo>
                      <a:lnTo>
                        <a:pt x="161" y="153"/>
                      </a:lnTo>
                      <a:lnTo>
                        <a:pt x="171" y="158"/>
                      </a:lnTo>
                      <a:lnTo>
                        <a:pt x="178" y="160"/>
                      </a:lnTo>
                      <a:lnTo>
                        <a:pt x="189" y="162"/>
                      </a:lnTo>
                      <a:lnTo>
                        <a:pt x="189" y="163"/>
                      </a:lnTo>
                      <a:lnTo>
                        <a:pt x="196" y="163"/>
                      </a:lnTo>
                      <a:lnTo>
                        <a:pt x="209" y="160"/>
                      </a:lnTo>
                      <a:lnTo>
                        <a:pt x="209" y="156"/>
                      </a:lnTo>
                      <a:lnTo>
                        <a:pt x="214" y="146"/>
                      </a:lnTo>
                      <a:lnTo>
                        <a:pt x="219" y="144"/>
                      </a:lnTo>
                      <a:lnTo>
                        <a:pt x="223" y="142"/>
                      </a:lnTo>
                      <a:lnTo>
                        <a:pt x="226" y="144"/>
                      </a:lnTo>
                      <a:lnTo>
                        <a:pt x="226" y="154"/>
                      </a:lnTo>
                      <a:lnTo>
                        <a:pt x="232" y="163"/>
                      </a:lnTo>
                      <a:lnTo>
                        <a:pt x="233" y="167"/>
                      </a:lnTo>
                      <a:lnTo>
                        <a:pt x="242" y="172"/>
                      </a:lnTo>
                      <a:lnTo>
                        <a:pt x="258" y="177"/>
                      </a:lnTo>
                      <a:lnTo>
                        <a:pt x="267" y="183"/>
                      </a:lnTo>
                      <a:lnTo>
                        <a:pt x="276" y="195"/>
                      </a:lnTo>
                      <a:lnTo>
                        <a:pt x="283" y="202"/>
                      </a:lnTo>
                      <a:lnTo>
                        <a:pt x="292" y="211"/>
                      </a:lnTo>
                      <a:lnTo>
                        <a:pt x="301" y="220"/>
                      </a:lnTo>
                      <a:lnTo>
                        <a:pt x="306" y="220"/>
                      </a:lnTo>
                      <a:lnTo>
                        <a:pt x="313" y="218"/>
                      </a:lnTo>
                      <a:lnTo>
                        <a:pt x="318" y="215"/>
                      </a:lnTo>
                      <a:lnTo>
                        <a:pt x="322" y="216"/>
                      </a:lnTo>
                      <a:lnTo>
                        <a:pt x="322" y="218"/>
                      </a:lnTo>
                      <a:lnTo>
                        <a:pt x="329" y="220"/>
                      </a:lnTo>
                      <a:lnTo>
                        <a:pt x="331" y="216"/>
                      </a:lnTo>
                      <a:lnTo>
                        <a:pt x="329" y="172"/>
                      </a:lnTo>
                      <a:lnTo>
                        <a:pt x="324" y="170"/>
                      </a:lnTo>
                      <a:lnTo>
                        <a:pt x="315" y="172"/>
                      </a:lnTo>
                      <a:lnTo>
                        <a:pt x="315" y="176"/>
                      </a:lnTo>
                      <a:lnTo>
                        <a:pt x="318" y="179"/>
                      </a:lnTo>
                      <a:lnTo>
                        <a:pt x="317" y="181"/>
                      </a:lnTo>
                      <a:lnTo>
                        <a:pt x="299" y="181"/>
                      </a:lnTo>
                      <a:lnTo>
                        <a:pt x="295" y="176"/>
                      </a:lnTo>
                      <a:lnTo>
                        <a:pt x="292" y="169"/>
                      </a:lnTo>
                      <a:lnTo>
                        <a:pt x="281" y="158"/>
                      </a:lnTo>
                      <a:lnTo>
                        <a:pt x="276" y="153"/>
                      </a:lnTo>
                      <a:lnTo>
                        <a:pt x="276" y="142"/>
                      </a:lnTo>
                      <a:lnTo>
                        <a:pt x="276" y="119"/>
                      </a:lnTo>
                      <a:lnTo>
                        <a:pt x="276" y="114"/>
                      </a:lnTo>
                      <a:lnTo>
                        <a:pt x="285" y="107"/>
                      </a:lnTo>
                      <a:lnTo>
                        <a:pt x="287" y="103"/>
                      </a:lnTo>
                      <a:lnTo>
                        <a:pt x="285" y="100"/>
                      </a:lnTo>
                      <a:lnTo>
                        <a:pt x="288" y="98"/>
                      </a:lnTo>
                      <a:lnTo>
                        <a:pt x="290" y="89"/>
                      </a:lnTo>
                      <a:lnTo>
                        <a:pt x="288" y="84"/>
                      </a:lnTo>
                      <a:lnTo>
                        <a:pt x="290" y="76"/>
                      </a:lnTo>
                      <a:lnTo>
                        <a:pt x="288" y="71"/>
                      </a:lnTo>
                      <a:lnTo>
                        <a:pt x="292" y="69"/>
                      </a:lnTo>
                      <a:lnTo>
                        <a:pt x="292" y="64"/>
                      </a:lnTo>
                      <a:lnTo>
                        <a:pt x="288" y="62"/>
                      </a:lnTo>
                      <a:lnTo>
                        <a:pt x="283" y="57"/>
                      </a:lnTo>
                      <a:lnTo>
                        <a:pt x="281" y="48"/>
                      </a:lnTo>
                      <a:lnTo>
                        <a:pt x="297" y="16"/>
                      </a:lnTo>
                      <a:lnTo>
                        <a:pt x="366" y="0"/>
                      </a:lnTo>
                      <a:lnTo>
                        <a:pt x="386" y="9"/>
                      </a:lnTo>
                      <a:lnTo>
                        <a:pt x="391" y="9"/>
                      </a:lnTo>
                      <a:lnTo>
                        <a:pt x="398" y="11"/>
                      </a:lnTo>
                      <a:lnTo>
                        <a:pt x="402" y="11"/>
                      </a:lnTo>
                      <a:lnTo>
                        <a:pt x="407" y="16"/>
                      </a:lnTo>
                      <a:lnTo>
                        <a:pt x="409" y="20"/>
                      </a:lnTo>
                      <a:lnTo>
                        <a:pt x="414" y="23"/>
                      </a:lnTo>
                      <a:lnTo>
                        <a:pt x="421" y="23"/>
                      </a:lnTo>
                      <a:lnTo>
                        <a:pt x="439" y="30"/>
                      </a:lnTo>
                      <a:lnTo>
                        <a:pt x="444" y="30"/>
                      </a:lnTo>
                      <a:lnTo>
                        <a:pt x="448" y="34"/>
                      </a:lnTo>
                      <a:lnTo>
                        <a:pt x="453" y="36"/>
                      </a:lnTo>
                      <a:lnTo>
                        <a:pt x="457" y="41"/>
                      </a:lnTo>
                      <a:lnTo>
                        <a:pt x="464" y="50"/>
                      </a:lnTo>
                      <a:lnTo>
                        <a:pt x="467" y="50"/>
                      </a:lnTo>
                      <a:lnTo>
                        <a:pt x="469" y="57"/>
                      </a:lnTo>
                      <a:lnTo>
                        <a:pt x="473" y="59"/>
                      </a:lnTo>
                      <a:lnTo>
                        <a:pt x="474" y="64"/>
                      </a:lnTo>
                      <a:lnTo>
                        <a:pt x="480" y="68"/>
                      </a:lnTo>
                      <a:lnTo>
                        <a:pt x="485" y="69"/>
                      </a:lnTo>
                      <a:lnTo>
                        <a:pt x="485" y="73"/>
                      </a:lnTo>
                      <a:lnTo>
                        <a:pt x="480" y="84"/>
                      </a:lnTo>
                      <a:lnTo>
                        <a:pt x="481" y="87"/>
                      </a:lnTo>
                      <a:lnTo>
                        <a:pt x="488" y="92"/>
                      </a:lnTo>
                      <a:lnTo>
                        <a:pt x="490" y="98"/>
                      </a:lnTo>
                      <a:lnTo>
                        <a:pt x="490" y="107"/>
                      </a:lnTo>
                      <a:lnTo>
                        <a:pt x="488" y="110"/>
                      </a:lnTo>
                      <a:lnTo>
                        <a:pt x="488" y="112"/>
                      </a:lnTo>
                      <a:lnTo>
                        <a:pt x="480" y="123"/>
                      </a:lnTo>
                      <a:lnTo>
                        <a:pt x="478" y="128"/>
                      </a:lnTo>
                      <a:lnTo>
                        <a:pt x="481" y="135"/>
                      </a:lnTo>
                      <a:lnTo>
                        <a:pt x="481" y="142"/>
                      </a:lnTo>
                      <a:lnTo>
                        <a:pt x="483" y="147"/>
                      </a:lnTo>
                      <a:lnTo>
                        <a:pt x="480" y="153"/>
                      </a:lnTo>
                      <a:lnTo>
                        <a:pt x="483" y="158"/>
                      </a:lnTo>
                      <a:lnTo>
                        <a:pt x="481" y="163"/>
                      </a:lnTo>
                      <a:lnTo>
                        <a:pt x="480" y="165"/>
                      </a:lnTo>
                      <a:lnTo>
                        <a:pt x="481" y="170"/>
                      </a:lnTo>
                      <a:lnTo>
                        <a:pt x="481" y="174"/>
                      </a:lnTo>
                      <a:lnTo>
                        <a:pt x="487" y="177"/>
                      </a:lnTo>
                      <a:lnTo>
                        <a:pt x="487" y="181"/>
                      </a:lnTo>
                      <a:lnTo>
                        <a:pt x="483" y="181"/>
                      </a:lnTo>
                      <a:lnTo>
                        <a:pt x="481" y="186"/>
                      </a:lnTo>
                      <a:lnTo>
                        <a:pt x="474" y="188"/>
                      </a:lnTo>
                      <a:lnTo>
                        <a:pt x="465" y="195"/>
                      </a:lnTo>
                      <a:lnTo>
                        <a:pt x="464" y="199"/>
                      </a:lnTo>
                      <a:lnTo>
                        <a:pt x="464" y="204"/>
                      </a:lnTo>
                      <a:lnTo>
                        <a:pt x="465" y="208"/>
                      </a:lnTo>
                      <a:lnTo>
                        <a:pt x="464" y="211"/>
                      </a:lnTo>
                      <a:lnTo>
                        <a:pt x="464" y="218"/>
                      </a:lnTo>
                      <a:lnTo>
                        <a:pt x="458" y="225"/>
                      </a:lnTo>
                      <a:lnTo>
                        <a:pt x="453" y="227"/>
                      </a:lnTo>
                      <a:lnTo>
                        <a:pt x="455" y="231"/>
                      </a:lnTo>
                      <a:lnTo>
                        <a:pt x="460" y="238"/>
                      </a:lnTo>
                      <a:lnTo>
                        <a:pt x="464" y="247"/>
                      </a:lnTo>
                      <a:lnTo>
                        <a:pt x="465" y="250"/>
                      </a:lnTo>
                      <a:lnTo>
                        <a:pt x="465" y="250"/>
                      </a:lnTo>
                      <a:lnTo>
                        <a:pt x="453" y="254"/>
                      </a:lnTo>
                      <a:lnTo>
                        <a:pt x="428" y="264"/>
                      </a:lnTo>
                      <a:lnTo>
                        <a:pt x="421" y="266"/>
                      </a:lnTo>
                      <a:lnTo>
                        <a:pt x="379" y="284"/>
                      </a:lnTo>
                      <a:lnTo>
                        <a:pt x="370" y="284"/>
                      </a:lnTo>
                      <a:lnTo>
                        <a:pt x="354" y="291"/>
                      </a:lnTo>
                      <a:lnTo>
                        <a:pt x="350" y="298"/>
                      </a:lnTo>
                      <a:lnTo>
                        <a:pt x="354" y="310"/>
                      </a:lnTo>
                      <a:lnTo>
                        <a:pt x="354" y="316"/>
                      </a:lnTo>
                      <a:lnTo>
                        <a:pt x="352" y="316"/>
                      </a:lnTo>
                      <a:lnTo>
                        <a:pt x="349" y="316"/>
                      </a:lnTo>
                      <a:lnTo>
                        <a:pt x="340" y="314"/>
                      </a:lnTo>
                      <a:lnTo>
                        <a:pt x="336" y="316"/>
                      </a:lnTo>
                      <a:lnTo>
                        <a:pt x="334" y="312"/>
                      </a:lnTo>
                      <a:lnTo>
                        <a:pt x="322" y="312"/>
                      </a:lnTo>
                      <a:lnTo>
                        <a:pt x="313" y="316"/>
                      </a:lnTo>
                      <a:lnTo>
                        <a:pt x="308" y="317"/>
                      </a:lnTo>
                      <a:lnTo>
                        <a:pt x="302" y="321"/>
                      </a:lnTo>
                      <a:lnTo>
                        <a:pt x="290" y="326"/>
                      </a:lnTo>
                      <a:lnTo>
                        <a:pt x="287" y="332"/>
                      </a:lnTo>
                      <a:lnTo>
                        <a:pt x="288" y="337"/>
                      </a:lnTo>
                      <a:lnTo>
                        <a:pt x="287" y="340"/>
                      </a:lnTo>
                      <a:lnTo>
                        <a:pt x="287" y="344"/>
                      </a:lnTo>
                      <a:lnTo>
                        <a:pt x="287" y="348"/>
                      </a:lnTo>
                      <a:lnTo>
                        <a:pt x="283" y="349"/>
                      </a:lnTo>
                      <a:lnTo>
                        <a:pt x="269" y="355"/>
                      </a:lnTo>
                      <a:lnTo>
                        <a:pt x="244" y="371"/>
                      </a:lnTo>
                      <a:lnTo>
                        <a:pt x="225" y="395"/>
                      </a:lnTo>
                      <a:lnTo>
                        <a:pt x="212" y="413"/>
                      </a:lnTo>
                      <a:lnTo>
                        <a:pt x="201" y="417"/>
                      </a:lnTo>
                      <a:lnTo>
                        <a:pt x="193" y="415"/>
                      </a:lnTo>
                      <a:lnTo>
                        <a:pt x="187" y="410"/>
                      </a:lnTo>
                      <a:lnTo>
                        <a:pt x="186" y="410"/>
                      </a:lnTo>
                      <a:lnTo>
                        <a:pt x="184" y="408"/>
                      </a:lnTo>
                      <a:lnTo>
                        <a:pt x="182" y="410"/>
                      </a:lnTo>
                      <a:lnTo>
                        <a:pt x="178" y="408"/>
                      </a:lnTo>
                      <a:lnTo>
                        <a:pt x="168" y="408"/>
                      </a:lnTo>
                      <a:lnTo>
                        <a:pt x="161" y="413"/>
                      </a:lnTo>
                      <a:lnTo>
                        <a:pt x="157" y="413"/>
                      </a:lnTo>
                      <a:lnTo>
                        <a:pt x="154" y="410"/>
                      </a:lnTo>
                      <a:lnTo>
                        <a:pt x="145" y="406"/>
                      </a:lnTo>
                      <a:lnTo>
                        <a:pt x="136" y="404"/>
                      </a:lnTo>
                      <a:lnTo>
                        <a:pt x="131" y="404"/>
                      </a:lnTo>
                      <a:lnTo>
                        <a:pt x="125" y="397"/>
                      </a:lnTo>
                      <a:lnTo>
                        <a:pt x="124" y="397"/>
                      </a:lnTo>
                      <a:lnTo>
                        <a:pt x="122" y="395"/>
                      </a:lnTo>
                      <a:lnTo>
                        <a:pt x="116" y="395"/>
                      </a:lnTo>
                      <a:lnTo>
                        <a:pt x="115" y="394"/>
                      </a:lnTo>
                      <a:lnTo>
                        <a:pt x="113" y="394"/>
                      </a:lnTo>
                      <a:lnTo>
                        <a:pt x="109" y="392"/>
                      </a:lnTo>
                      <a:lnTo>
                        <a:pt x="101" y="394"/>
                      </a:lnTo>
                      <a:lnTo>
                        <a:pt x="95" y="394"/>
                      </a:lnTo>
                      <a:lnTo>
                        <a:pt x="56" y="402"/>
                      </a:lnTo>
                      <a:lnTo>
                        <a:pt x="54" y="395"/>
                      </a:lnTo>
                      <a:lnTo>
                        <a:pt x="49" y="394"/>
                      </a:lnTo>
                      <a:lnTo>
                        <a:pt x="44" y="386"/>
                      </a:lnTo>
                      <a:lnTo>
                        <a:pt x="42" y="383"/>
                      </a:lnTo>
                      <a:lnTo>
                        <a:pt x="35" y="381"/>
                      </a:lnTo>
                      <a:lnTo>
                        <a:pt x="30" y="376"/>
                      </a:lnTo>
                      <a:lnTo>
                        <a:pt x="21" y="365"/>
                      </a:lnTo>
                      <a:lnTo>
                        <a:pt x="15" y="362"/>
                      </a:lnTo>
                      <a:lnTo>
                        <a:pt x="12" y="358"/>
                      </a:lnTo>
                      <a:lnTo>
                        <a:pt x="8" y="353"/>
                      </a:lnTo>
                      <a:lnTo>
                        <a:pt x="1" y="348"/>
                      </a:lnTo>
                      <a:lnTo>
                        <a:pt x="0" y="342"/>
                      </a:lnTo>
                      <a:lnTo>
                        <a:pt x="3" y="204"/>
                      </a:lnTo>
                      <a:lnTo>
                        <a:pt x="92" y="204"/>
                      </a:lnTo>
                      <a:lnTo>
                        <a:pt x="90" y="199"/>
                      </a:lnTo>
                      <a:lnTo>
                        <a:pt x="92" y="188"/>
                      </a:lnTo>
                      <a:lnTo>
                        <a:pt x="95" y="185"/>
                      </a:lnTo>
                      <a:lnTo>
                        <a:pt x="93" y="177"/>
                      </a:lnTo>
                      <a:lnTo>
                        <a:pt x="90" y="170"/>
                      </a:lnTo>
                      <a:lnTo>
                        <a:pt x="90" y="162"/>
                      </a:lnTo>
                      <a:lnTo>
                        <a:pt x="90" y="146"/>
                      </a:lnTo>
                      <a:lnTo>
                        <a:pt x="88" y="128"/>
                      </a:lnTo>
                      <a:lnTo>
                        <a:pt x="90" y="126"/>
                      </a:lnTo>
                      <a:lnTo>
                        <a:pt x="90" y="123"/>
                      </a:lnTo>
                      <a:lnTo>
                        <a:pt x="90" y="121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3" name="Freeform 47">
                  <a:extLst>
                    <a:ext uri="{FF2B5EF4-FFF2-40B4-BE49-F238E27FC236}">
                      <a16:creationId xmlns:a16="http://schemas.microsoft.com/office/drawing/2014/main" id="{6DDFFB6D-9886-7B74-914A-82087E5DE5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0250" y="4346561"/>
                  <a:ext cx="827090" cy="812797"/>
                </a:xfrm>
                <a:custGeom>
                  <a:avLst/>
                  <a:gdLst>
                    <a:gd name="T0" fmla="*/ 470 w 521"/>
                    <a:gd name="T1" fmla="*/ 481 h 512"/>
                    <a:gd name="T2" fmla="*/ 447 w 521"/>
                    <a:gd name="T3" fmla="*/ 460 h 512"/>
                    <a:gd name="T4" fmla="*/ 427 w 521"/>
                    <a:gd name="T5" fmla="*/ 443 h 512"/>
                    <a:gd name="T6" fmla="*/ 516 w 521"/>
                    <a:gd name="T7" fmla="*/ 294 h 512"/>
                    <a:gd name="T8" fmla="*/ 516 w 521"/>
                    <a:gd name="T9" fmla="*/ 265 h 512"/>
                    <a:gd name="T10" fmla="*/ 516 w 521"/>
                    <a:gd name="T11" fmla="*/ 221 h 512"/>
                    <a:gd name="T12" fmla="*/ 502 w 521"/>
                    <a:gd name="T13" fmla="*/ 218 h 512"/>
                    <a:gd name="T14" fmla="*/ 482 w 521"/>
                    <a:gd name="T15" fmla="*/ 223 h 512"/>
                    <a:gd name="T16" fmla="*/ 457 w 521"/>
                    <a:gd name="T17" fmla="*/ 218 h 512"/>
                    <a:gd name="T18" fmla="*/ 445 w 521"/>
                    <a:gd name="T19" fmla="*/ 223 h 512"/>
                    <a:gd name="T20" fmla="*/ 445 w 521"/>
                    <a:gd name="T21" fmla="*/ 209 h 512"/>
                    <a:gd name="T22" fmla="*/ 443 w 521"/>
                    <a:gd name="T23" fmla="*/ 187 h 512"/>
                    <a:gd name="T24" fmla="*/ 440 w 521"/>
                    <a:gd name="T25" fmla="*/ 168 h 512"/>
                    <a:gd name="T26" fmla="*/ 431 w 521"/>
                    <a:gd name="T27" fmla="*/ 156 h 512"/>
                    <a:gd name="T28" fmla="*/ 426 w 521"/>
                    <a:gd name="T29" fmla="*/ 138 h 512"/>
                    <a:gd name="T30" fmla="*/ 426 w 521"/>
                    <a:gd name="T31" fmla="*/ 106 h 512"/>
                    <a:gd name="T32" fmla="*/ 426 w 521"/>
                    <a:gd name="T33" fmla="*/ 85 h 512"/>
                    <a:gd name="T34" fmla="*/ 427 w 521"/>
                    <a:gd name="T35" fmla="*/ 60 h 512"/>
                    <a:gd name="T36" fmla="*/ 381 w 521"/>
                    <a:gd name="T37" fmla="*/ 42 h 512"/>
                    <a:gd name="T38" fmla="*/ 328 w 521"/>
                    <a:gd name="T39" fmla="*/ 58 h 512"/>
                    <a:gd name="T40" fmla="*/ 323 w 521"/>
                    <a:gd name="T41" fmla="*/ 86 h 512"/>
                    <a:gd name="T42" fmla="*/ 266 w 521"/>
                    <a:gd name="T43" fmla="*/ 88 h 512"/>
                    <a:gd name="T44" fmla="*/ 241 w 521"/>
                    <a:gd name="T45" fmla="*/ 74 h 512"/>
                    <a:gd name="T46" fmla="*/ 229 w 521"/>
                    <a:gd name="T47" fmla="*/ 53 h 512"/>
                    <a:gd name="T48" fmla="*/ 220 w 521"/>
                    <a:gd name="T49" fmla="*/ 26 h 512"/>
                    <a:gd name="T50" fmla="*/ 217 w 521"/>
                    <a:gd name="T51" fmla="*/ 7 h 512"/>
                    <a:gd name="T52" fmla="*/ 146 w 521"/>
                    <a:gd name="T53" fmla="*/ 0 h 512"/>
                    <a:gd name="T54" fmla="*/ 100 w 521"/>
                    <a:gd name="T55" fmla="*/ 0 h 512"/>
                    <a:gd name="T56" fmla="*/ 69 w 521"/>
                    <a:gd name="T57" fmla="*/ 0 h 512"/>
                    <a:gd name="T58" fmla="*/ 50 w 521"/>
                    <a:gd name="T59" fmla="*/ 3 h 512"/>
                    <a:gd name="T60" fmla="*/ 34 w 521"/>
                    <a:gd name="T61" fmla="*/ 14 h 512"/>
                    <a:gd name="T62" fmla="*/ 62 w 521"/>
                    <a:gd name="T63" fmla="*/ 83 h 512"/>
                    <a:gd name="T64" fmla="*/ 68 w 521"/>
                    <a:gd name="T65" fmla="*/ 136 h 512"/>
                    <a:gd name="T66" fmla="*/ 89 w 521"/>
                    <a:gd name="T67" fmla="*/ 198 h 512"/>
                    <a:gd name="T68" fmla="*/ 78 w 521"/>
                    <a:gd name="T69" fmla="*/ 278 h 512"/>
                    <a:gd name="T70" fmla="*/ 32 w 521"/>
                    <a:gd name="T71" fmla="*/ 322 h 512"/>
                    <a:gd name="T72" fmla="*/ 16 w 521"/>
                    <a:gd name="T73" fmla="*/ 386 h 512"/>
                    <a:gd name="T74" fmla="*/ 2 w 521"/>
                    <a:gd name="T75" fmla="*/ 443 h 512"/>
                    <a:gd name="T76" fmla="*/ 0 w 521"/>
                    <a:gd name="T77" fmla="*/ 481 h 512"/>
                    <a:gd name="T78" fmla="*/ 15 w 521"/>
                    <a:gd name="T79" fmla="*/ 478 h 512"/>
                    <a:gd name="T80" fmla="*/ 36 w 521"/>
                    <a:gd name="T81" fmla="*/ 478 h 512"/>
                    <a:gd name="T82" fmla="*/ 61 w 521"/>
                    <a:gd name="T83" fmla="*/ 466 h 512"/>
                    <a:gd name="T84" fmla="*/ 75 w 521"/>
                    <a:gd name="T85" fmla="*/ 467 h 512"/>
                    <a:gd name="T86" fmla="*/ 82 w 521"/>
                    <a:gd name="T87" fmla="*/ 476 h 512"/>
                    <a:gd name="T88" fmla="*/ 108 w 521"/>
                    <a:gd name="T89" fmla="*/ 485 h 512"/>
                    <a:gd name="T90" fmla="*/ 275 w 521"/>
                    <a:gd name="T91" fmla="*/ 481 h 512"/>
                    <a:gd name="T92" fmla="*/ 293 w 521"/>
                    <a:gd name="T93" fmla="*/ 499 h 512"/>
                    <a:gd name="T94" fmla="*/ 314 w 521"/>
                    <a:gd name="T95" fmla="*/ 505 h 512"/>
                    <a:gd name="T96" fmla="*/ 344 w 521"/>
                    <a:gd name="T97" fmla="*/ 503 h 512"/>
                    <a:gd name="T98" fmla="*/ 356 w 521"/>
                    <a:gd name="T99" fmla="*/ 499 h 512"/>
                    <a:gd name="T100" fmla="*/ 385 w 521"/>
                    <a:gd name="T101" fmla="*/ 510 h 512"/>
                    <a:gd name="T102" fmla="*/ 397 w 521"/>
                    <a:gd name="T103" fmla="*/ 508 h 512"/>
                    <a:gd name="T104" fmla="*/ 408 w 521"/>
                    <a:gd name="T105" fmla="*/ 512 h 512"/>
                    <a:gd name="T106" fmla="*/ 482 w 521"/>
                    <a:gd name="T107" fmla="*/ 497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1" h="512">
                      <a:moveTo>
                        <a:pt x="482" y="497"/>
                      </a:moveTo>
                      <a:lnTo>
                        <a:pt x="480" y="490"/>
                      </a:lnTo>
                      <a:lnTo>
                        <a:pt x="475" y="489"/>
                      </a:lnTo>
                      <a:lnTo>
                        <a:pt x="470" y="481"/>
                      </a:lnTo>
                      <a:lnTo>
                        <a:pt x="468" y="478"/>
                      </a:lnTo>
                      <a:lnTo>
                        <a:pt x="461" y="476"/>
                      </a:lnTo>
                      <a:lnTo>
                        <a:pt x="456" y="471"/>
                      </a:lnTo>
                      <a:lnTo>
                        <a:pt x="447" y="460"/>
                      </a:lnTo>
                      <a:lnTo>
                        <a:pt x="441" y="457"/>
                      </a:lnTo>
                      <a:lnTo>
                        <a:pt x="438" y="453"/>
                      </a:lnTo>
                      <a:lnTo>
                        <a:pt x="434" y="448"/>
                      </a:lnTo>
                      <a:lnTo>
                        <a:pt x="427" y="443"/>
                      </a:lnTo>
                      <a:lnTo>
                        <a:pt x="426" y="437"/>
                      </a:lnTo>
                      <a:lnTo>
                        <a:pt x="429" y="299"/>
                      </a:lnTo>
                      <a:lnTo>
                        <a:pt x="518" y="299"/>
                      </a:lnTo>
                      <a:lnTo>
                        <a:pt x="516" y="294"/>
                      </a:lnTo>
                      <a:lnTo>
                        <a:pt x="518" y="283"/>
                      </a:lnTo>
                      <a:lnTo>
                        <a:pt x="521" y="280"/>
                      </a:lnTo>
                      <a:lnTo>
                        <a:pt x="519" y="272"/>
                      </a:lnTo>
                      <a:lnTo>
                        <a:pt x="516" y="265"/>
                      </a:lnTo>
                      <a:lnTo>
                        <a:pt x="516" y="257"/>
                      </a:lnTo>
                      <a:lnTo>
                        <a:pt x="516" y="241"/>
                      </a:lnTo>
                      <a:lnTo>
                        <a:pt x="514" y="223"/>
                      </a:lnTo>
                      <a:lnTo>
                        <a:pt x="516" y="221"/>
                      </a:lnTo>
                      <a:lnTo>
                        <a:pt x="516" y="218"/>
                      </a:lnTo>
                      <a:lnTo>
                        <a:pt x="516" y="214"/>
                      </a:lnTo>
                      <a:lnTo>
                        <a:pt x="509" y="216"/>
                      </a:lnTo>
                      <a:lnTo>
                        <a:pt x="502" y="218"/>
                      </a:lnTo>
                      <a:lnTo>
                        <a:pt x="495" y="221"/>
                      </a:lnTo>
                      <a:lnTo>
                        <a:pt x="491" y="223"/>
                      </a:lnTo>
                      <a:lnTo>
                        <a:pt x="486" y="225"/>
                      </a:lnTo>
                      <a:lnTo>
                        <a:pt x="482" y="223"/>
                      </a:lnTo>
                      <a:lnTo>
                        <a:pt x="472" y="223"/>
                      </a:lnTo>
                      <a:lnTo>
                        <a:pt x="466" y="221"/>
                      </a:lnTo>
                      <a:lnTo>
                        <a:pt x="461" y="218"/>
                      </a:lnTo>
                      <a:lnTo>
                        <a:pt x="457" y="218"/>
                      </a:lnTo>
                      <a:lnTo>
                        <a:pt x="456" y="219"/>
                      </a:lnTo>
                      <a:lnTo>
                        <a:pt x="452" y="221"/>
                      </a:lnTo>
                      <a:lnTo>
                        <a:pt x="449" y="223"/>
                      </a:lnTo>
                      <a:lnTo>
                        <a:pt x="445" y="223"/>
                      </a:lnTo>
                      <a:lnTo>
                        <a:pt x="443" y="221"/>
                      </a:lnTo>
                      <a:lnTo>
                        <a:pt x="443" y="212"/>
                      </a:lnTo>
                      <a:lnTo>
                        <a:pt x="447" y="210"/>
                      </a:lnTo>
                      <a:lnTo>
                        <a:pt x="445" y="209"/>
                      </a:lnTo>
                      <a:lnTo>
                        <a:pt x="449" y="202"/>
                      </a:lnTo>
                      <a:lnTo>
                        <a:pt x="443" y="198"/>
                      </a:lnTo>
                      <a:lnTo>
                        <a:pt x="441" y="189"/>
                      </a:lnTo>
                      <a:lnTo>
                        <a:pt x="443" y="187"/>
                      </a:lnTo>
                      <a:lnTo>
                        <a:pt x="443" y="182"/>
                      </a:lnTo>
                      <a:lnTo>
                        <a:pt x="438" y="177"/>
                      </a:lnTo>
                      <a:lnTo>
                        <a:pt x="438" y="173"/>
                      </a:lnTo>
                      <a:lnTo>
                        <a:pt x="440" y="168"/>
                      </a:lnTo>
                      <a:lnTo>
                        <a:pt x="440" y="163"/>
                      </a:lnTo>
                      <a:lnTo>
                        <a:pt x="436" y="163"/>
                      </a:lnTo>
                      <a:lnTo>
                        <a:pt x="433" y="157"/>
                      </a:lnTo>
                      <a:lnTo>
                        <a:pt x="431" y="156"/>
                      </a:lnTo>
                      <a:lnTo>
                        <a:pt x="431" y="150"/>
                      </a:lnTo>
                      <a:lnTo>
                        <a:pt x="427" y="145"/>
                      </a:lnTo>
                      <a:lnTo>
                        <a:pt x="427" y="141"/>
                      </a:lnTo>
                      <a:lnTo>
                        <a:pt x="426" y="138"/>
                      </a:lnTo>
                      <a:lnTo>
                        <a:pt x="427" y="129"/>
                      </a:lnTo>
                      <a:lnTo>
                        <a:pt x="427" y="115"/>
                      </a:lnTo>
                      <a:lnTo>
                        <a:pt x="426" y="110"/>
                      </a:lnTo>
                      <a:lnTo>
                        <a:pt x="426" y="106"/>
                      </a:lnTo>
                      <a:lnTo>
                        <a:pt x="427" y="104"/>
                      </a:lnTo>
                      <a:lnTo>
                        <a:pt x="427" y="97"/>
                      </a:lnTo>
                      <a:lnTo>
                        <a:pt x="424" y="90"/>
                      </a:lnTo>
                      <a:lnTo>
                        <a:pt x="426" y="85"/>
                      </a:lnTo>
                      <a:lnTo>
                        <a:pt x="429" y="78"/>
                      </a:lnTo>
                      <a:lnTo>
                        <a:pt x="429" y="71"/>
                      </a:lnTo>
                      <a:lnTo>
                        <a:pt x="429" y="65"/>
                      </a:lnTo>
                      <a:lnTo>
                        <a:pt x="427" y="60"/>
                      </a:lnTo>
                      <a:lnTo>
                        <a:pt x="379" y="56"/>
                      </a:lnTo>
                      <a:lnTo>
                        <a:pt x="379" y="53"/>
                      </a:lnTo>
                      <a:lnTo>
                        <a:pt x="381" y="48"/>
                      </a:lnTo>
                      <a:lnTo>
                        <a:pt x="381" y="42"/>
                      </a:lnTo>
                      <a:lnTo>
                        <a:pt x="369" y="42"/>
                      </a:lnTo>
                      <a:lnTo>
                        <a:pt x="369" y="46"/>
                      </a:lnTo>
                      <a:lnTo>
                        <a:pt x="328" y="46"/>
                      </a:lnTo>
                      <a:lnTo>
                        <a:pt x="328" y="58"/>
                      </a:lnTo>
                      <a:lnTo>
                        <a:pt x="325" y="65"/>
                      </a:lnTo>
                      <a:lnTo>
                        <a:pt x="321" y="67"/>
                      </a:lnTo>
                      <a:lnTo>
                        <a:pt x="323" y="74"/>
                      </a:lnTo>
                      <a:lnTo>
                        <a:pt x="323" y="86"/>
                      </a:lnTo>
                      <a:lnTo>
                        <a:pt x="291" y="88"/>
                      </a:lnTo>
                      <a:lnTo>
                        <a:pt x="286" y="90"/>
                      </a:lnTo>
                      <a:lnTo>
                        <a:pt x="271" y="90"/>
                      </a:lnTo>
                      <a:lnTo>
                        <a:pt x="266" y="88"/>
                      </a:lnTo>
                      <a:lnTo>
                        <a:pt x="259" y="90"/>
                      </a:lnTo>
                      <a:lnTo>
                        <a:pt x="248" y="90"/>
                      </a:lnTo>
                      <a:lnTo>
                        <a:pt x="243" y="88"/>
                      </a:lnTo>
                      <a:lnTo>
                        <a:pt x="241" y="74"/>
                      </a:lnTo>
                      <a:lnTo>
                        <a:pt x="236" y="65"/>
                      </a:lnTo>
                      <a:lnTo>
                        <a:pt x="232" y="60"/>
                      </a:lnTo>
                      <a:lnTo>
                        <a:pt x="229" y="58"/>
                      </a:lnTo>
                      <a:lnTo>
                        <a:pt x="229" y="53"/>
                      </a:lnTo>
                      <a:lnTo>
                        <a:pt x="227" y="49"/>
                      </a:lnTo>
                      <a:lnTo>
                        <a:pt x="225" y="39"/>
                      </a:lnTo>
                      <a:lnTo>
                        <a:pt x="220" y="32"/>
                      </a:lnTo>
                      <a:lnTo>
                        <a:pt x="220" y="26"/>
                      </a:lnTo>
                      <a:lnTo>
                        <a:pt x="222" y="23"/>
                      </a:lnTo>
                      <a:lnTo>
                        <a:pt x="222" y="17"/>
                      </a:lnTo>
                      <a:lnTo>
                        <a:pt x="218" y="12"/>
                      </a:lnTo>
                      <a:lnTo>
                        <a:pt x="217" y="7"/>
                      </a:lnTo>
                      <a:lnTo>
                        <a:pt x="218" y="5"/>
                      </a:lnTo>
                      <a:lnTo>
                        <a:pt x="218" y="0"/>
                      </a:lnTo>
                      <a:lnTo>
                        <a:pt x="174" y="0"/>
                      </a:lnTo>
                      <a:lnTo>
                        <a:pt x="146" y="0"/>
                      </a:lnTo>
                      <a:lnTo>
                        <a:pt x="131" y="1"/>
                      </a:lnTo>
                      <a:lnTo>
                        <a:pt x="117" y="0"/>
                      </a:lnTo>
                      <a:lnTo>
                        <a:pt x="112" y="0"/>
                      </a:lnTo>
                      <a:lnTo>
                        <a:pt x="100" y="0"/>
                      </a:lnTo>
                      <a:lnTo>
                        <a:pt x="89" y="0"/>
                      </a:lnTo>
                      <a:lnTo>
                        <a:pt x="82" y="0"/>
                      </a:lnTo>
                      <a:lnTo>
                        <a:pt x="75" y="0"/>
                      </a:lnTo>
                      <a:lnTo>
                        <a:pt x="69" y="0"/>
                      </a:lnTo>
                      <a:lnTo>
                        <a:pt x="62" y="1"/>
                      </a:lnTo>
                      <a:lnTo>
                        <a:pt x="55" y="3"/>
                      </a:lnTo>
                      <a:lnTo>
                        <a:pt x="54" y="3"/>
                      </a:lnTo>
                      <a:lnTo>
                        <a:pt x="50" y="3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46" y="7"/>
                      </a:lnTo>
                      <a:lnTo>
                        <a:pt x="34" y="14"/>
                      </a:lnTo>
                      <a:lnTo>
                        <a:pt x="39" y="19"/>
                      </a:lnTo>
                      <a:lnTo>
                        <a:pt x="39" y="24"/>
                      </a:lnTo>
                      <a:lnTo>
                        <a:pt x="62" y="49"/>
                      </a:lnTo>
                      <a:lnTo>
                        <a:pt x="62" y="83"/>
                      </a:lnTo>
                      <a:lnTo>
                        <a:pt x="75" y="99"/>
                      </a:lnTo>
                      <a:lnTo>
                        <a:pt x="73" y="117"/>
                      </a:lnTo>
                      <a:lnTo>
                        <a:pt x="61" y="133"/>
                      </a:lnTo>
                      <a:lnTo>
                        <a:pt x="68" y="136"/>
                      </a:lnTo>
                      <a:lnTo>
                        <a:pt x="68" y="152"/>
                      </a:lnTo>
                      <a:lnTo>
                        <a:pt x="75" y="161"/>
                      </a:lnTo>
                      <a:lnTo>
                        <a:pt x="75" y="173"/>
                      </a:lnTo>
                      <a:lnTo>
                        <a:pt x="89" y="198"/>
                      </a:lnTo>
                      <a:lnTo>
                        <a:pt x="89" y="205"/>
                      </a:lnTo>
                      <a:lnTo>
                        <a:pt x="94" y="210"/>
                      </a:lnTo>
                      <a:lnTo>
                        <a:pt x="94" y="248"/>
                      </a:lnTo>
                      <a:lnTo>
                        <a:pt x="78" y="278"/>
                      </a:lnTo>
                      <a:lnTo>
                        <a:pt x="73" y="278"/>
                      </a:lnTo>
                      <a:lnTo>
                        <a:pt x="55" y="292"/>
                      </a:lnTo>
                      <a:lnTo>
                        <a:pt x="54" y="303"/>
                      </a:lnTo>
                      <a:lnTo>
                        <a:pt x="32" y="322"/>
                      </a:lnTo>
                      <a:lnTo>
                        <a:pt x="30" y="336"/>
                      </a:lnTo>
                      <a:lnTo>
                        <a:pt x="27" y="340"/>
                      </a:lnTo>
                      <a:lnTo>
                        <a:pt x="27" y="372"/>
                      </a:lnTo>
                      <a:lnTo>
                        <a:pt x="16" y="386"/>
                      </a:lnTo>
                      <a:lnTo>
                        <a:pt x="15" y="402"/>
                      </a:lnTo>
                      <a:lnTo>
                        <a:pt x="4" y="414"/>
                      </a:lnTo>
                      <a:lnTo>
                        <a:pt x="4" y="430"/>
                      </a:lnTo>
                      <a:lnTo>
                        <a:pt x="2" y="443"/>
                      </a:lnTo>
                      <a:lnTo>
                        <a:pt x="2" y="464"/>
                      </a:lnTo>
                      <a:lnTo>
                        <a:pt x="0" y="476"/>
                      </a:lnTo>
                      <a:lnTo>
                        <a:pt x="0" y="481"/>
                      </a:lnTo>
                      <a:lnTo>
                        <a:pt x="0" y="481"/>
                      </a:lnTo>
                      <a:lnTo>
                        <a:pt x="7" y="481"/>
                      </a:lnTo>
                      <a:lnTo>
                        <a:pt x="9" y="483"/>
                      </a:lnTo>
                      <a:lnTo>
                        <a:pt x="13" y="483"/>
                      </a:lnTo>
                      <a:lnTo>
                        <a:pt x="15" y="478"/>
                      </a:lnTo>
                      <a:lnTo>
                        <a:pt x="16" y="476"/>
                      </a:lnTo>
                      <a:lnTo>
                        <a:pt x="27" y="478"/>
                      </a:lnTo>
                      <a:lnTo>
                        <a:pt x="32" y="481"/>
                      </a:lnTo>
                      <a:lnTo>
                        <a:pt x="36" y="478"/>
                      </a:lnTo>
                      <a:lnTo>
                        <a:pt x="38" y="473"/>
                      </a:lnTo>
                      <a:lnTo>
                        <a:pt x="50" y="464"/>
                      </a:lnTo>
                      <a:lnTo>
                        <a:pt x="55" y="464"/>
                      </a:lnTo>
                      <a:lnTo>
                        <a:pt x="61" y="466"/>
                      </a:lnTo>
                      <a:lnTo>
                        <a:pt x="62" y="467"/>
                      </a:lnTo>
                      <a:lnTo>
                        <a:pt x="66" y="466"/>
                      </a:lnTo>
                      <a:lnTo>
                        <a:pt x="69" y="464"/>
                      </a:lnTo>
                      <a:lnTo>
                        <a:pt x="75" y="467"/>
                      </a:lnTo>
                      <a:lnTo>
                        <a:pt x="75" y="469"/>
                      </a:lnTo>
                      <a:lnTo>
                        <a:pt x="80" y="471"/>
                      </a:lnTo>
                      <a:lnTo>
                        <a:pt x="78" y="476"/>
                      </a:lnTo>
                      <a:lnTo>
                        <a:pt x="82" y="476"/>
                      </a:lnTo>
                      <a:lnTo>
                        <a:pt x="91" y="485"/>
                      </a:lnTo>
                      <a:lnTo>
                        <a:pt x="100" y="489"/>
                      </a:lnTo>
                      <a:lnTo>
                        <a:pt x="107" y="485"/>
                      </a:lnTo>
                      <a:lnTo>
                        <a:pt x="108" y="485"/>
                      </a:lnTo>
                      <a:lnTo>
                        <a:pt x="114" y="481"/>
                      </a:lnTo>
                      <a:lnTo>
                        <a:pt x="117" y="481"/>
                      </a:lnTo>
                      <a:lnTo>
                        <a:pt x="121" y="483"/>
                      </a:lnTo>
                      <a:lnTo>
                        <a:pt x="275" y="481"/>
                      </a:lnTo>
                      <a:lnTo>
                        <a:pt x="277" y="483"/>
                      </a:lnTo>
                      <a:lnTo>
                        <a:pt x="282" y="492"/>
                      </a:lnTo>
                      <a:lnTo>
                        <a:pt x="286" y="496"/>
                      </a:lnTo>
                      <a:lnTo>
                        <a:pt x="293" y="499"/>
                      </a:lnTo>
                      <a:lnTo>
                        <a:pt x="302" y="501"/>
                      </a:lnTo>
                      <a:lnTo>
                        <a:pt x="309" y="499"/>
                      </a:lnTo>
                      <a:lnTo>
                        <a:pt x="312" y="501"/>
                      </a:lnTo>
                      <a:lnTo>
                        <a:pt x="314" y="505"/>
                      </a:lnTo>
                      <a:lnTo>
                        <a:pt x="319" y="506"/>
                      </a:lnTo>
                      <a:lnTo>
                        <a:pt x="326" y="503"/>
                      </a:lnTo>
                      <a:lnTo>
                        <a:pt x="333" y="501"/>
                      </a:lnTo>
                      <a:lnTo>
                        <a:pt x="344" y="503"/>
                      </a:lnTo>
                      <a:lnTo>
                        <a:pt x="349" y="503"/>
                      </a:lnTo>
                      <a:lnTo>
                        <a:pt x="349" y="497"/>
                      </a:lnTo>
                      <a:lnTo>
                        <a:pt x="353" y="499"/>
                      </a:lnTo>
                      <a:lnTo>
                        <a:pt x="356" y="499"/>
                      </a:lnTo>
                      <a:lnTo>
                        <a:pt x="365" y="508"/>
                      </a:lnTo>
                      <a:lnTo>
                        <a:pt x="372" y="512"/>
                      </a:lnTo>
                      <a:lnTo>
                        <a:pt x="381" y="512"/>
                      </a:lnTo>
                      <a:lnTo>
                        <a:pt x="385" y="510"/>
                      </a:lnTo>
                      <a:lnTo>
                        <a:pt x="385" y="506"/>
                      </a:lnTo>
                      <a:lnTo>
                        <a:pt x="390" y="506"/>
                      </a:lnTo>
                      <a:lnTo>
                        <a:pt x="394" y="506"/>
                      </a:lnTo>
                      <a:lnTo>
                        <a:pt x="397" y="508"/>
                      </a:lnTo>
                      <a:lnTo>
                        <a:pt x="401" y="508"/>
                      </a:lnTo>
                      <a:lnTo>
                        <a:pt x="403" y="510"/>
                      </a:lnTo>
                      <a:lnTo>
                        <a:pt x="406" y="510"/>
                      </a:lnTo>
                      <a:lnTo>
                        <a:pt x="408" y="512"/>
                      </a:lnTo>
                      <a:lnTo>
                        <a:pt x="411" y="512"/>
                      </a:lnTo>
                      <a:lnTo>
                        <a:pt x="415" y="512"/>
                      </a:lnTo>
                      <a:lnTo>
                        <a:pt x="418" y="512"/>
                      </a:lnTo>
                      <a:lnTo>
                        <a:pt x="482" y="49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4" name="Freeform 48">
                  <a:extLst>
                    <a:ext uri="{FF2B5EF4-FFF2-40B4-BE49-F238E27FC236}">
                      <a16:creationId xmlns:a16="http://schemas.microsoft.com/office/drawing/2014/main" id="{A9F1C133-A4EB-0C23-D77E-8912E21E3C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94488" y="4992671"/>
                  <a:ext cx="517526" cy="469898"/>
                </a:xfrm>
                <a:custGeom>
                  <a:avLst/>
                  <a:gdLst>
                    <a:gd name="T0" fmla="*/ 14 w 326"/>
                    <a:gd name="T1" fmla="*/ 94 h 296"/>
                    <a:gd name="T2" fmla="*/ 30 w 326"/>
                    <a:gd name="T3" fmla="*/ 101 h 296"/>
                    <a:gd name="T4" fmla="*/ 51 w 326"/>
                    <a:gd name="T5" fmla="*/ 98 h 296"/>
                    <a:gd name="T6" fmla="*/ 56 w 326"/>
                    <a:gd name="T7" fmla="*/ 98 h 296"/>
                    <a:gd name="T8" fmla="*/ 81 w 326"/>
                    <a:gd name="T9" fmla="*/ 101 h 296"/>
                    <a:gd name="T10" fmla="*/ 138 w 326"/>
                    <a:gd name="T11" fmla="*/ 43 h 296"/>
                    <a:gd name="T12" fmla="*/ 156 w 326"/>
                    <a:gd name="T13" fmla="*/ 32 h 296"/>
                    <a:gd name="T14" fmla="*/ 156 w 326"/>
                    <a:gd name="T15" fmla="*/ 20 h 296"/>
                    <a:gd name="T16" fmla="*/ 177 w 326"/>
                    <a:gd name="T17" fmla="*/ 5 h 296"/>
                    <a:gd name="T18" fmla="*/ 203 w 326"/>
                    <a:gd name="T19" fmla="*/ 0 h 296"/>
                    <a:gd name="T20" fmla="*/ 218 w 326"/>
                    <a:gd name="T21" fmla="*/ 4 h 296"/>
                    <a:gd name="T22" fmla="*/ 223 w 326"/>
                    <a:gd name="T23" fmla="*/ 18 h 296"/>
                    <a:gd name="T24" fmla="*/ 246 w 326"/>
                    <a:gd name="T25" fmla="*/ 23 h 296"/>
                    <a:gd name="T26" fmla="*/ 265 w 326"/>
                    <a:gd name="T27" fmla="*/ 21 h 296"/>
                    <a:gd name="T28" fmla="*/ 292 w 326"/>
                    <a:gd name="T29" fmla="*/ 39 h 296"/>
                    <a:gd name="T30" fmla="*/ 317 w 326"/>
                    <a:gd name="T31" fmla="*/ 51 h 296"/>
                    <a:gd name="T32" fmla="*/ 322 w 326"/>
                    <a:gd name="T33" fmla="*/ 66 h 296"/>
                    <a:gd name="T34" fmla="*/ 322 w 326"/>
                    <a:gd name="T35" fmla="*/ 83 h 296"/>
                    <a:gd name="T36" fmla="*/ 318 w 326"/>
                    <a:gd name="T37" fmla="*/ 106 h 296"/>
                    <a:gd name="T38" fmla="*/ 324 w 326"/>
                    <a:gd name="T39" fmla="*/ 115 h 296"/>
                    <a:gd name="T40" fmla="*/ 315 w 326"/>
                    <a:gd name="T41" fmla="*/ 133 h 296"/>
                    <a:gd name="T42" fmla="*/ 308 w 326"/>
                    <a:gd name="T43" fmla="*/ 149 h 296"/>
                    <a:gd name="T44" fmla="*/ 313 w 326"/>
                    <a:gd name="T45" fmla="*/ 165 h 296"/>
                    <a:gd name="T46" fmla="*/ 320 w 326"/>
                    <a:gd name="T47" fmla="*/ 183 h 296"/>
                    <a:gd name="T48" fmla="*/ 304 w 326"/>
                    <a:gd name="T49" fmla="*/ 202 h 296"/>
                    <a:gd name="T50" fmla="*/ 299 w 326"/>
                    <a:gd name="T51" fmla="*/ 214 h 296"/>
                    <a:gd name="T52" fmla="*/ 294 w 326"/>
                    <a:gd name="T53" fmla="*/ 237 h 296"/>
                    <a:gd name="T54" fmla="*/ 241 w 326"/>
                    <a:gd name="T55" fmla="*/ 291 h 296"/>
                    <a:gd name="T56" fmla="*/ 210 w 326"/>
                    <a:gd name="T57" fmla="*/ 292 h 296"/>
                    <a:gd name="T58" fmla="*/ 191 w 326"/>
                    <a:gd name="T59" fmla="*/ 285 h 296"/>
                    <a:gd name="T60" fmla="*/ 164 w 326"/>
                    <a:gd name="T61" fmla="*/ 280 h 296"/>
                    <a:gd name="T62" fmla="*/ 159 w 326"/>
                    <a:gd name="T63" fmla="*/ 268 h 296"/>
                    <a:gd name="T64" fmla="*/ 141 w 326"/>
                    <a:gd name="T65" fmla="*/ 259 h 296"/>
                    <a:gd name="T66" fmla="*/ 120 w 326"/>
                    <a:gd name="T67" fmla="*/ 257 h 296"/>
                    <a:gd name="T68" fmla="*/ 99 w 326"/>
                    <a:gd name="T69" fmla="*/ 243 h 296"/>
                    <a:gd name="T70" fmla="*/ 94 w 326"/>
                    <a:gd name="T71" fmla="*/ 220 h 296"/>
                    <a:gd name="T72" fmla="*/ 83 w 326"/>
                    <a:gd name="T73" fmla="*/ 207 h 296"/>
                    <a:gd name="T74" fmla="*/ 81 w 326"/>
                    <a:gd name="T75" fmla="*/ 198 h 296"/>
                    <a:gd name="T76" fmla="*/ 65 w 326"/>
                    <a:gd name="T77" fmla="*/ 186 h 296"/>
                    <a:gd name="T78" fmla="*/ 42 w 326"/>
                    <a:gd name="T79" fmla="*/ 156 h 296"/>
                    <a:gd name="T80" fmla="*/ 33 w 326"/>
                    <a:gd name="T81" fmla="*/ 147 h 296"/>
                    <a:gd name="T82" fmla="*/ 23 w 326"/>
                    <a:gd name="T83" fmla="*/ 129 h 296"/>
                    <a:gd name="T84" fmla="*/ 17 w 326"/>
                    <a:gd name="T85" fmla="*/ 119 h 296"/>
                    <a:gd name="T86" fmla="*/ 3 w 326"/>
                    <a:gd name="T87" fmla="*/ 106 h 296"/>
                    <a:gd name="T88" fmla="*/ 3 w 326"/>
                    <a:gd name="T89" fmla="*/ 96 h 296"/>
                    <a:gd name="T90" fmla="*/ 0 w 326"/>
                    <a:gd name="T91" fmla="*/ 92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326" h="296">
                      <a:moveTo>
                        <a:pt x="0" y="92"/>
                      </a:moveTo>
                      <a:lnTo>
                        <a:pt x="5" y="92"/>
                      </a:lnTo>
                      <a:lnTo>
                        <a:pt x="14" y="94"/>
                      </a:lnTo>
                      <a:lnTo>
                        <a:pt x="23" y="98"/>
                      </a:lnTo>
                      <a:lnTo>
                        <a:pt x="26" y="101"/>
                      </a:lnTo>
                      <a:lnTo>
                        <a:pt x="30" y="101"/>
                      </a:lnTo>
                      <a:lnTo>
                        <a:pt x="37" y="96"/>
                      </a:lnTo>
                      <a:lnTo>
                        <a:pt x="47" y="96"/>
                      </a:lnTo>
                      <a:lnTo>
                        <a:pt x="51" y="98"/>
                      </a:lnTo>
                      <a:lnTo>
                        <a:pt x="53" y="96"/>
                      </a:lnTo>
                      <a:lnTo>
                        <a:pt x="55" y="98"/>
                      </a:lnTo>
                      <a:lnTo>
                        <a:pt x="56" y="98"/>
                      </a:lnTo>
                      <a:lnTo>
                        <a:pt x="62" y="103"/>
                      </a:lnTo>
                      <a:lnTo>
                        <a:pt x="70" y="105"/>
                      </a:lnTo>
                      <a:lnTo>
                        <a:pt x="81" y="101"/>
                      </a:lnTo>
                      <a:lnTo>
                        <a:pt x="94" y="83"/>
                      </a:lnTo>
                      <a:lnTo>
                        <a:pt x="113" y="59"/>
                      </a:lnTo>
                      <a:lnTo>
                        <a:pt x="138" y="43"/>
                      </a:lnTo>
                      <a:lnTo>
                        <a:pt x="152" y="37"/>
                      </a:lnTo>
                      <a:lnTo>
                        <a:pt x="156" y="36"/>
                      </a:lnTo>
                      <a:lnTo>
                        <a:pt x="156" y="32"/>
                      </a:lnTo>
                      <a:lnTo>
                        <a:pt x="156" y="28"/>
                      </a:lnTo>
                      <a:lnTo>
                        <a:pt x="157" y="25"/>
                      </a:lnTo>
                      <a:lnTo>
                        <a:pt x="156" y="20"/>
                      </a:lnTo>
                      <a:lnTo>
                        <a:pt x="159" y="14"/>
                      </a:lnTo>
                      <a:lnTo>
                        <a:pt x="171" y="9"/>
                      </a:lnTo>
                      <a:lnTo>
                        <a:pt x="177" y="5"/>
                      </a:lnTo>
                      <a:lnTo>
                        <a:pt x="182" y="4"/>
                      </a:lnTo>
                      <a:lnTo>
                        <a:pt x="191" y="0"/>
                      </a:lnTo>
                      <a:lnTo>
                        <a:pt x="203" y="0"/>
                      </a:lnTo>
                      <a:lnTo>
                        <a:pt x="205" y="4"/>
                      </a:lnTo>
                      <a:lnTo>
                        <a:pt x="209" y="2"/>
                      </a:lnTo>
                      <a:lnTo>
                        <a:pt x="218" y="4"/>
                      </a:lnTo>
                      <a:lnTo>
                        <a:pt x="221" y="4"/>
                      </a:lnTo>
                      <a:lnTo>
                        <a:pt x="223" y="4"/>
                      </a:lnTo>
                      <a:lnTo>
                        <a:pt x="223" y="18"/>
                      </a:lnTo>
                      <a:lnTo>
                        <a:pt x="239" y="18"/>
                      </a:lnTo>
                      <a:lnTo>
                        <a:pt x="244" y="20"/>
                      </a:lnTo>
                      <a:lnTo>
                        <a:pt x="246" y="23"/>
                      </a:lnTo>
                      <a:lnTo>
                        <a:pt x="251" y="23"/>
                      </a:lnTo>
                      <a:lnTo>
                        <a:pt x="253" y="18"/>
                      </a:lnTo>
                      <a:lnTo>
                        <a:pt x="265" y="21"/>
                      </a:lnTo>
                      <a:lnTo>
                        <a:pt x="276" y="28"/>
                      </a:lnTo>
                      <a:lnTo>
                        <a:pt x="283" y="37"/>
                      </a:lnTo>
                      <a:lnTo>
                        <a:pt x="292" y="39"/>
                      </a:lnTo>
                      <a:lnTo>
                        <a:pt x="304" y="41"/>
                      </a:lnTo>
                      <a:lnTo>
                        <a:pt x="311" y="46"/>
                      </a:lnTo>
                      <a:lnTo>
                        <a:pt x="317" y="51"/>
                      </a:lnTo>
                      <a:lnTo>
                        <a:pt x="326" y="51"/>
                      </a:lnTo>
                      <a:lnTo>
                        <a:pt x="326" y="59"/>
                      </a:lnTo>
                      <a:lnTo>
                        <a:pt x="322" y="66"/>
                      </a:lnTo>
                      <a:lnTo>
                        <a:pt x="324" y="71"/>
                      </a:lnTo>
                      <a:lnTo>
                        <a:pt x="322" y="78"/>
                      </a:lnTo>
                      <a:lnTo>
                        <a:pt x="322" y="83"/>
                      </a:lnTo>
                      <a:lnTo>
                        <a:pt x="322" y="87"/>
                      </a:lnTo>
                      <a:lnTo>
                        <a:pt x="318" y="94"/>
                      </a:lnTo>
                      <a:lnTo>
                        <a:pt x="318" y="106"/>
                      </a:lnTo>
                      <a:lnTo>
                        <a:pt x="313" y="113"/>
                      </a:lnTo>
                      <a:lnTo>
                        <a:pt x="317" y="117"/>
                      </a:lnTo>
                      <a:lnTo>
                        <a:pt x="324" y="115"/>
                      </a:lnTo>
                      <a:lnTo>
                        <a:pt x="320" y="122"/>
                      </a:lnTo>
                      <a:lnTo>
                        <a:pt x="315" y="126"/>
                      </a:lnTo>
                      <a:lnTo>
                        <a:pt x="315" y="133"/>
                      </a:lnTo>
                      <a:lnTo>
                        <a:pt x="313" y="142"/>
                      </a:lnTo>
                      <a:lnTo>
                        <a:pt x="308" y="144"/>
                      </a:lnTo>
                      <a:lnTo>
                        <a:pt x="308" y="149"/>
                      </a:lnTo>
                      <a:lnTo>
                        <a:pt x="315" y="154"/>
                      </a:lnTo>
                      <a:lnTo>
                        <a:pt x="318" y="161"/>
                      </a:lnTo>
                      <a:lnTo>
                        <a:pt x="313" y="165"/>
                      </a:lnTo>
                      <a:lnTo>
                        <a:pt x="313" y="174"/>
                      </a:lnTo>
                      <a:lnTo>
                        <a:pt x="318" y="177"/>
                      </a:lnTo>
                      <a:lnTo>
                        <a:pt x="320" y="183"/>
                      </a:lnTo>
                      <a:lnTo>
                        <a:pt x="315" y="190"/>
                      </a:lnTo>
                      <a:lnTo>
                        <a:pt x="306" y="197"/>
                      </a:lnTo>
                      <a:lnTo>
                        <a:pt x="304" y="202"/>
                      </a:lnTo>
                      <a:lnTo>
                        <a:pt x="297" y="202"/>
                      </a:lnTo>
                      <a:lnTo>
                        <a:pt x="297" y="207"/>
                      </a:lnTo>
                      <a:lnTo>
                        <a:pt x="299" y="214"/>
                      </a:lnTo>
                      <a:lnTo>
                        <a:pt x="295" y="220"/>
                      </a:lnTo>
                      <a:lnTo>
                        <a:pt x="295" y="232"/>
                      </a:lnTo>
                      <a:lnTo>
                        <a:pt x="294" y="237"/>
                      </a:lnTo>
                      <a:lnTo>
                        <a:pt x="294" y="250"/>
                      </a:lnTo>
                      <a:lnTo>
                        <a:pt x="248" y="296"/>
                      </a:lnTo>
                      <a:lnTo>
                        <a:pt x="241" y="291"/>
                      </a:lnTo>
                      <a:lnTo>
                        <a:pt x="226" y="287"/>
                      </a:lnTo>
                      <a:lnTo>
                        <a:pt x="216" y="289"/>
                      </a:lnTo>
                      <a:lnTo>
                        <a:pt x="210" y="292"/>
                      </a:lnTo>
                      <a:lnTo>
                        <a:pt x="207" y="289"/>
                      </a:lnTo>
                      <a:lnTo>
                        <a:pt x="198" y="285"/>
                      </a:lnTo>
                      <a:lnTo>
                        <a:pt x="191" y="285"/>
                      </a:lnTo>
                      <a:lnTo>
                        <a:pt x="189" y="280"/>
                      </a:lnTo>
                      <a:lnTo>
                        <a:pt x="179" y="278"/>
                      </a:lnTo>
                      <a:lnTo>
                        <a:pt x="164" y="280"/>
                      </a:lnTo>
                      <a:lnTo>
                        <a:pt x="161" y="276"/>
                      </a:lnTo>
                      <a:lnTo>
                        <a:pt x="159" y="273"/>
                      </a:lnTo>
                      <a:lnTo>
                        <a:pt x="159" y="268"/>
                      </a:lnTo>
                      <a:lnTo>
                        <a:pt x="156" y="264"/>
                      </a:lnTo>
                      <a:lnTo>
                        <a:pt x="150" y="264"/>
                      </a:lnTo>
                      <a:lnTo>
                        <a:pt x="141" y="259"/>
                      </a:lnTo>
                      <a:lnTo>
                        <a:pt x="136" y="259"/>
                      </a:lnTo>
                      <a:lnTo>
                        <a:pt x="125" y="255"/>
                      </a:lnTo>
                      <a:lnTo>
                        <a:pt x="120" y="257"/>
                      </a:lnTo>
                      <a:lnTo>
                        <a:pt x="111" y="255"/>
                      </a:lnTo>
                      <a:lnTo>
                        <a:pt x="108" y="248"/>
                      </a:lnTo>
                      <a:lnTo>
                        <a:pt x="99" y="243"/>
                      </a:lnTo>
                      <a:lnTo>
                        <a:pt x="97" y="236"/>
                      </a:lnTo>
                      <a:lnTo>
                        <a:pt x="95" y="229"/>
                      </a:lnTo>
                      <a:lnTo>
                        <a:pt x="94" y="220"/>
                      </a:lnTo>
                      <a:lnTo>
                        <a:pt x="97" y="214"/>
                      </a:lnTo>
                      <a:lnTo>
                        <a:pt x="90" y="209"/>
                      </a:lnTo>
                      <a:lnTo>
                        <a:pt x="83" y="207"/>
                      </a:lnTo>
                      <a:lnTo>
                        <a:pt x="81" y="202"/>
                      </a:lnTo>
                      <a:lnTo>
                        <a:pt x="81" y="200"/>
                      </a:lnTo>
                      <a:lnTo>
                        <a:pt x="81" y="198"/>
                      </a:lnTo>
                      <a:lnTo>
                        <a:pt x="76" y="195"/>
                      </a:lnTo>
                      <a:lnTo>
                        <a:pt x="72" y="191"/>
                      </a:lnTo>
                      <a:lnTo>
                        <a:pt x="65" y="186"/>
                      </a:lnTo>
                      <a:lnTo>
                        <a:pt x="56" y="181"/>
                      </a:lnTo>
                      <a:lnTo>
                        <a:pt x="44" y="163"/>
                      </a:lnTo>
                      <a:lnTo>
                        <a:pt x="42" y="156"/>
                      </a:lnTo>
                      <a:lnTo>
                        <a:pt x="40" y="156"/>
                      </a:lnTo>
                      <a:lnTo>
                        <a:pt x="35" y="152"/>
                      </a:lnTo>
                      <a:lnTo>
                        <a:pt x="33" y="147"/>
                      </a:lnTo>
                      <a:lnTo>
                        <a:pt x="30" y="144"/>
                      </a:lnTo>
                      <a:lnTo>
                        <a:pt x="28" y="136"/>
                      </a:lnTo>
                      <a:lnTo>
                        <a:pt x="23" y="129"/>
                      </a:lnTo>
                      <a:lnTo>
                        <a:pt x="21" y="128"/>
                      </a:lnTo>
                      <a:lnTo>
                        <a:pt x="19" y="122"/>
                      </a:lnTo>
                      <a:lnTo>
                        <a:pt x="17" y="119"/>
                      </a:lnTo>
                      <a:lnTo>
                        <a:pt x="12" y="115"/>
                      </a:lnTo>
                      <a:lnTo>
                        <a:pt x="8" y="112"/>
                      </a:lnTo>
                      <a:lnTo>
                        <a:pt x="3" y="106"/>
                      </a:lnTo>
                      <a:lnTo>
                        <a:pt x="1" y="103"/>
                      </a:lnTo>
                      <a:lnTo>
                        <a:pt x="1" y="99"/>
                      </a:lnTo>
                      <a:lnTo>
                        <a:pt x="3" y="96"/>
                      </a:lnTo>
                      <a:lnTo>
                        <a:pt x="1" y="92"/>
                      </a:lnTo>
                      <a:lnTo>
                        <a:pt x="1" y="92"/>
                      </a:lnTo>
                      <a:lnTo>
                        <a:pt x="0" y="92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5" name="Freeform 49">
                  <a:extLst>
                    <a:ext uri="{FF2B5EF4-FFF2-40B4-BE49-F238E27FC236}">
                      <a16:creationId xmlns:a16="http://schemas.microsoft.com/office/drawing/2014/main" id="{1EBF68A6-CC04-483F-01D4-50BBFB3D19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8887" y="5138721"/>
                  <a:ext cx="615951" cy="615948"/>
                </a:xfrm>
                <a:custGeom>
                  <a:avLst/>
                  <a:gdLst>
                    <a:gd name="T0" fmla="*/ 225 w 388"/>
                    <a:gd name="T1" fmla="*/ 7 h 388"/>
                    <a:gd name="T2" fmla="*/ 232 w 388"/>
                    <a:gd name="T3" fmla="*/ 20 h 388"/>
                    <a:gd name="T4" fmla="*/ 243 w 388"/>
                    <a:gd name="T5" fmla="*/ 30 h 388"/>
                    <a:gd name="T6" fmla="*/ 252 w 388"/>
                    <a:gd name="T7" fmla="*/ 44 h 388"/>
                    <a:gd name="T8" fmla="*/ 259 w 388"/>
                    <a:gd name="T9" fmla="*/ 60 h 388"/>
                    <a:gd name="T10" fmla="*/ 268 w 388"/>
                    <a:gd name="T11" fmla="*/ 71 h 388"/>
                    <a:gd name="T12" fmla="*/ 296 w 388"/>
                    <a:gd name="T13" fmla="*/ 99 h 388"/>
                    <a:gd name="T14" fmla="*/ 305 w 388"/>
                    <a:gd name="T15" fmla="*/ 108 h 388"/>
                    <a:gd name="T16" fmla="*/ 314 w 388"/>
                    <a:gd name="T17" fmla="*/ 117 h 388"/>
                    <a:gd name="T18" fmla="*/ 319 w 388"/>
                    <a:gd name="T19" fmla="*/ 137 h 388"/>
                    <a:gd name="T20" fmla="*/ 332 w 388"/>
                    <a:gd name="T21" fmla="*/ 156 h 388"/>
                    <a:gd name="T22" fmla="*/ 349 w 388"/>
                    <a:gd name="T23" fmla="*/ 163 h 388"/>
                    <a:gd name="T24" fmla="*/ 374 w 388"/>
                    <a:gd name="T25" fmla="*/ 172 h 388"/>
                    <a:gd name="T26" fmla="*/ 383 w 388"/>
                    <a:gd name="T27" fmla="*/ 181 h 388"/>
                    <a:gd name="T28" fmla="*/ 385 w 388"/>
                    <a:gd name="T29" fmla="*/ 188 h 388"/>
                    <a:gd name="T30" fmla="*/ 369 w 388"/>
                    <a:gd name="T31" fmla="*/ 195 h 388"/>
                    <a:gd name="T32" fmla="*/ 362 w 388"/>
                    <a:gd name="T33" fmla="*/ 207 h 388"/>
                    <a:gd name="T34" fmla="*/ 344 w 388"/>
                    <a:gd name="T35" fmla="*/ 215 h 388"/>
                    <a:gd name="T36" fmla="*/ 325 w 388"/>
                    <a:gd name="T37" fmla="*/ 222 h 388"/>
                    <a:gd name="T38" fmla="*/ 314 w 388"/>
                    <a:gd name="T39" fmla="*/ 232 h 388"/>
                    <a:gd name="T40" fmla="*/ 300 w 388"/>
                    <a:gd name="T41" fmla="*/ 239 h 388"/>
                    <a:gd name="T42" fmla="*/ 282 w 388"/>
                    <a:gd name="T43" fmla="*/ 268 h 388"/>
                    <a:gd name="T44" fmla="*/ 279 w 388"/>
                    <a:gd name="T45" fmla="*/ 278 h 388"/>
                    <a:gd name="T46" fmla="*/ 266 w 388"/>
                    <a:gd name="T47" fmla="*/ 287 h 388"/>
                    <a:gd name="T48" fmla="*/ 259 w 388"/>
                    <a:gd name="T49" fmla="*/ 298 h 388"/>
                    <a:gd name="T50" fmla="*/ 238 w 388"/>
                    <a:gd name="T51" fmla="*/ 305 h 388"/>
                    <a:gd name="T52" fmla="*/ 231 w 388"/>
                    <a:gd name="T53" fmla="*/ 326 h 388"/>
                    <a:gd name="T54" fmla="*/ 231 w 388"/>
                    <a:gd name="T55" fmla="*/ 342 h 388"/>
                    <a:gd name="T56" fmla="*/ 215 w 388"/>
                    <a:gd name="T57" fmla="*/ 342 h 388"/>
                    <a:gd name="T58" fmla="*/ 188 w 388"/>
                    <a:gd name="T59" fmla="*/ 346 h 388"/>
                    <a:gd name="T60" fmla="*/ 160 w 388"/>
                    <a:gd name="T61" fmla="*/ 335 h 388"/>
                    <a:gd name="T62" fmla="*/ 137 w 388"/>
                    <a:gd name="T63" fmla="*/ 328 h 388"/>
                    <a:gd name="T64" fmla="*/ 108 w 388"/>
                    <a:gd name="T65" fmla="*/ 354 h 388"/>
                    <a:gd name="T66" fmla="*/ 85 w 388"/>
                    <a:gd name="T67" fmla="*/ 374 h 388"/>
                    <a:gd name="T68" fmla="*/ 62 w 388"/>
                    <a:gd name="T69" fmla="*/ 386 h 388"/>
                    <a:gd name="T70" fmla="*/ 34 w 388"/>
                    <a:gd name="T71" fmla="*/ 386 h 388"/>
                    <a:gd name="T72" fmla="*/ 31 w 388"/>
                    <a:gd name="T73" fmla="*/ 367 h 388"/>
                    <a:gd name="T74" fmla="*/ 15 w 388"/>
                    <a:gd name="T75" fmla="*/ 321 h 388"/>
                    <a:gd name="T76" fmla="*/ 0 w 388"/>
                    <a:gd name="T77" fmla="*/ 310 h 388"/>
                    <a:gd name="T78" fmla="*/ 45 w 388"/>
                    <a:gd name="T79" fmla="*/ 177 h 388"/>
                    <a:gd name="T80" fmla="*/ 124 w 388"/>
                    <a:gd name="T81" fmla="*/ 21 h 388"/>
                    <a:gd name="T82" fmla="*/ 144 w 388"/>
                    <a:gd name="T83" fmla="*/ 16 h 388"/>
                    <a:gd name="T84" fmla="*/ 151 w 388"/>
                    <a:gd name="T85" fmla="*/ 27 h 388"/>
                    <a:gd name="T86" fmla="*/ 151 w 388"/>
                    <a:gd name="T87" fmla="*/ 36 h 388"/>
                    <a:gd name="T88" fmla="*/ 181 w 388"/>
                    <a:gd name="T89" fmla="*/ 7 h 388"/>
                    <a:gd name="T90" fmla="*/ 197 w 388"/>
                    <a:gd name="T91" fmla="*/ 11 h 388"/>
                    <a:gd name="T92" fmla="*/ 225 w 388"/>
                    <a:gd name="T93" fmla="*/ 0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88" h="388">
                      <a:moveTo>
                        <a:pt x="225" y="0"/>
                      </a:moveTo>
                      <a:lnTo>
                        <a:pt x="227" y="4"/>
                      </a:lnTo>
                      <a:lnTo>
                        <a:pt x="225" y="7"/>
                      </a:lnTo>
                      <a:lnTo>
                        <a:pt x="225" y="11"/>
                      </a:lnTo>
                      <a:lnTo>
                        <a:pt x="227" y="14"/>
                      </a:lnTo>
                      <a:lnTo>
                        <a:pt x="232" y="20"/>
                      </a:lnTo>
                      <a:lnTo>
                        <a:pt x="236" y="23"/>
                      </a:lnTo>
                      <a:lnTo>
                        <a:pt x="241" y="27"/>
                      </a:lnTo>
                      <a:lnTo>
                        <a:pt x="243" y="30"/>
                      </a:lnTo>
                      <a:lnTo>
                        <a:pt x="245" y="36"/>
                      </a:lnTo>
                      <a:lnTo>
                        <a:pt x="247" y="37"/>
                      </a:lnTo>
                      <a:lnTo>
                        <a:pt x="252" y="44"/>
                      </a:lnTo>
                      <a:lnTo>
                        <a:pt x="254" y="52"/>
                      </a:lnTo>
                      <a:lnTo>
                        <a:pt x="257" y="55"/>
                      </a:lnTo>
                      <a:lnTo>
                        <a:pt x="259" y="60"/>
                      </a:lnTo>
                      <a:lnTo>
                        <a:pt x="264" y="64"/>
                      </a:lnTo>
                      <a:lnTo>
                        <a:pt x="266" y="64"/>
                      </a:lnTo>
                      <a:lnTo>
                        <a:pt x="268" y="71"/>
                      </a:lnTo>
                      <a:lnTo>
                        <a:pt x="280" y="89"/>
                      </a:lnTo>
                      <a:lnTo>
                        <a:pt x="289" y="94"/>
                      </a:lnTo>
                      <a:lnTo>
                        <a:pt x="296" y="99"/>
                      </a:lnTo>
                      <a:lnTo>
                        <a:pt x="300" y="103"/>
                      </a:lnTo>
                      <a:lnTo>
                        <a:pt x="305" y="106"/>
                      </a:lnTo>
                      <a:lnTo>
                        <a:pt x="305" y="108"/>
                      </a:lnTo>
                      <a:lnTo>
                        <a:pt x="305" y="110"/>
                      </a:lnTo>
                      <a:lnTo>
                        <a:pt x="307" y="115"/>
                      </a:lnTo>
                      <a:lnTo>
                        <a:pt x="314" y="117"/>
                      </a:lnTo>
                      <a:lnTo>
                        <a:pt x="321" y="122"/>
                      </a:lnTo>
                      <a:lnTo>
                        <a:pt x="318" y="128"/>
                      </a:lnTo>
                      <a:lnTo>
                        <a:pt x="319" y="137"/>
                      </a:lnTo>
                      <a:lnTo>
                        <a:pt x="321" y="144"/>
                      </a:lnTo>
                      <a:lnTo>
                        <a:pt x="323" y="151"/>
                      </a:lnTo>
                      <a:lnTo>
                        <a:pt x="332" y="156"/>
                      </a:lnTo>
                      <a:lnTo>
                        <a:pt x="335" y="163"/>
                      </a:lnTo>
                      <a:lnTo>
                        <a:pt x="344" y="165"/>
                      </a:lnTo>
                      <a:lnTo>
                        <a:pt x="349" y="163"/>
                      </a:lnTo>
                      <a:lnTo>
                        <a:pt x="360" y="167"/>
                      </a:lnTo>
                      <a:lnTo>
                        <a:pt x="365" y="167"/>
                      </a:lnTo>
                      <a:lnTo>
                        <a:pt x="374" y="172"/>
                      </a:lnTo>
                      <a:lnTo>
                        <a:pt x="380" y="172"/>
                      </a:lnTo>
                      <a:lnTo>
                        <a:pt x="383" y="176"/>
                      </a:lnTo>
                      <a:lnTo>
                        <a:pt x="383" y="181"/>
                      </a:lnTo>
                      <a:lnTo>
                        <a:pt x="385" y="184"/>
                      </a:lnTo>
                      <a:lnTo>
                        <a:pt x="388" y="188"/>
                      </a:lnTo>
                      <a:lnTo>
                        <a:pt x="385" y="188"/>
                      </a:lnTo>
                      <a:lnTo>
                        <a:pt x="380" y="192"/>
                      </a:lnTo>
                      <a:lnTo>
                        <a:pt x="372" y="192"/>
                      </a:lnTo>
                      <a:lnTo>
                        <a:pt x="369" y="195"/>
                      </a:lnTo>
                      <a:lnTo>
                        <a:pt x="369" y="200"/>
                      </a:lnTo>
                      <a:lnTo>
                        <a:pt x="367" y="206"/>
                      </a:lnTo>
                      <a:lnTo>
                        <a:pt x="362" y="207"/>
                      </a:lnTo>
                      <a:lnTo>
                        <a:pt x="355" y="213"/>
                      </a:lnTo>
                      <a:lnTo>
                        <a:pt x="349" y="213"/>
                      </a:lnTo>
                      <a:lnTo>
                        <a:pt x="344" y="215"/>
                      </a:lnTo>
                      <a:lnTo>
                        <a:pt x="342" y="213"/>
                      </a:lnTo>
                      <a:lnTo>
                        <a:pt x="333" y="215"/>
                      </a:lnTo>
                      <a:lnTo>
                        <a:pt x="325" y="222"/>
                      </a:lnTo>
                      <a:lnTo>
                        <a:pt x="321" y="225"/>
                      </a:lnTo>
                      <a:lnTo>
                        <a:pt x="316" y="229"/>
                      </a:lnTo>
                      <a:lnTo>
                        <a:pt x="314" y="232"/>
                      </a:lnTo>
                      <a:lnTo>
                        <a:pt x="309" y="234"/>
                      </a:lnTo>
                      <a:lnTo>
                        <a:pt x="305" y="238"/>
                      </a:lnTo>
                      <a:lnTo>
                        <a:pt x="300" y="239"/>
                      </a:lnTo>
                      <a:lnTo>
                        <a:pt x="294" y="243"/>
                      </a:lnTo>
                      <a:lnTo>
                        <a:pt x="284" y="257"/>
                      </a:lnTo>
                      <a:lnTo>
                        <a:pt x="282" y="268"/>
                      </a:lnTo>
                      <a:lnTo>
                        <a:pt x="284" y="271"/>
                      </a:lnTo>
                      <a:lnTo>
                        <a:pt x="284" y="277"/>
                      </a:lnTo>
                      <a:lnTo>
                        <a:pt x="279" y="278"/>
                      </a:lnTo>
                      <a:lnTo>
                        <a:pt x="277" y="282"/>
                      </a:lnTo>
                      <a:lnTo>
                        <a:pt x="271" y="284"/>
                      </a:lnTo>
                      <a:lnTo>
                        <a:pt x="266" y="287"/>
                      </a:lnTo>
                      <a:lnTo>
                        <a:pt x="264" y="292"/>
                      </a:lnTo>
                      <a:lnTo>
                        <a:pt x="261" y="294"/>
                      </a:lnTo>
                      <a:lnTo>
                        <a:pt x="259" y="298"/>
                      </a:lnTo>
                      <a:lnTo>
                        <a:pt x="252" y="300"/>
                      </a:lnTo>
                      <a:lnTo>
                        <a:pt x="247" y="303"/>
                      </a:lnTo>
                      <a:lnTo>
                        <a:pt x="238" y="305"/>
                      </a:lnTo>
                      <a:lnTo>
                        <a:pt x="234" y="312"/>
                      </a:lnTo>
                      <a:lnTo>
                        <a:pt x="236" y="323"/>
                      </a:lnTo>
                      <a:lnTo>
                        <a:pt x="231" y="326"/>
                      </a:lnTo>
                      <a:lnTo>
                        <a:pt x="231" y="331"/>
                      </a:lnTo>
                      <a:lnTo>
                        <a:pt x="229" y="339"/>
                      </a:lnTo>
                      <a:lnTo>
                        <a:pt x="231" y="342"/>
                      </a:lnTo>
                      <a:lnTo>
                        <a:pt x="222" y="349"/>
                      </a:lnTo>
                      <a:lnTo>
                        <a:pt x="217" y="346"/>
                      </a:lnTo>
                      <a:lnTo>
                        <a:pt x="215" y="342"/>
                      </a:lnTo>
                      <a:lnTo>
                        <a:pt x="208" y="344"/>
                      </a:lnTo>
                      <a:lnTo>
                        <a:pt x="197" y="344"/>
                      </a:lnTo>
                      <a:lnTo>
                        <a:pt x="188" y="346"/>
                      </a:lnTo>
                      <a:lnTo>
                        <a:pt x="181" y="342"/>
                      </a:lnTo>
                      <a:lnTo>
                        <a:pt x="176" y="344"/>
                      </a:lnTo>
                      <a:lnTo>
                        <a:pt x="160" y="335"/>
                      </a:lnTo>
                      <a:lnTo>
                        <a:pt x="155" y="335"/>
                      </a:lnTo>
                      <a:lnTo>
                        <a:pt x="151" y="330"/>
                      </a:lnTo>
                      <a:lnTo>
                        <a:pt x="137" y="328"/>
                      </a:lnTo>
                      <a:lnTo>
                        <a:pt x="126" y="330"/>
                      </a:lnTo>
                      <a:lnTo>
                        <a:pt x="116" y="339"/>
                      </a:lnTo>
                      <a:lnTo>
                        <a:pt x="108" y="354"/>
                      </a:lnTo>
                      <a:lnTo>
                        <a:pt x="101" y="363"/>
                      </a:lnTo>
                      <a:lnTo>
                        <a:pt x="89" y="369"/>
                      </a:lnTo>
                      <a:lnTo>
                        <a:pt x="85" y="374"/>
                      </a:lnTo>
                      <a:lnTo>
                        <a:pt x="77" y="379"/>
                      </a:lnTo>
                      <a:lnTo>
                        <a:pt x="68" y="383"/>
                      </a:lnTo>
                      <a:lnTo>
                        <a:pt x="62" y="386"/>
                      </a:lnTo>
                      <a:lnTo>
                        <a:pt x="52" y="385"/>
                      </a:lnTo>
                      <a:lnTo>
                        <a:pt x="45" y="388"/>
                      </a:lnTo>
                      <a:lnTo>
                        <a:pt x="34" y="386"/>
                      </a:lnTo>
                      <a:lnTo>
                        <a:pt x="23" y="388"/>
                      </a:lnTo>
                      <a:lnTo>
                        <a:pt x="23" y="379"/>
                      </a:lnTo>
                      <a:lnTo>
                        <a:pt x="31" y="367"/>
                      </a:lnTo>
                      <a:lnTo>
                        <a:pt x="31" y="354"/>
                      </a:lnTo>
                      <a:lnTo>
                        <a:pt x="20" y="331"/>
                      </a:lnTo>
                      <a:lnTo>
                        <a:pt x="15" y="321"/>
                      </a:lnTo>
                      <a:lnTo>
                        <a:pt x="2" y="310"/>
                      </a:lnTo>
                      <a:lnTo>
                        <a:pt x="2" y="310"/>
                      </a:lnTo>
                      <a:lnTo>
                        <a:pt x="0" y="310"/>
                      </a:lnTo>
                      <a:lnTo>
                        <a:pt x="0" y="308"/>
                      </a:lnTo>
                      <a:lnTo>
                        <a:pt x="9" y="179"/>
                      </a:lnTo>
                      <a:lnTo>
                        <a:pt x="45" y="177"/>
                      </a:lnTo>
                      <a:lnTo>
                        <a:pt x="52" y="29"/>
                      </a:lnTo>
                      <a:lnTo>
                        <a:pt x="84" y="30"/>
                      </a:lnTo>
                      <a:lnTo>
                        <a:pt x="124" y="21"/>
                      </a:lnTo>
                      <a:lnTo>
                        <a:pt x="135" y="18"/>
                      </a:lnTo>
                      <a:lnTo>
                        <a:pt x="142" y="18"/>
                      </a:lnTo>
                      <a:lnTo>
                        <a:pt x="144" y="16"/>
                      </a:lnTo>
                      <a:lnTo>
                        <a:pt x="146" y="18"/>
                      </a:lnTo>
                      <a:lnTo>
                        <a:pt x="147" y="23"/>
                      </a:lnTo>
                      <a:lnTo>
                        <a:pt x="151" y="27"/>
                      </a:lnTo>
                      <a:lnTo>
                        <a:pt x="149" y="30"/>
                      </a:lnTo>
                      <a:lnTo>
                        <a:pt x="147" y="36"/>
                      </a:lnTo>
                      <a:lnTo>
                        <a:pt x="151" y="36"/>
                      </a:lnTo>
                      <a:lnTo>
                        <a:pt x="165" y="27"/>
                      </a:lnTo>
                      <a:lnTo>
                        <a:pt x="172" y="16"/>
                      </a:lnTo>
                      <a:lnTo>
                        <a:pt x="181" y="7"/>
                      </a:lnTo>
                      <a:lnTo>
                        <a:pt x="190" y="7"/>
                      </a:lnTo>
                      <a:lnTo>
                        <a:pt x="192" y="11"/>
                      </a:lnTo>
                      <a:lnTo>
                        <a:pt x="197" y="11"/>
                      </a:lnTo>
                      <a:lnTo>
                        <a:pt x="202" y="7"/>
                      </a:lnTo>
                      <a:lnTo>
                        <a:pt x="217" y="2"/>
                      </a:lnTo>
                      <a:lnTo>
                        <a:pt x="225" y="0"/>
                      </a:lnTo>
                      <a:lnTo>
                        <a:pt x="225" y="0"/>
                      </a:lnTo>
                      <a:lnTo>
                        <a:pt x="225" y="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6" name="Freeform 50">
                  <a:extLst>
                    <a:ext uri="{FF2B5EF4-FFF2-40B4-BE49-F238E27FC236}">
                      <a16:creationId xmlns:a16="http://schemas.microsoft.com/office/drawing/2014/main" id="{91EED8F6-9632-332E-9902-3B6B2137D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0251" y="5083159"/>
                  <a:ext cx="885826" cy="828671"/>
                </a:xfrm>
                <a:custGeom>
                  <a:avLst/>
                  <a:gdLst>
                    <a:gd name="T0" fmla="*/ 342 w 558"/>
                    <a:gd name="T1" fmla="*/ 214 h 522"/>
                    <a:gd name="T2" fmla="*/ 417 w 558"/>
                    <a:gd name="T3" fmla="*/ 65 h 522"/>
                    <a:gd name="T4" fmla="*/ 475 w 558"/>
                    <a:gd name="T5" fmla="*/ 53 h 522"/>
                    <a:gd name="T6" fmla="*/ 480 w 558"/>
                    <a:gd name="T7" fmla="*/ 58 h 522"/>
                    <a:gd name="T8" fmla="*/ 480 w 558"/>
                    <a:gd name="T9" fmla="*/ 71 h 522"/>
                    <a:gd name="T10" fmla="*/ 505 w 558"/>
                    <a:gd name="T11" fmla="*/ 51 h 522"/>
                    <a:gd name="T12" fmla="*/ 525 w 558"/>
                    <a:gd name="T13" fmla="*/ 46 h 522"/>
                    <a:gd name="T14" fmla="*/ 550 w 558"/>
                    <a:gd name="T15" fmla="*/ 37 h 522"/>
                    <a:gd name="T16" fmla="*/ 550 w 558"/>
                    <a:gd name="T17" fmla="*/ 28 h 522"/>
                    <a:gd name="T18" fmla="*/ 541 w 558"/>
                    <a:gd name="T19" fmla="*/ 25 h 522"/>
                    <a:gd name="T20" fmla="*/ 527 w 558"/>
                    <a:gd name="T21" fmla="*/ 25 h 522"/>
                    <a:gd name="T22" fmla="*/ 415 w 558"/>
                    <a:gd name="T23" fmla="*/ 48 h 522"/>
                    <a:gd name="T24" fmla="*/ 406 w 558"/>
                    <a:gd name="T25" fmla="*/ 46 h 522"/>
                    <a:gd name="T26" fmla="*/ 397 w 558"/>
                    <a:gd name="T27" fmla="*/ 44 h 522"/>
                    <a:gd name="T28" fmla="*/ 385 w 558"/>
                    <a:gd name="T29" fmla="*/ 42 h 522"/>
                    <a:gd name="T30" fmla="*/ 372 w 558"/>
                    <a:gd name="T31" fmla="*/ 48 h 522"/>
                    <a:gd name="T32" fmla="*/ 353 w 558"/>
                    <a:gd name="T33" fmla="*/ 35 h 522"/>
                    <a:gd name="T34" fmla="*/ 344 w 558"/>
                    <a:gd name="T35" fmla="*/ 39 h 522"/>
                    <a:gd name="T36" fmla="*/ 319 w 558"/>
                    <a:gd name="T37" fmla="*/ 42 h 522"/>
                    <a:gd name="T38" fmla="*/ 309 w 558"/>
                    <a:gd name="T39" fmla="*/ 35 h 522"/>
                    <a:gd name="T40" fmla="*/ 286 w 558"/>
                    <a:gd name="T41" fmla="*/ 32 h 522"/>
                    <a:gd name="T42" fmla="*/ 275 w 558"/>
                    <a:gd name="T43" fmla="*/ 17 h 522"/>
                    <a:gd name="T44" fmla="*/ 114 w 558"/>
                    <a:gd name="T45" fmla="*/ 17 h 522"/>
                    <a:gd name="T46" fmla="*/ 100 w 558"/>
                    <a:gd name="T47" fmla="*/ 25 h 522"/>
                    <a:gd name="T48" fmla="*/ 78 w 558"/>
                    <a:gd name="T49" fmla="*/ 12 h 522"/>
                    <a:gd name="T50" fmla="*/ 75 w 558"/>
                    <a:gd name="T51" fmla="*/ 3 h 522"/>
                    <a:gd name="T52" fmla="*/ 62 w 558"/>
                    <a:gd name="T53" fmla="*/ 3 h 522"/>
                    <a:gd name="T54" fmla="*/ 50 w 558"/>
                    <a:gd name="T55" fmla="*/ 0 h 522"/>
                    <a:gd name="T56" fmla="*/ 32 w 558"/>
                    <a:gd name="T57" fmla="*/ 17 h 522"/>
                    <a:gd name="T58" fmla="*/ 15 w 558"/>
                    <a:gd name="T59" fmla="*/ 14 h 522"/>
                    <a:gd name="T60" fmla="*/ 7 w 558"/>
                    <a:gd name="T61" fmla="*/ 17 h 522"/>
                    <a:gd name="T62" fmla="*/ 2 w 558"/>
                    <a:gd name="T63" fmla="*/ 51 h 522"/>
                    <a:gd name="T64" fmla="*/ 61 w 558"/>
                    <a:gd name="T65" fmla="*/ 145 h 522"/>
                    <a:gd name="T66" fmla="*/ 85 w 558"/>
                    <a:gd name="T67" fmla="*/ 205 h 522"/>
                    <a:gd name="T68" fmla="*/ 101 w 558"/>
                    <a:gd name="T69" fmla="*/ 257 h 522"/>
                    <a:gd name="T70" fmla="*/ 121 w 558"/>
                    <a:gd name="T71" fmla="*/ 342 h 522"/>
                    <a:gd name="T72" fmla="*/ 117 w 558"/>
                    <a:gd name="T73" fmla="*/ 375 h 522"/>
                    <a:gd name="T74" fmla="*/ 131 w 558"/>
                    <a:gd name="T75" fmla="*/ 405 h 522"/>
                    <a:gd name="T76" fmla="*/ 130 w 558"/>
                    <a:gd name="T77" fmla="*/ 425 h 522"/>
                    <a:gd name="T78" fmla="*/ 146 w 558"/>
                    <a:gd name="T79" fmla="*/ 459 h 522"/>
                    <a:gd name="T80" fmla="*/ 167 w 558"/>
                    <a:gd name="T81" fmla="*/ 494 h 522"/>
                    <a:gd name="T82" fmla="*/ 195 w 558"/>
                    <a:gd name="T83" fmla="*/ 499 h 522"/>
                    <a:gd name="T84" fmla="*/ 197 w 558"/>
                    <a:gd name="T85" fmla="*/ 483 h 522"/>
                    <a:gd name="T86" fmla="*/ 220 w 558"/>
                    <a:gd name="T87" fmla="*/ 489 h 522"/>
                    <a:gd name="T88" fmla="*/ 236 w 558"/>
                    <a:gd name="T89" fmla="*/ 513 h 522"/>
                    <a:gd name="T90" fmla="*/ 257 w 558"/>
                    <a:gd name="T91" fmla="*/ 519 h 522"/>
                    <a:gd name="T92" fmla="*/ 273 w 558"/>
                    <a:gd name="T93" fmla="*/ 515 h 522"/>
                    <a:gd name="T94" fmla="*/ 287 w 558"/>
                    <a:gd name="T95" fmla="*/ 522 h 522"/>
                    <a:gd name="T96" fmla="*/ 296 w 558"/>
                    <a:gd name="T97" fmla="*/ 508 h 522"/>
                    <a:gd name="T98" fmla="*/ 325 w 558"/>
                    <a:gd name="T99" fmla="*/ 496 h 522"/>
                    <a:gd name="T100" fmla="*/ 333 w 558"/>
                    <a:gd name="T101" fmla="*/ 345 h 5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58" h="522">
                      <a:moveTo>
                        <a:pt x="333" y="345"/>
                      </a:moveTo>
                      <a:lnTo>
                        <a:pt x="333" y="343"/>
                      </a:lnTo>
                      <a:lnTo>
                        <a:pt x="342" y="214"/>
                      </a:lnTo>
                      <a:lnTo>
                        <a:pt x="378" y="212"/>
                      </a:lnTo>
                      <a:lnTo>
                        <a:pt x="385" y="64"/>
                      </a:lnTo>
                      <a:lnTo>
                        <a:pt x="417" y="65"/>
                      </a:lnTo>
                      <a:lnTo>
                        <a:pt x="457" y="56"/>
                      </a:lnTo>
                      <a:lnTo>
                        <a:pt x="468" y="53"/>
                      </a:lnTo>
                      <a:lnTo>
                        <a:pt x="475" y="53"/>
                      </a:lnTo>
                      <a:lnTo>
                        <a:pt x="477" y="51"/>
                      </a:lnTo>
                      <a:lnTo>
                        <a:pt x="479" y="53"/>
                      </a:lnTo>
                      <a:lnTo>
                        <a:pt x="480" y="58"/>
                      </a:lnTo>
                      <a:lnTo>
                        <a:pt x="484" y="62"/>
                      </a:lnTo>
                      <a:lnTo>
                        <a:pt x="482" y="65"/>
                      </a:lnTo>
                      <a:lnTo>
                        <a:pt x="480" y="71"/>
                      </a:lnTo>
                      <a:lnTo>
                        <a:pt x="484" y="71"/>
                      </a:lnTo>
                      <a:lnTo>
                        <a:pt x="498" y="62"/>
                      </a:lnTo>
                      <a:lnTo>
                        <a:pt x="505" y="51"/>
                      </a:lnTo>
                      <a:lnTo>
                        <a:pt x="514" y="42"/>
                      </a:lnTo>
                      <a:lnTo>
                        <a:pt x="523" y="42"/>
                      </a:lnTo>
                      <a:lnTo>
                        <a:pt x="525" y="46"/>
                      </a:lnTo>
                      <a:lnTo>
                        <a:pt x="530" y="46"/>
                      </a:lnTo>
                      <a:lnTo>
                        <a:pt x="535" y="42"/>
                      </a:lnTo>
                      <a:lnTo>
                        <a:pt x="550" y="37"/>
                      </a:lnTo>
                      <a:lnTo>
                        <a:pt x="558" y="35"/>
                      </a:lnTo>
                      <a:lnTo>
                        <a:pt x="551" y="28"/>
                      </a:lnTo>
                      <a:lnTo>
                        <a:pt x="550" y="28"/>
                      </a:lnTo>
                      <a:lnTo>
                        <a:pt x="548" y="26"/>
                      </a:lnTo>
                      <a:lnTo>
                        <a:pt x="542" y="26"/>
                      </a:lnTo>
                      <a:lnTo>
                        <a:pt x="541" y="25"/>
                      </a:lnTo>
                      <a:lnTo>
                        <a:pt x="539" y="25"/>
                      </a:lnTo>
                      <a:lnTo>
                        <a:pt x="535" y="23"/>
                      </a:lnTo>
                      <a:lnTo>
                        <a:pt x="527" y="25"/>
                      </a:lnTo>
                      <a:lnTo>
                        <a:pt x="521" y="25"/>
                      </a:lnTo>
                      <a:lnTo>
                        <a:pt x="418" y="48"/>
                      </a:lnTo>
                      <a:lnTo>
                        <a:pt x="415" y="48"/>
                      </a:lnTo>
                      <a:lnTo>
                        <a:pt x="411" y="48"/>
                      </a:lnTo>
                      <a:lnTo>
                        <a:pt x="408" y="48"/>
                      </a:lnTo>
                      <a:lnTo>
                        <a:pt x="406" y="46"/>
                      </a:lnTo>
                      <a:lnTo>
                        <a:pt x="403" y="46"/>
                      </a:lnTo>
                      <a:lnTo>
                        <a:pt x="401" y="44"/>
                      </a:lnTo>
                      <a:lnTo>
                        <a:pt x="397" y="44"/>
                      </a:lnTo>
                      <a:lnTo>
                        <a:pt x="394" y="42"/>
                      </a:lnTo>
                      <a:lnTo>
                        <a:pt x="390" y="42"/>
                      </a:lnTo>
                      <a:lnTo>
                        <a:pt x="385" y="42"/>
                      </a:lnTo>
                      <a:lnTo>
                        <a:pt x="385" y="46"/>
                      </a:lnTo>
                      <a:lnTo>
                        <a:pt x="381" y="48"/>
                      </a:lnTo>
                      <a:lnTo>
                        <a:pt x="372" y="48"/>
                      </a:lnTo>
                      <a:lnTo>
                        <a:pt x="365" y="44"/>
                      </a:lnTo>
                      <a:lnTo>
                        <a:pt x="356" y="35"/>
                      </a:lnTo>
                      <a:lnTo>
                        <a:pt x="353" y="35"/>
                      </a:lnTo>
                      <a:lnTo>
                        <a:pt x="349" y="33"/>
                      </a:lnTo>
                      <a:lnTo>
                        <a:pt x="349" y="39"/>
                      </a:lnTo>
                      <a:lnTo>
                        <a:pt x="344" y="39"/>
                      </a:lnTo>
                      <a:lnTo>
                        <a:pt x="333" y="37"/>
                      </a:lnTo>
                      <a:lnTo>
                        <a:pt x="326" y="39"/>
                      </a:lnTo>
                      <a:lnTo>
                        <a:pt x="319" y="42"/>
                      </a:lnTo>
                      <a:lnTo>
                        <a:pt x="314" y="41"/>
                      </a:lnTo>
                      <a:lnTo>
                        <a:pt x="312" y="37"/>
                      </a:lnTo>
                      <a:lnTo>
                        <a:pt x="309" y="35"/>
                      </a:lnTo>
                      <a:lnTo>
                        <a:pt x="302" y="37"/>
                      </a:lnTo>
                      <a:lnTo>
                        <a:pt x="293" y="35"/>
                      </a:lnTo>
                      <a:lnTo>
                        <a:pt x="286" y="32"/>
                      </a:lnTo>
                      <a:lnTo>
                        <a:pt x="282" y="28"/>
                      </a:lnTo>
                      <a:lnTo>
                        <a:pt x="277" y="19"/>
                      </a:lnTo>
                      <a:lnTo>
                        <a:pt x="275" y="17"/>
                      </a:lnTo>
                      <a:lnTo>
                        <a:pt x="121" y="19"/>
                      </a:lnTo>
                      <a:lnTo>
                        <a:pt x="117" y="17"/>
                      </a:lnTo>
                      <a:lnTo>
                        <a:pt x="114" y="17"/>
                      </a:lnTo>
                      <a:lnTo>
                        <a:pt x="108" y="21"/>
                      </a:lnTo>
                      <a:lnTo>
                        <a:pt x="107" y="21"/>
                      </a:lnTo>
                      <a:lnTo>
                        <a:pt x="100" y="25"/>
                      </a:lnTo>
                      <a:lnTo>
                        <a:pt x="91" y="21"/>
                      </a:lnTo>
                      <a:lnTo>
                        <a:pt x="82" y="12"/>
                      </a:lnTo>
                      <a:lnTo>
                        <a:pt x="78" y="12"/>
                      </a:lnTo>
                      <a:lnTo>
                        <a:pt x="80" y="7"/>
                      </a:lnTo>
                      <a:lnTo>
                        <a:pt x="75" y="5"/>
                      </a:lnTo>
                      <a:lnTo>
                        <a:pt x="75" y="3"/>
                      </a:lnTo>
                      <a:lnTo>
                        <a:pt x="69" y="0"/>
                      </a:lnTo>
                      <a:lnTo>
                        <a:pt x="66" y="2"/>
                      </a:lnTo>
                      <a:lnTo>
                        <a:pt x="62" y="3"/>
                      </a:lnTo>
                      <a:lnTo>
                        <a:pt x="61" y="2"/>
                      </a:lnTo>
                      <a:lnTo>
                        <a:pt x="55" y="0"/>
                      </a:lnTo>
                      <a:lnTo>
                        <a:pt x="50" y="0"/>
                      </a:lnTo>
                      <a:lnTo>
                        <a:pt x="38" y="9"/>
                      </a:lnTo>
                      <a:lnTo>
                        <a:pt x="36" y="14"/>
                      </a:lnTo>
                      <a:lnTo>
                        <a:pt x="32" y="17"/>
                      </a:lnTo>
                      <a:lnTo>
                        <a:pt x="27" y="14"/>
                      </a:lnTo>
                      <a:lnTo>
                        <a:pt x="16" y="12"/>
                      </a:lnTo>
                      <a:lnTo>
                        <a:pt x="15" y="14"/>
                      </a:lnTo>
                      <a:lnTo>
                        <a:pt x="13" y="19"/>
                      </a:lnTo>
                      <a:lnTo>
                        <a:pt x="9" y="19"/>
                      </a:lnTo>
                      <a:lnTo>
                        <a:pt x="7" y="17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2" y="51"/>
                      </a:lnTo>
                      <a:lnTo>
                        <a:pt x="27" y="78"/>
                      </a:lnTo>
                      <a:lnTo>
                        <a:pt x="41" y="99"/>
                      </a:lnTo>
                      <a:lnTo>
                        <a:pt x="61" y="145"/>
                      </a:lnTo>
                      <a:lnTo>
                        <a:pt x="64" y="165"/>
                      </a:lnTo>
                      <a:lnTo>
                        <a:pt x="85" y="193"/>
                      </a:lnTo>
                      <a:lnTo>
                        <a:pt x="85" y="205"/>
                      </a:lnTo>
                      <a:lnTo>
                        <a:pt x="107" y="237"/>
                      </a:lnTo>
                      <a:lnTo>
                        <a:pt x="107" y="253"/>
                      </a:lnTo>
                      <a:lnTo>
                        <a:pt x="101" y="257"/>
                      </a:lnTo>
                      <a:lnTo>
                        <a:pt x="107" y="278"/>
                      </a:lnTo>
                      <a:lnTo>
                        <a:pt x="108" y="310"/>
                      </a:lnTo>
                      <a:lnTo>
                        <a:pt x="121" y="342"/>
                      </a:lnTo>
                      <a:lnTo>
                        <a:pt x="119" y="359"/>
                      </a:lnTo>
                      <a:lnTo>
                        <a:pt x="123" y="372"/>
                      </a:lnTo>
                      <a:lnTo>
                        <a:pt x="117" y="375"/>
                      </a:lnTo>
                      <a:lnTo>
                        <a:pt x="123" y="381"/>
                      </a:lnTo>
                      <a:lnTo>
                        <a:pt x="124" y="404"/>
                      </a:lnTo>
                      <a:lnTo>
                        <a:pt x="131" y="405"/>
                      </a:lnTo>
                      <a:lnTo>
                        <a:pt x="135" y="413"/>
                      </a:lnTo>
                      <a:lnTo>
                        <a:pt x="130" y="416"/>
                      </a:lnTo>
                      <a:lnTo>
                        <a:pt x="130" y="425"/>
                      </a:lnTo>
                      <a:lnTo>
                        <a:pt x="137" y="432"/>
                      </a:lnTo>
                      <a:lnTo>
                        <a:pt x="137" y="448"/>
                      </a:lnTo>
                      <a:lnTo>
                        <a:pt x="146" y="459"/>
                      </a:lnTo>
                      <a:lnTo>
                        <a:pt x="155" y="478"/>
                      </a:lnTo>
                      <a:lnTo>
                        <a:pt x="165" y="489"/>
                      </a:lnTo>
                      <a:lnTo>
                        <a:pt x="167" y="494"/>
                      </a:lnTo>
                      <a:lnTo>
                        <a:pt x="181" y="505"/>
                      </a:lnTo>
                      <a:lnTo>
                        <a:pt x="188" y="501"/>
                      </a:lnTo>
                      <a:lnTo>
                        <a:pt x="195" y="499"/>
                      </a:lnTo>
                      <a:lnTo>
                        <a:pt x="195" y="494"/>
                      </a:lnTo>
                      <a:lnTo>
                        <a:pt x="193" y="490"/>
                      </a:lnTo>
                      <a:lnTo>
                        <a:pt x="197" y="483"/>
                      </a:lnTo>
                      <a:lnTo>
                        <a:pt x="208" y="480"/>
                      </a:lnTo>
                      <a:lnTo>
                        <a:pt x="213" y="489"/>
                      </a:lnTo>
                      <a:lnTo>
                        <a:pt x="220" y="489"/>
                      </a:lnTo>
                      <a:lnTo>
                        <a:pt x="217" y="498"/>
                      </a:lnTo>
                      <a:lnTo>
                        <a:pt x="224" y="510"/>
                      </a:lnTo>
                      <a:lnTo>
                        <a:pt x="236" y="513"/>
                      </a:lnTo>
                      <a:lnTo>
                        <a:pt x="247" y="517"/>
                      </a:lnTo>
                      <a:lnTo>
                        <a:pt x="252" y="517"/>
                      </a:lnTo>
                      <a:lnTo>
                        <a:pt x="257" y="519"/>
                      </a:lnTo>
                      <a:lnTo>
                        <a:pt x="264" y="519"/>
                      </a:lnTo>
                      <a:lnTo>
                        <a:pt x="268" y="515"/>
                      </a:lnTo>
                      <a:lnTo>
                        <a:pt x="273" y="515"/>
                      </a:lnTo>
                      <a:lnTo>
                        <a:pt x="277" y="522"/>
                      </a:lnTo>
                      <a:lnTo>
                        <a:pt x="282" y="521"/>
                      </a:lnTo>
                      <a:lnTo>
                        <a:pt x="287" y="522"/>
                      </a:lnTo>
                      <a:lnTo>
                        <a:pt x="287" y="513"/>
                      </a:lnTo>
                      <a:lnTo>
                        <a:pt x="291" y="510"/>
                      </a:lnTo>
                      <a:lnTo>
                        <a:pt x="296" y="508"/>
                      </a:lnTo>
                      <a:lnTo>
                        <a:pt x="300" y="499"/>
                      </a:lnTo>
                      <a:lnTo>
                        <a:pt x="312" y="494"/>
                      </a:lnTo>
                      <a:lnTo>
                        <a:pt x="325" y="496"/>
                      </a:lnTo>
                      <a:lnTo>
                        <a:pt x="328" y="496"/>
                      </a:lnTo>
                      <a:lnTo>
                        <a:pt x="335" y="345"/>
                      </a:lnTo>
                      <a:lnTo>
                        <a:pt x="333" y="345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7" name="Freeform 51">
                  <a:extLst>
                    <a:ext uri="{FF2B5EF4-FFF2-40B4-BE49-F238E27FC236}">
                      <a16:creationId xmlns:a16="http://schemas.microsoft.com/office/drawing/2014/main" id="{9DE14E0C-E556-78AC-E915-81AB36948C8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51776" y="4754547"/>
                  <a:ext cx="504826" cy="933447"/>
                </a:xfrm>
                <a:custGeom>
                  <a:avLst/>
                  <a:gdLst>
                    <a:gd name="T0" fmla="*/ 93 w 318"/>
                    <a:gd name="T1" fmla="*/ 579 h 588"/>
                    <a:gd name="T2" fmla="*/ 148 w 318"/>
                    <a:gd name="T3" fmla="*/ 563 h 588"/>
                    <a:gd name="T4" fmla="*/ 169 w 318"/>
                    <a:gd name="T5" fmla="*/ 531 h 588"/>
                    <a:gd name="T6" fmla="*/ 174 w 318"/>
                    <a:gd name="T7" fmla="*/ 504 h 588"/>
                    <a:gd name="T8" fmla="*/ 186 w 318"/>
                    <a:gd name="T9" fmla="*/ 485 h 588"/>
                    <a:gd name="T10" fmla="*/ 210 w 318"/>
                    <a:gd name="T11" fmla="*/ 423 h 588"/>
                    <a:gd name="T12" fmla="*/ 243 w 318"/>
                    <a:gd name="T13" fmla="*/ 341 h 588"/>
                    <a:gd name="T14" fmla="*/ 263 w 318"/>
                    <a:gd name="T15" fmla="*/ 290 h 588"/>
                    <a:gd name="T16" fmla="*/ 277 w 318"/>
                    <a:gd name="T17" fmla="*/ 233 h 588"/>
                    <a:gd name="T18" fmla="*/ 282 w 318"/>
                    <a:gd name="T19" fmla="*/ 200 h 588"/>
                    <a:gd name="T20" fmla="*/ 287 w 318"/>
                    <a:gd name="T21" fmla="*/ 171 h 588"/>
                    <a:gd name="T22" fmla="*/ 289 w 318"/>
                    <a:gd name="T23" fmla="*/ 147 h 588"/>
                    <a:gd name="T24" fmla="*/ 307 w 318"/>
                    <a:gd name="T25" fmla="*/ 170 h 588"/>
                    <a:gd name="T26" fmla="*/ 314 w 318"/>
                    <a:gd name="T27" fmla="*/ 147 h 588"/>
                    <a:gd name="T28" fmla="*/ 307 w 318"/>
                    <a:gd name="T29" fmla="*/ 118 h 588"/>
                    <a:gd name="T30" fmla="*/ 307 w 318"/>
                    <a:gd name="T31" fmla="*/ 88 h 588"/>
                    <a:gd name="T32" fmla="*/ 298 w 318"/>
                    <a:gd name="T33" fmla="*/ 35 h 588"/>
                    <a:gd name="T34" fmla="*/ 280 w 318"/>
                    <a:gd name="T35" fmla="*/ 15 h 588"/>
                    <a:gd name="T36" fmla="*/ 273 w 318"/>
                    <a:gd name="T37" fmla="*/ 14 h 588"/>
                    <a:gd name="T38" fmla="*/ 261 w 318"/>
                    <a:gd name="T39" fmla="*/ 23 h 588"/>
                    <a:gd name="T40" fmla="*/ 257 w 318"/>
                    <a:gd name="T41" fmla="*/ 44 h 588"/>
                    <a:gd name="T42" fmla="*/ 241 w 318"/>
                    <a:gd name="T43" fmla="*/ 70 h 588"/>
                    <a:gd name="T44" fmla="*/ 229 w 318"/>
                    <a:gd name="T45" fmla="*/ 69 h 588"/>
                    <a:gd name="T46" fmla="*/ 227 w 318"/>
                    <a:gd name="T47" fmla="*/ 92 h 588"/>
                    <a:gd name="T48" fmla="*/ 213 w 318"/>
                    <a:gd name="T49" fmla="*/ 99 h 588"/>
                    <a:gd name="T50" fmla="*/ 220 w 318"/>
                    <a:gd name="T51" fmla="*/ 118 h 588"/>
                    <a:gd name="T52" fmla="*/ 197 w 318"/>
                    <a:gd name="T53" fmla="*/ 131 h 588"/>
                    <a:gd name="T54" fmla="*/ 188 w 318"/>
                    <a:gd name="T55" fmla="*/ 120 h 588"/>
                    <a:gd name="T56" fmla="*/ 186 w 318"/>
                    <a:gd name="T57" fmla="*/ 139 h 588"/>
                    <a:gd name="T58" fmla="*/ 179 w 318"/>
                    <a:gd name="T59" fmla="*/ 152 h 588"/>
                    <a:gd name="T60" fmla="*/ 174 w 318"/>
                    <a:gd name="T61" fmla="*/ 136 h 588"/>
                    <a:gd name="T62" fmla="*/ 156 w 318"/>
                    <a:gd name="T63" fmla="*/ 171 h 588"/>
                    <a:gd name="T64" fmla="*/ 144 w 318"/>
                    <a:gd name="T65" fmla="*/ 155 h 588"/>
                    <a:gd name="T66" fmla="*/ 117 w 318"/>
                    <a:gd name="T67" fmla="*/ 162 h 588"/>
                    <a:gd name="T68" fmla="*/ 114 w 318"/>
                    <a:gd name="T69" fmla="*/ 168 h 588"/>
                    <a:gd name="T70" fmla="*/ 84 w 318"/>
                    <a:gd name="T71" fmla="*/ 180 h 588"/>
                    <a:gd name="T72" fmla="*/ 64 w 318"/>
                    <a:gd name="T73" fmla="*/ 184 h 588"/>
                    <a:gd name="T74" fmla="*/ 43 w 318"/>
                    <a:gd name="T75" fmla="*/ 232 h 588"/>
                    <a:gd name="T76" fmla="*/ 47 w 318"/>
                    <a:gd name="T77" fmla="*/ 262 h 588"/>
                    <a:gd name="T78" fmla="*/ 64 w 318"/>
                    <a:gd name="T79" fmla="*/ 308 h 588"/>
                    <a:gd name="T80" fmla="*/ 57 w 318"/>
                    <a:gd name="T81" fmla="*/ 343 h 588"/>
                    <a:gd name="T82" fmla="*/ 39 w 318"/>
                    <a:gd name="T83" fmla="*/ 366 h 588"/>
                    <a:gd name="T84" fmla="*/ 15 w 318"/>
                    <a:gd name="T85" fmla="*/ 396 h 588"/>
                    <a:gd name="T86" fmla="*/ 4 w 318"/>
                    <a:gd name="T87" fmla="*/ 434 h 588"/>
                    <a:gd name="T88" fmla="*/ 15 w 318"/>
                    <a:gd name="T89" fmla="*/ 472 h 588"/>
                    <a:gd name="T90" fmla="*/ 22 w 318"/>
                    <a:gd name="T91" fmla="*/ 490 h 588"/>
                    <a:gd name="T92" fmla="*/ 13 w 318"/>
                    <a:gd name="T93" fmla="*/ 517 h 588"/>
                    <a:gd name="T94" fmla="*/ 20 w 318"/>
                    <a:gd name="T95" fmla="*/ 545 h 588"/>
                    <a:gd name="T96" fmla="*/ 39 w 318"/>
                    <a:gd name="T97" fmla="*/ 568 h 588"/>
                    <a:gd name="T98" fmla="*/ 61 w 318"/>
                    <a:gd name="T99" fmla="*/ 581 h 588"/>
                    <a:gd name="T100" fmla="*/ 68 w 318"/>
                    <a:gd name="T101" fmla="*/ 588 h 588"/>
                    <a:gd name="T102" fmla="*/ 254 w 318"/>
                    <a:gd name="T103" fmla="*/ 33 h 588"/>
                    <a:gd name="T104" fmla="*/ 247 w 318"/>
                    <a:gd name="T105" fmla="*/ 53 h 588"/>
                    <a:gd name="T106" fmla="*/ 245 w 318"/>
                    <a:gd name="T107" fmla="*/ 54 h 588"/>
                    <a:gd name="T108" fmla="*/ 240 w 318"/>
                    <a:gd name="T109" fmla="*/ 54 h 588"/>
                    <a:gd name="T110" fmla="*/ 233 w 318"/>
                    <a:gd name="T111" fmla="*/ 53 h 588"/>
                    <a:gd name="T112" fmla="*/ 289 w 318"/>
                    <a:gd name="T113" fmla="*/ 207 h 588"/>
                    <a:gd name="T114" fmla="*/ 295 w 318"/>
                    <a:gd name="T115" fmla="*/ 205 h 5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18" h="588">
                      <a:moveTo>
                        <a:pt x="68" y="588"/>
                      </a:moveTo>
                      <a:lnTo>
                        <a:pt x="73" y="584"/>
                      </a:lnTo>
                      <a:lnTo>
                        <a:pt x="82" y="584"/>
                      </a:lnTo>
                      <a:lnTo>
                        <a:pt x="93" y="579"/>
                      </a:lnTo>
                      <a:lnTo>
                        <a:pt x="100" y="568"/>
                      </a:lnTo>
                      <a:lnTo>
                        <a:pt x="126" y="566"/>
                      </a:lnTo>
                      <a:lnTo>
                        <a:pt x="133" y="568"/>
                      </a:lnTo>
                      <a:lnTo>
                        <a:pt x="148" y="563"/>
                      </a:lnTo>
                      <a:lnTo>
                        <a:pt x="151" y="556"/>
                      </a:lnTo>
                      <a:lnTo>
                        <a:pt x="158" y="554"/>
                      </a:lnTo>
                      <a:lnTo>
                        <a:pt x="162" y="542"/>
                      </a:lnTo>
                      <a:lnTo>
                        <a:pt x="169" y="531"/>
                      </a:lnTo>
                      <a:lnTo>
                        <a:pt x="169" y="524"/>
                      </a:lnTo>
                      <a:lnTo>
                        <a:pt x="178" y="519"/>
                      </a:lnTo>
                      <a:lnTo>
                        <a:pt x="176" y="506"/>
                      </a:lnTo>
                      <a:lnTo>
                        <a:pt x="174" y="504"/>
                      </a:lnTo>
                      <a:lnTo>
                        <a:pt x="179" y="501"/>
                      </a:lnTo>
                      <a:lnTo>
                        <a:pt x="183" y="487"/>
                      </a:lnTo>
                      <a:lnTo>
                        <a:pt x="183" y="485"/>
                      </a:lnTo>
                      <a:lnTo>
                        <a:pt x="186" y="485"/>
                      </a:lnTo>
                      <a:lnTo>
                        <a:pt x="194" y="472"/>
                      </a:lnTo>
                      <a:lnTo>
                        <a:pt x="199" y="444"/>
                      </a:lnTo>
                      <a:lnTo>
                        <a:pt x="204" y="428"/>
                      </a:lnTo>
                      <a:lnTo>
                        <a:pt x="210" y="423"/>
                      </a:lnTo>
                      <a:lnTo>
                        <a:pt x="213" y="405"/>
                      </a:lnTo>
                      <a:lnTo>
                        <a:pt x="225" y="386"/>
                      </a:lnTo>
                      <a:lnTo>
                        <a:pt x="236" y="352"/>
                      </a:lnTo>
                      <a:lnTo>
                        <a:pt x="243" y="341"/>
                      </a:lnTo>
                      <a:lnTo>
                        <a:pt x="243" y="325"/>
                      </a:lnTo>
                      <a:lnTo>
                        <a:pt x="252" y="311"/>
                      </a:lnTo>
                      <a:lnTo>
                        <a:pt x="252" y="304"/>
                      </a:lnTo>
                      <a:lnTo>
                        <a:pt x="263" y="290"/>
                      </a:lnTo>
                      <a:lnTo>
                        <a:pt x="266" y="267"/>
                      </a:lnTo>
                      <a:lnTo>
                        <a:pt x="272" y="249"/>
                      </a:lnTo>
                      <a:lnTo>
                        <a:pt x="275" y="246"/>
                      </a:lnTo>
                      <a:lnTo>
                        <a:pt x="277" y="233"/>
                      </a:lnTo>
                      <a:lnTo>
                        <a:pt x="273" y="228"/>
                      </a:lnTo>
                      <a:lnTo>
                        <a:pt x="275" y="217"/>
                      </a:lnTo>
                      <a:lnTo>
                        <a:pt x="284" y="205"/>
                      </a:lnTo>
                      <a:lnTo>
                        <a:pt x="282" y="200"/>
                      </a:lnTo>
                      <a:lnTo>
                        <a:pt x="289" y="193"/>
                      </a:lnTo>
                      <a:lnTo>
                        <a:pt x="287" y="182"/>
                      </a:lnTo>
                      <a:lnTo>
                        <a:pt x="284" y="178"/>
                      </a:lnTo>
                      <a:lnTo>
                        <a:pt x="287" y="171"/>
                      </a:lnTo>
                      <a:lnTo>
                        <a:pt x="287" y="162"/>
                      </a:lnTo>
                      <a:lnTo>
                        <a:pt x="284" y="159"/>
                      </a:lnTo>
                      <a:lnTo>
                        <a:pt x="284" y="150"/>
                      </a:lnTo>
                      <a:lnTo>
                        <a:pt x="289" y="147"/>
                      </a:lnTo>
                      <a:lnTo>
                        <a:pt x="293" y="150"/>
                      </a:lnTo>
                      <a:lnTo>
                        <a:pt x="295" y="159"/>
                      </a:lnTo>
                      <a:lnTo>
                        <a:pt x="302" y="168"/>
                      </a:lnTo>
                      <a:lnTo>
                        <a:pt x="307" y="170"/>
                      </a:lnTo>
                      <a:lnTo>
                        <a:pt x="310" y="164"/>
                      </a:lnTo>
                      <a:lnTo>
                        <a:pt x="310" y="157"/>
                      </a:lnTo>
                      <a:lnTo>
                        <a:pt x="312" y="154"/>
                      </a:lnTo>
                      <a:lnTo>
                        <a:pt x="314" y="147"/>
                      </a:lnTo>
                      <a:lnTo>
                        <a:pt x="318" y="145"/>
                      </a:lnTo>
                      <a:lnTo>
                        <a:pt x="316" y="136"/>
                      </a:lnTo>
                      <a:lnTo>
                        <a:pt x="309" y="125"/>
                      </a:lnTo>
                      <a:lnTo>
                        <a:pt x="307" y="118"/>
                      </a:lnTo>
                      <a:lnTo>
                        <a:pt x="309" y="113"/>
                      </a:lnTo>
                      <a:lnTo>
                        <a:pt x="309" y="104"/>
                      </a:lnTo>
                      <a:lnTo>
                        <a:pt x="305" y="93"/>
                      </a:lnTo>
                      <a:lnTo>
                        <a:pt x="307" y="88"/>
                      </a:lnTo>
                      <a:lnTo>
                        <a:pt x="309" y="69"/>
                      </a:lnTo>
                      <a:lnTo>
                        <a:pt x="302" y="60"/>
                      </a:lnTo>
                      <a:lnTo>
                        <a:pt x="302" y="42"/>
                      </a:lnTo>
                      <a:lnTo>
                        <a:pt x="298" y="35"/>
                      </a:lnTo>
                      <a:lnTo>
                        <a:pt x="295" y="37"/>
                      </a:lnTo>
                      <a:lnTo>
                        <a:pt x="287" y="26"/>
                      </a:lnTo>
                      <a:lnTo>
                        <a:pt x="287" y="19"/>
                      </a:lnTo>
                      <a:lnTo>
                        <a:pt x="280" y="15"/>
                      </a:lnTo>
                      <a:lnTo>
                        <a:pt x="284" y="7"/>
                      </a:lnTo>
                      <a:lnTo>
                        <a:pt x="280" y="0"/>
                      </a:lnTo>
                      <a:lnTo>
                        <a:pt x="270" y="8"/>
                      </a:lnTo>
                      <a:lnTo>
                        <a:pt x="273" y="14"/>
                      </a:lnTo>
                      <a:lnTo>
                        <a:pt x="266" y="19"/>
                      </a:lnTo>
                      <a:lnTo>
                        <a:pt x="259" y="14"/>
                      </a:lnTo>
                      <a:lnTo>
                        <a:pt x="254" y="14"/>
                      </a:lnTo>
                      <a:lnTo>
                        <a:pt x="261" y="23"/>
                      </a:lnTo>
                      <a:lnTo>
                        <a:pt x="261" y="28"/>
                      </a:lnTo>
                      <a:lnTo>
                        <a:pt x="266" y="33"/>
                      </a:lnTo>
                      <a:lnTo>
                        <a:pt x="266" y="37"/>
                      </a:lnTo>
                      <a:lnTo>
                        <a:pt x="257" y="44"/>
                      </a:lnTo>
                      <a:lnTo>
                        <a:pt x="257" y="56"/>
                      </a:lnTo>
                      <a:lnTo>
                        <a:pt x="254" y="65"/>
                      </a:lnTo>
                      <a:lnTo>
                        <a:pt x="248" y="63"/>
                      </a:lnTo>
                      <a:lnTo>
                        <a:pt x="241" y="70"/>
                      </a:lnTo>
                      <a:lnTo>
                        <a:pt x="240" y="77"/>
                      </a:lnTo>
                      <a:lnTo>
                        <a:pt x="234" y="81"/>
                      </a:lnTo>
                      <a:lnTo>
                        <a:pt x="229" y="77"/>
                      </a:lnTo>
                      <a:lnTo>
                        <a:pt x="229" y="69"/>
                      </a:lnTo>
                      <a:lnTo>
                        <a:pt x="225" y="67"/>
                      </a:lnTo>
                      <a:lnTo>
                        <a:pt x="220" y="72"/>
                      </a:lnTo>
                      <a:lnTo>
                        <a:pt x="218" y="83"/>
                      </a:lnTo>
                      <a:lnTo>
                        <a:pt x="227" y="92"/>
                      </a:lnTo>
                      <a:lnTo>
                        <a:pt x="229" y="95"/>
                      </a:lnTo>
                      <a:lnTo>
                        <a:pt x="227" y="97"/>
                      </a:lnTo>
                      <a:lnTo>
                        <a:pt x="222" y="97"/>
                      </a:lnTo>
                      <a:lnTo>
                        <a:pt x="213" y="99"/>
                      </a:lnTo>
                      <a:lnTo>
                        <a:pt x="215" y="106"/>
                      </a:lnTo>
                      <a:lnTo>
                        <a:pt x="224" y="108"/>
                      </a:lnTo>
                      <a:lnTo>
                        <a:pt x="224" y="113"/>
                      </a:lnTo>
                      <a:lnTo>
                        <a:pt x="220" y="118"/>
                      </a:lnTo>
                      <a:lnTo>
                        <a:pt x="217" y="113"/>
                      </a:lnTo>
                      <a:lnTo>
                        <a:pt x="211" y="115"/>
                      </a:lnTo>
                      <a:lnTo>
                        <a:pt x="210" y="120"/>
                      </a:lnTo>
                      <a:lnTo>
                        <a:pt x="197" y="131"/>
                      </a:lnTo>
                      <a:lnTo>
                        <a:pt x="197" y="120"/>
                      </a:lnTo>
                      <a:lnTo>
                        <a:pt x="199" y="118"/>
                      </a:lnTo>
                      <a:lnTo>
                        <a:pt x="197" y="113"/>
                      </a:lnTo>
                      <a:lnTo>
                        <a:pt x="188" y="120"/>
                      </a:lnTo>
                      <a:lnTo>
                        <a:pt x="194" y="124"/>
                      </a:lnTo>
                      <a:lnTo>
                        <a:pt x="192" y="127"/>
                      </a:lnTo>
                      <a:lnTo>
                        <a:pt x="183" y="132"/>
                      </a:lnTo>
                      <a:lnTo>
                        <a:pt x="186" y="139"/>
                      </a:lnTo>
                      <a:lnTo>
                        <a:pt x="192" y="141"/>
                      </a:lnTo>
                      <a:lnTo>
                        <a:pt x="192" y="147"/>
                      </a:lnTo>
                      <a:lnTo>
                        <a:pt x="186" y="148"/>
                      </a:lnTo>
                      <a:lnTo>
                        <a:pt x="179" y="152"/>
                      </a:lnTo>
                      <a:lnTo>
                        <a:pt x="178" y="147"/>
                      </a:lnTo>
                      <a:lnTo>
                        <a:pt x="174" y="147"/>
                      </a:lnTo>
                      <a:lnTo>
                        <a:pt x="178" y="139"/>
                      </a:lnTo>
                      <a:lnTo>
                        <a:pt x="174" y="136"/>
                      </a:lnTo>
                      <a:lnTo>
                        <a:pt x="160" y="150"/>
                      </a:lnTo>
                      <a:lnTo>
                        <a:pt x="156" y="161"/>
                      </a:lnTo>
                      <a:lnTo>
                        <a:pt x="158" y="166"/>
                      </a:lnTo>
                      <a:lnTo>
                        <a:pt x="156" y="171"/>
                      </a:lnTo>
                      <a:lnTo>
                        <a:pt x="151" y="170"/>
                      </a:lnTo>
                      <a:lnTo>
                        <a:pt x="148" y="166"/>
                      </a:lnTo>
                      <a:lnTo>
                        <a:pt x="148" y="155"/>
                      </a:lnTo>
                      <a:lnTo>
                        <a:pt x="144" y="155"/>
                      </a:lnTo>
                      <a:lnTo>
                        <a:pt x="135" y="166"/>
                      </a:lnTo>
                      <a:lnTo>
                        <a:pt x="124" y="157"/>
                      </a:lnTo>
                      <a:lnTo>
                        <a:pt x="123" y="161"/>
                      </a:lnTo>
                      <a:lnTo>
                        <a:pt x="117" y="162"/>
                      </a:lnTo>
                      <a:lnTo>
                        <a:pt x="119" y="173"/>
                      </a:lnTo>
                      <a:lnTo>
                        <a:pt x="116" y="173"/>
                      </a:lnTo>
                      <a:lnTo>
                        <a:pt x="114" y="173"/>
                      </a:lnTo>
                      <a:lnTo>
                        <a:pt x="114" y="168"/>
                      </a:lnTo>
                      <a:lnTo>
                        <a:pt x="109" y="166"/>
                      </a:lnTo>
                      <a:lnTo>
                        <a:pt x="105" y="171"/>
                      </a:lnTo>
                      <a:lnTo>
                        <a:pt x="100" y="166"/>
                      </a:lnTo>
                      <a:lnTo>
                        <a:pt x="84" y="180"/>
                      </a:lnTo>
                      <a:lnTo>
                        <a:pt x="80" y="180"/>
                      </a:lnTo>
                      <a:lnTo>
                        <a:pt x="77" y="178"/>
                      </a:lnTo>
                      <a:lnTo>
                        <a:pt x="68" y="178"/>
                      </a:lnTo>
                      <a:lnTo>
                        <a:pt x="64" y="184"/>
                      </a:lnTo>
                      <a:lnTo>
                        <a:pt x="66" y="196"/>
                      </a:lnTo>
                      <a:lnTo>
                        <a:pt x="54" y="216"/>
                      </a:lnTo>
                      <a:lnTo>
                        <a:pt x="54" y="219"/>
                      </a:lnTo>
                      <a:lnTo>
                        <a:pt x="43" y="232"/>
                      </a:lnTo>
                      <a:lnTo>
                        <a:pt x="43" y="237"/>
                      </a:lnTo>
                      <a:lnTo>
                        <a:pt x="48" y="242"/>
                      </a:lnTo>
                      <a:lnTo>
                        <a:pt x="43" y="251"/>
                      </a:lnTo>
                      <a:lnTo>
                        <a:pt x="47" y="262"/>
                      </a:lnTo>
                      <a:lnTo>
                        <a:pt x="47" y="272"/>
                      </a:lnTo>
                      <a:lnTo>
                        <a:pt x="57" y="295"/>
                      </a:lnTo>
                      <a:lnTo>
                        <a:pt x="57" y="301"/>
                      </a:lnTo>
                      <a:lnTo>
                        <a:pt x="64" y="308"/>
                      </a:lnTo>
                      <a:lnTo>
                        <a:pt x="64" y="311"/>
                      </a:lnTo>
                      <a:lnTo>
                        <a:pt x="59" y="318"/>
                      </a:lnTo>
                      <a:lnTo>
                        <a:pt x="61" y="324"/>
                      </a:lnTo>
                      <a:lnTo>
                        <a:pt x="57" y="343"/>
                      </a:lnTo>
                      <a:lnTo>
                        <a:pt x="48" y="348"/>
                      </a:lnTo>
                      <a:lnTo>
                        <a:pt x="47" y="359"/>
                      </a:lnTo>
                      <a:lnTo>
                        <a:pt x="41" y="359"/>
                      </a:lnTo>
                      <a:lnTo>
                        <a:pt x="39" y="366"/>
                      </a:lnTo>
                      <a:lnTo>
                        <a:pt x="32" y="373"/>
                      </a:lnTo>
                      <a:lnTo>
                        <a:pt x="31" y="387"/>
                      </a:lnTo>
                      <a:lnTo>
                        <a:pt x="25" y="395"/>
                      </a:lnTo>
                      <a:lnTo>
                        <a:pt x="15" y="396"/>
                      </a:lnTo>
                      <a:lnTo>
                        <a:pt x="11" y="400"/>
                      </a:lnTo>
                      <a:lnTo>
                        <a:pt x="11" y="414"/>
                      </a:lnTo>
                      <a:lnTo>
                        <a:pt x="2" y="423"/>
                      </a:lnTo>
                      <a:lnTo>
                        <a:pt x="4" y="434"/>
                      </a:lnTo>
                      <a:lnTo>
                        <a:pt x="0" y="441"/>
                      </a:lnTo>
                      <a:lnTo>
                        <a:pt x="2" y="446"/>
                      </a:lnTo>
                      <a:lnTo>
                        <a:pt x="4" y="458"/>
                      </a:lnTo>
                      <a:lnTo>
                        <a:pt x="15" y="472"/>
                      </a:lnTo>
                      <a:lnTo>
                        <a:pt x="13" y="481"/>
                      </a:lnTo>
                      <a:lnTo>
                        <a:pt x="15" y="487"/>
                      </a:lnTo>
                      <a:lnTo>
                        <a:pt x="20" y="490"/>
                      </a:lnTo>
                      <a:lnTo>
                        <a:pt x="22" y="490"/>
                      </a:lnTo>
                      <a:lnTo>
                        <a:pt x="20" y="492"/>
                      </a:lnTo>
                      <a:lnTo>
                        <a:pt x="11" y="494"/>
                      </a:lnTo>
                      <a:lnTo>
                        <a:pt x="11" y="503"/>
                      </a:lnTo>
                      <a:lnTo>
                        <a:pt x="13" y="517"/>
                      </a:lnTo>
                      <a:lnTo>
                        <a:pt x="11" y="534"/>
                      </a:lnTo>
                      <a:lnTo>
                        <a:pt x="15" y="538"/>
                      </a:lnTo>
                      <a:lnTo>
                        <a:pt x="15" y="543"/>
                      </a:lnTo>
                      <a:lnTo>
                        <a:pt x="20" y="545"/>
                      </a:lnTo>
                      <a:lnTo>
                        <a:pt x="25" y="554"/>
                      </a:lnTo>
                      <a:lnTo>
                        <a:pt x="31" y="556"/>
                      </a:lnTo>
                      <a:lnTo>
                        <a:pt x="34" y="563"/>
                      </a:lnTo>
                      <a:lnTo>
                        <a:pt x="39" y="568"/>
                      </a:lnTo>
                      <a:lnTo>
                        <a:pt x="45" y="566"/>
                      </a:lnTo>
                      <a:lnTo>
                        <a:pt x="47" y="570"/>
                      </a:lnTo>
                      <a:lnTo>
                        <a:pt x="54" y="572"/>
                      </a:lnTo>
                      <a:lnTo>
                        <a:pt x="61" y="581"/>
                      </a:lnTo>
                      <a:lnTo>
                        <a:pt x="66" y="581"/>
                      </a:lnTo>
                      <a:lnTo>
                        <a:pt x="66" y="584"/>
                      </a:lnTo>
                      <a:lnTo>
                        <a:pt x="68" y="588"/>
                      </a:lnTo>
                      <a:lnTo>
                        <a:pt x="68" y="588"/>
                      </a:lnTo>
                      <a:close/>
                      <a:moveTo>
                        <a:pt x="248" y="42"/>
                      </a:moveTo>
                      <a:lnTo>
                        <a:pt x="247" y="38"/>
                      </a:lnTo>
                      <a:lnTo>
                        <a:pt x="254" y="31"/>
                      </a:lnTo>
                      <a:lnTo>
                        <a:pt x="254" y="33"/>
                      </a:lnTo>
                      <a:lnTo>
                        <a:pt x="248" y="42"/>
                      </a:lnTo>
                      <a:lnTo>
                        <a:pt x="248" y="42"/>
                      </a:lnTo>
                      <a:close/>
                      <a:moveTo>
                        <a:pt x="245" y="54"/>
                      </a:moveTo>
                      <a:lnTo>
                        <a:pt x="247" y="53"/>
                      </a:lnTo>
                      <a:lnTo>
                        <a:pt x="248" y="54"/>
                      </a:lnTo>
                      <a:lnTo>
                        <a:pt x="247" y="58"/>
                      </a:lnTo>
                      <a:lnTo>
                        <a:pt x="245" y="54"/>
                      </a:lnTo>
                      <a:lnTo>
                        <a:pt x="245" y="54"/>
                      </a:lnTo>
                      <a:close/>
                      <a:moveTo>
                        <a:pt x="233" y="53"/>
                      </a:moveTo>
                      <a:lnTo>
                        <a:pt x="234" y="51"/>
                      </a:lnTo>
                      <a:lnTo>
                        <a:pt x="236" y="53"/>
                      </a:lnTo>
                      <a:lnTo>
                        <a:pt x="240" y="54"/>
                      </a:lnTo>
                      <a:lnTo>
                        <a:pt x="238" y="63"/>
                      </a:lnTo>
                      <a:lnTo>
                        <a:pt x="234" y="58"/>
                      </a:lnTo>
                      <a:lnTo>
                        <a:pt x="229" y="58"/>
                      </a:lnTo>
                      <a:lnTo>
                        <a:pt x="233" y="53"/>
                      </a:lnTo>
                      <a:lnTo>
                        <a:pt x="233" y="53"/>
                      </a:lnTo>
                      <a:close/>
                      <a:moveTo>
                        <a:pt x="289" y="217"/>
                      </a:moveTo>
                      <a:lnTo>
                        <a:pt x="289" y="212"/>
                      </a:lnTo>
                      <a:lnTo>
                        <a:pt x="289" y="207"/>
                      </a:lnTo>
                      <a:lnTo>
                        <a:pt x="291" y="203"/>
                      </a:lnTo>
                      <a:lnTo>
                        <a:pt x="295" y="203"/>
                      </a:lnTo>
                      <a:lnTo>
                        <a:pt x="298" y="198"/>
                      </a:lnTo>
                      <a:lnTo>
                        <a:pt x="295" y="205"/>
                      </a:lnTo>
                      <a:lnTo>
                        <a:pt x="293" y="210"/>
                      </a:lnTo>
                      <a:lnTo>
                        <a:pt x="289" y="217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8" name="Freeform 52">
                  <a:extLst>
                    <a:ext uri="{FF2B5EF4-FFF2-40B4-BE49-F238E27FC236}">
                      <a16:creationId xmlns:a16="http://schemas.microsoft.com/office/drawing/2014/main" id="{4457C987-8856-DF39-768A-9F18B0F2E4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42150" y="4652947"/>
                  <a:ext cx="688977" cy="1104896"/>
                </a:xfrm>
                <a:custGeom>
                  <a:avLst/>
                  <a:gdLst>
                    <a:gd name="T0" fmla="*/ 76 w 434"/>
                    <a:gd name="T1" fmla="*/ 434 h 696"/>
                    <a:gd name="T2" fmla="*/ 87 w 434"/>
                    <a:gd name="T3" fmla="*/ 411 h 696"/>
                    <a:gd name="T4" fmla="*/ 94 w 434"/>
                    <a:gd name="T5" fmla="*/ 379 h 696"/>
                    <a:gd name="T6" fmla="*/ 94 w 434"/>
                    <a:gd name="T7" fmla="*/ 356 h 696"/>
                    <a:gd name="T8" fmla="*/ 98 w 434"/>
                    <a:gd name="T9" fmla="*/ 331 h 696"/>
                    <a:gd name="T10" fmla="*/ 103 w 434"/>
                    <a:gd name="T11" fmla="*/ 297 h 696"/>
                    <a:gd name="T12" fmla="*/ 107 w 434"/>
                    <a:gd name="T13" fmla="*/ 265 h 696"/>
                    <a:gd name="T14" fmla="*/ 64 w 434"/>
                    <a:gd name="T15" fmla="*/ 251 h 696"/>
                    <a:gd name="T16" fmla="*/ 27 w 434"/>
                    <a:gd name="T17" fmla="*/ 237 h 696"/>
                    <a:gd name="T18" fmla="*/ 0 w 434"/>
                    <a:gd name="T19" fmla="*/ 200 h 696"/>
                    <a:gd name="T20" fmla="*/ 78 w 434"/>
                    <a:gd name="T21" fmla="*/ 166 h 696"/>
                    <a:gd name="T22" fmla="*/ 130 w 434"/>
                    <a:gd name="T23" fmla="*/ 157 h 696"/>
                    <a:gd name="T24" fmla="*/ 149 w 434"/>
                    <a:gd name="T25" fmla="*/ 170 h 696"/>
                    <a:gd name="T26" fmla="*/ 177 w 434"/>
                    <a:gd name="T27" fmla="*/ 186 h 696"/>
                    <a:gd name="T28" fmla="*/ 161 w 434"/>
                    <a:gd name="T29" fmla="*/ 228 h 696"/>
                    <a:gd name="T30" fmla="*/ 185 w 434"/>
                    <a:gd name="T31" fmla="*/ 262 h 696"/>
                    <a:gd name="T32" fmla="*/ 202 w 434"/>
                    <a:gd name="T33" fmla="*/ 283 h 696"/>
                    <a:gd name="T34" fmla="*/ 211 w 434"/>
                    <a:gd name="T35" fmla="*/ 239 h 696"/>
                    <a:gd name="T36" fmla="*/ 224 w 434"/>
                    <a:gd name="T37" fmla="*/ 205 h 696"/>
                    <a:gd name="T38" fmla="*/ 231 w 434"/>
                    <a:gd name="T39" fmla="*/ 191 h 696"/>
                    <a:gd name="T40" fmla="*/ 220 w 434"/>
                    <a:gd name="T41" fmla="*/ 156 h 696"/>
                    <a:gd name="T42" fmla="*/ 190 w 434"/>
                    <a:gd name="T43" fmla="*/ 124 h 696"/>
                    <a:gd name="T44" fmla="*/ 225 w 434"/>
                    <a:gd name="T45" fmla="*/ 40 h 696"/>
                    <a:gd name="T46" fmla="*/ 245 w 434"/>
                    <a:gd name="T47" fmla="*/ 44 h 696"/>
                    <a:gd name="T48" fmla="*/ 275 w 434"/>
                    <a:gd name="T49" fmla="*/ 44 h 696"/>
                    <a:gd name="T50" fmla="*/ 293 w 434"/>
                    <a:gd name="T51" fmla="*/ 44 h 696"/>
                    <a:gd name="T52" fmla="*/ 319 w 434"/>
                    <a:gd name="T53" fmla="*/ 33 h 696"/>
                    <a:gd name="T54" fmla="*/ 348 w 434"/>
                    <a:gd name="T55" fmla="*/ 35 h 696"/>
                    <a:gd name="T56" fmla="*/ 383 w 434"/>
                    <a:gd name="T57" fmla="*/ 23 h 696"/>
                    <a:gd name="T58" fmla="*/ 418 w 434"/>
                    <a:gd name="T59" fmla="*/ 3 h 696"/>
                    <a:gd name="T60" fmla="*/ 433 w 434"/>
                    <a:gd name="T61" fmla="*/ 12 h 696"/>
                    <a:gd name="T62" fmla="*/ 424 w 434"/>
                    <a:gd name="T63" fmla="*/ 39 h 696"/>
                    <a:gd name="T64" fmla="*/ 425 w 434"/>
                    <a:gd name="T65" fmla="*/ 71 h 696"/>
                    <a:gd name="T66" fmla="*/ 425 w 434"/>
                    <a:gd name="T67" fmla="*/ 110 h 696"/>
                    <a:gd name="T68" fmla="*/ 417 w 434"/>
                    <a:gd name="T69" fmla="*/ 152 h 696"/>
                    <a:gd name="T70" fmla="*/ 431 w 434"/>
                    <a:gd name="T71" fmla="*/ 177 h 696"/>
                    <a:gd name="T72" fmla="*/ 418 w 434"/>
                    <a:gd name="T73" fmla="*/ 193 h 696"/>
                    <a:gd name="T74" fmla="*/ 418 w 434"/>
                    <a:gd name="T75" fmla="*/ 205 h 696"/>
                    <a:gd name="T76" fmla="*/ 394 w 434"/>
                    <a:gd name="T77" fmla="*/ 242 h 696"/>
                    <a:gd name="T78" fmla="*/ 355 w 434"/>
                    <a:gd name="T79" fmla="*/ 273 h 696"/>
                    <a:gd name="T80" fmla="*/ 289 w 434"/>
                    <a:gd name="T81" fmla="*/ 303 h 696"/>
                    <a:gd name="T82" fmla="*/ 266 w 434"/>
                    <a:gd name="T83" fmla="*/ 313 h 696"/>
                    <a:gd name="T84" fmla="*/ 241 w 434"/>
                    <a:gd name="T85" fmla="*/ 347 h 696"/>
                    <a:gd name="T86" fmla="*/ 202 w 434"/>
                    <a:gd name="T87" fmla="*/ 372 h 696"/>
                    <a:gd name="T88" fmla="*/ 174 w 434"/>
                    <a:gd name="T89" fmla="*/ 388 h 696"/>
                    <a:gd name="T90" fmla="*/ 170 w 434"/>
                    <a:gd name="T91" fmla="*/ 407 h 696"/>
                    <a:gd name="T92" fmla="*/ 174 w 434"/>
                    <a:gd name="T93" fmla="*/ 446 h 696"/>
                    <a:gd name="T94" fmla="*/ 185 w 434"/>
                    <a:gd name="T95" fmla="*/ 499 h 696"/>
                    <a:gd name="T96" fmla="*/ 195 w 434"/>
                    <a:gd name="T97" fmla="*/ 499 h 696"/>
                    <a:gd name="T98" fmla="*/ 195 w 434"/>
                    <a:gd name="T99" fmla="*/ 528 h 696"/>
                    <a:gd name="T100" fmla="*/ 185 w 434"/>
                    <a:gd name="T101" fmla="*/ 561 h 696"/>
                    <a:gd name="T102" fmla="*/ 185 w 434"/>
                    <a:gd name="T103" fmla="*/ 588 h 696"/>
                    <a:gd name="T104" fmla="*/ 82 w 434"/>
                    <a:gd name="T105" fmla="*/ 639 h 696"/>
                    <a:gd name="T106" fmla="*/ 62 w 434"/>
                    <a:gd name="T107" fmla="*/ 660 h 696"/>
                    <a:gd name="T108" fmla="*/ 78 w 434"/>
                    <a:gd name="T109" fmla="*/ 675 h 696"/>
                    <a:gd name="T110" fmla="*/ 76 w 434"/>
                    <a:gd name="T111" fmla="*/ 689 h 696"/>
                    <a:gd name="T112" fmla="*/ 50 w 434"/>
                    <a:gd name="T113" fmla="*/ 691 h 696"/>
                    <a:gd name="T114" fmla="*/ 45 w 434"/>
                    <a:gd name="T115" fmla="*/ 666 h 696"/>
                    <a:gd name="T116" fmla="*/ 45 w 434"/>
                    <a:gd name="T117" fmla="*/ 623 h 696"/>
                    <a:gd name="T118" fmla="*/ 39 w 434"/>
                    <a:gd name="T119" fmla="*/ 563 h 696"/>
                    <a:gd name="T120" fmla="*/ 29 w 434"/>
                    <a:gd name="T121" fmla="*/ 510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34" h="696">
                      <a:moveTo>
                        <a:pt x="29" y="510"/>
                      </a:moveTo>
                      <a:lnTo>
                        <a:pt x="75" y="464"/>
                      </a:lnTo>
                      <a:lnTo>
                        <a:pt x="75" y="451"/>
                      </a:lnTo>
                      <a:lnTo>
                        <a:pt x="76" y="446"/>
                      </a:lnTo>
                      <a:lnTo>
                        <a:pt x="76" y="434"/>
                      </a:lnTo>
                      <a:lnTo>
                        <a:pt x="80" y="428"/>
                      </a:lnTo>
                      <a:lnTo>
                        <a:pt x="78" y="421"/>
                      </a:lnTo>
                      <a:lnTo>
                        <a:pt x="78" y="416"/>
                      </a:lnTo>
                      <a:lnTo>
                        <a:pt x="85" y="416"/>
                      </a:lnTo>
                      <a:lnTo>
                        <a:pt x="87" y="411"/>
                      </a:lnTo>
                      <a:lnTo>
                        <a:pt x="96" y="404"/>
                      </a:lnTo>
                      <a:lnTo>
                        <a:pt x="101" y="397"/>
                      </a:lnTo>
                      <a:lnTo>
                        <a:pt x="99" y="391"/>
                      </a:lnTo>
                      <a:lnTo>
                        <a:pt x="94" y="388"/>
                      </a:lnTo>
                      <a:lnTo>
                        <a:pt x="94" y="379"/>
                      </a:lnTo>
                      <a:lnTo>
                        <a:pt x="99" y="375"/>
                      </a:lnTo>
                      <a:lnTo>
                        <a:pt x="96" y="368"/>
                      </a:lnTo>
                      <a:lnTo>
                        <a:pt x="89" y="363"/>
                      </a:lnTo>
                      <a:lnTo>
                        <a:pt x="89" y="358"/>
                      </a:lnTo>
                      <a:lnTo>
                        <a:pt x="94" y="356"/>
                      </a:lnTo>
                      <a:lnTo>
                        <a:pt x="96" y="347"/>
                      </a:lnTo>
                      <a:lnTo>
                        <a:pt x="96" y="340"/>
                      </a:lnTo>
                      <a:lnTo>
                        <a:pt x="101" y="336"/>
                      </a:lnTo>
                      <a:lnTo>
                        <a:pt x="105" y="329"/>
                      </a:lnTo>
                      <a:lnTo>
                        <a:pt x="98" y="331"/>
                      </a:lnTo>
                      <a:lnTo>
                        <a:pt x="94" y="327"/>
                      </a:lnTo>
                      <a:lnTo>
                        <a:pt x="99" y="320"/>
                      </a:lnTo>
                      <a:lnTo>
                        <a:pt x="99" y="308"/>
                      </a:lnTo>
                      <a:lnTo>
                        <a:pt x="103" y="301"/>
                      </a:lnTo>
                      <a:lnTo>
                        <a:pt x="103" y="297"/>
                      </a:lnTo>
                      <a:lnTo>
                        <a:pt x="103" y="292"/>
                      </a:lnTo>
                      <a:lnTo>
                        <a:pt x="105" y="285"/>
                      </a:lnTo>
                      <a:lnTo>
                        <a:pt x="103" y="280"/>
                      </a:lnTo>
                      <a:lnTo>
                        <a:pt x="107" y="273"/>
                      </a:lnTo>
                      <a:lnTo>
                        <a:pt x="107" y="265"/>
                      </a:lnTo>
                      <a:lnTo>
                        <a:pt x="98" y="265"/>
                      </a:lnTo>
                      <a:lnTo>
                        <a:pt x="92" y="260"/>
                      </a:lnTo>
                      <a:lnTo>
                        <a:pt x="85" y="255"/>
                      </a:lnTo>
                      <a:lnTo>
                        <a:pt x="73" y="253"/>
                      </a:lnTo>
                      <a:lnTo>
                        <a:pt x="64" y="251"/>
                      </a:lnTo>
                      <a:lnTo>
                        <a:pt x="57" y="242"/>
                      </a:lnTo>
                      <a:lnTo>
                        <a:pt x="46" y="235"/>
                      </a:lnTo>
                      <a:lnTo>
                        <a:pt x="34" y="232"/>
                      </a:lnTo>
                      <a:lnTo>
                        <a:pt x="32" y="237"/>
                      </a:lnTo>
                      <a:lnTo>
                        <a:pt x="27" y="237"/>
                      </a:lnTo>
                      <a:lnTo>
                        <a:pt x="25" y="234"/>
                      </a:lnTo>
                      <a:lnTo>
                        <a:pt x="20" y="232"/>
                      </a:lnTo>
                      <a:lnTo>
                        <a:pt x="4" y="232"/>
                      </a:lnTo>
                      <a:lnTo>
                        <a:pt x="4" y="212"/>
                      </a:lnTo>
                      <a:lnTo>
                        <a:pt x="0" y="200"/>
                      </a:lnTo>
                      <a:lnTo>
                        <a:pt x="4" y="193"/>
                      </a:lnTo>
                      <a:lnTo>
                        <a:pt x="20" y="186"/>
                      </a:lnTo>
                      <a:lnTo>
                        <a:pt x="29" y="186"/>
                      </a:lnTo>
                      <a:lnTo>
                        <a:pt x="71" y="168"/>
                      </a:lnTo>
                      <a:lnTo>
                        <a:pt x="78" y="166"/>
                      </a:lnTo>
                      <a:lnTo>
                        <a:pt x="103" y="156"/>
                      </a:lnTo>
                      <a:lnTo>
                        <a:pt x="115" y="152"/>
                      </a:lnTo>
                      <a:lnTo>
                        <a:pt x="126" y="150"/>
                      </a:lnTo>
                      <a:lnTo>
                        <a:pt x="130" y="154"/>
                      </a:lnTo>
                      <a:lnTo>
                        <a:pt x="130" y="157"/>
                      </a:lnTo>
                      <a:lnTo>
                        <a:pt x="133" y="163"/>
                      </a:lnTo>
                      <a:lnTo>
                        <a:pt x="135" y="166"/>
                      </a:lnTo>
                      <a:lnTo>
                        <a:pt x="142" y="172"/>
                      </a:lnTo>
                      <a:lnTo>
                        <a:pt x="144" y="170"/>
                      </a:lnTo>
                      <a:lnTo>
                        <a:pt x="149" y="170"/>
                      </a:lnTo>
                      <a:lnTo>
                        <a:pt x="153" y="166"/>
                      </a:lnTo>
                      <a:lnTo>
                        <a:pt x="161" y="164"/>
                      </a:lnTo>
                      <a:lnTo>
                        <a:pt x="172" y="168"/>
                      </a:lnTo>
                      <a:lnTo>
                        <a:pt x="177" y="175"/>
                      </a:lnTo>
                      <a:lnTo>
                        <a:pt x="177" y="186"/>
                      </a:lnTo>
                      <a:lnTo>
                        <a:pt x="176" y="195"/>
                      </a:lnTo>
                      <a:lnTo>
                        <a:pt x="167" y="205"/>
                      </a:lnTo>
                      <a:lnTo>
                        <a:pt x="165" y="214"/>
                      </a:lnTo>
                      <a:lnTo>
                        <a:pt x="160" y="221"/>
                      </a:lnTo>
                      <a:lnTo>
                        <a:pt x="161" y="228"/>
                      </a:lnTo>
                      <a:lnTo>
                        <a:pt x="165" y="237"/>
                      </a:lnTo>
                      <a:lnTo>
                        <a:pt x="165" y="244"/>
                      </a:lnTo>
                      <a:lnTo>
                        <a:pt x="172" y="253"/>
                      </a:lnTo>
                      <a:lnTo>
                        <a:pt x="179" y="260"/>
                      </a:lnTo>
                      <a:lnTo>
                        <a:pt x="185" y="262"/>
                      </a:lnTo>
                      <a:lnTo>
                        <a:pt x="190" y="267"/>
                      </a:lnTo>
                      <a:lnTo>
                        <a:pt x="195" y="274"/>
                      </a:lnTo>
                      <a:lnTo>
                        <a:pt x="192" y="280"/>
                      </a:lnTo>
                      <a:lnTo>
                        <a:pt x="193" y="285"/>
                      </a:lnTo>
                      <a:lnTo>
                        <a:pt x="202" y="283"/>
                      </a:lnTo>
                      <a:lnTo>
                        <a:pt x="204" y="274"/>
                      </a:lnTo>
                      <a:lnTo>
                        <a:pt x="200" y="265"/>
                      </a:lnTo>
                      <a:lnTo>
                        <a:pt x="206" y="258"/>
                      </a:lnTo>
                      <a:lnTo>
                        <a:pt x="206" y="250"/>
                      </a:lnTo>
                      <a:lnTo>
                        <a:pt x="211" y="239"/>
                      </a:lnTo>
                      <a:lnTo>
                        <a:pt x="218" y="237"/>
                      </a:lnTo>
                      <a:lnTo>
                        <a:pt x="225" y="232"/>
                      </a:lnTo>
                      <a:lnTo>
                        <a:pt x="227" y="225"/>
                      </a:lnTo>
                      <a:lnTo>
                        <a:pt x="227" y="211"/>
                      </a:lnTo>
                      <a:lnTo>
                        <a:pt x="224" y="205"/>
                      </a:lnTo>
                      <a:lnTo>
                        <a:pt x="224" y="202"/>
                      </a:lnTo>
                      <a:lnTo>
                        <a:pt x="222" y="198"/>
                      </a:lnTo>
                      <a:lnTo>
                        <a:pt x="224" y="195"/>
                      </a:lnTo>
                      <a:lnTo>
                        <a:pt x="229" y="195"/>
                      </a:lnTo>
                      <a:lnTo>
                        <a:pt x="231" y="191"/>
                      </a:lnTo>
                      <a:lnTo>
                        <a:pt x="236" y="189"/>
                      </a:lnTo>
                      <a:lnTo>
                        <a:pt x="234" y="184"/>
                      </a:lnTo>
                      <a:lnTo>
                        <a:pt x="232" y="179"/>
                      </a:lnTo>
                      <a:lnTo>
                        <a:pt x="229" y="168"/>
                      </a:lnTo>
                      <a:lnTo>
                        <a:pt x="220" y="156"/>
                      </a:lnTo>
                      <a:lnTo>
                        <a:pt x="216" y="149"/>
                      </a:lnTo>
                      <a:lnTo>
                        <a:pt x="202" y="134"/>
                      </a:lnTo>
                      <a:lnTo>
                        <a:pt x="199" y="134"/>
                      </a:lnTo>
                      <a:lnTo>
                        <a:pt x="195" y="131"/>
                      </a:lnTo>
                      <a:lnTo>
                        <a:pt x="190" y="124"/>
                      </a:lnTo>
                      <a:lnTo>
                        <a:pt x="176" y="118"/>
                      </a:lnTo>
                      <a:lnTo>
                        <a:pt x="169" y="79"/>
                      </a:lnTo>
                      <a:lnTo>
                        <a:pt x="179" y="42"/>
                      </a:lnTo>
                      <a:lnTo>
                        <a:pt x="220" y="42"/>
                      </a:lnTo>
                      <a:lnTo>
                        <a:pt x="225" y="40"/>
                      </a:lnTo>
                      <a:lnTo>
                        <a:pt x="227" y="37"/>
                      </a:lnTo>
                      <a:lnTo>
                        <a:pt x="234" y="37"/>
                      </a:lnTo>
                      <a:lnTo>
                        <a:pt x="234" y="40"/>
                      </a:lnTo>
                      <a:lnTo>
                        <a:pt x="239" y="40"/>
                      </a:lnTo>
                      <a:lnTo>
                        <a:pt x="245" y="44"/>
                      </a:lnTo>
                      <a:lnTo>
                        <a:pt x="250" y="46"/>
                      </a:lnTo>
                      <a:lnTo>
                        <a:pt x="254" y="49"/>
                      </a:lnTo>
                      <a:lnTo>
                        <a:pt x="254" y="53"/>
                      </a:lnTo>
                      <a:lnTo>
                        <a:pt x="264" y="49"/>
                      </a:lnTo>
                      <a:lnTo>
                        <a:pt x="275" y="44"/>
                      </a:lnTo>
                      <a:lnTo>
                        <a:pt x="278" y="42"/>
                      </a:lnTo>
                      <a:lnTo>
                        <a:pt x="282" y="40"/>
                      </a:lnTo>
                      <a:lnTo>
                        <a:pt x="287" y="42"/>
                      </a:lnTo>
                      <a:lnTo>
                        <a:pt x="287" y="44"/>
                      </a:lnTo>
                      <a:lnTo>
                        <a:pt x="293" y="44"/>
                      </a:lnTo>
                      <a:lnTo>
                        <a:pt x="298" y="48"/>
                      </a:lnTo>
                      <a:lnTo>
                        <a:pt x="307" y="44"/>
                      </a:lnTo>
                      <a:lnTo>
                        <a:pt x="317" y="44"/>
                      </a:lnTo>
                      <a:lnTo>
                        <a:pt x="321" y="37"/>
                      </a:lnTo>
                      <a:lnTo>
                        <a:pt x="319" y="33"/>
                      </a:lnTo>
                      <a:lnTo>
                        <a:pt x="321" y="30"/>
                      </a:lnTo>
                      <a:lnTo>
                        <a:pt x="330" y="33"/>
                      </a:lnTo>
                      <a:lnTo>
                        <a:pt x="335" y="32"/>
                      </a:lnTo>
                      <a:lnTo>
                        <a:pt x="340" y="35"/>
                      </a:lnTo>
                      <a:lnTo>
                        <a:pt x="348" y="35"/>
                      </a:lnTo>
                      <a:lnTo>
                        <a:pt x="351" y="32"/>
                      </a:lnTo>
                      <a:lnTo>
                        <a:pt x="367" y="26"/>
                      </a:lnTo>
                      <a:lnTo>
                        <a:pt x="374" y="30"/>
                      </a:lnTo>
                      <a:lnTo>
                        <a:pt x="379" y="26"/>
                      </a:lnTo>
                      <a:lnTo>
                        <a:pt x="383" y="23"/>
                      </a:lnTo>
                      <a:lnTo>
                        <a:pt x="392" y="23"/>
                      </a:lnTo>
                      <a:lnTo>
                        <a:pt x="399" y="16"/>
                      </a:lnTo>
                      <a:lnTo>
                        <a:pt x="406" y="16"/>
                      </a:lnTo>
                      <a:lnTo>
                        <a:pt x="413" y="10"/>
                      </a:lnTo>
                      <a:lnTo>
                        <a:pt x="418" y="3"/>
                      </a:lnTo>
                      <a:lnTo>
                        <a:pt x="425" y="5"/>
                      </a:lnTo>
                      <a:lnTo>
                        <a:pt x="429" y="2"/>
                      </a:lnTo>
                      <a:lnTo>
                        <a:pt x="431" y="0"/>
                      </a:lnTo>
                      <a:lnTo>
                        <a:pt x="434" y="3"/>
                      </a:lnTo>
                      <a:lnTo>
                        <a:pt x="433" y="12"/>
                      </a:lnTo>
                      <a:lnTo>
                        <a:pt x="429" y="17"/>
                      </a:lnTo>
                      <a:lnTo>
                        <a:pt x="433" y="19"/>
                      </a:lnTo>
                      <a:lnTo>
                        <a:pt x="424" y="32"/>
                      </a:lnTo>
                      <a:lnTo>
                        <a:pt x="422" y="35"/>
                      </a:lnTo>
                      <a:lnTo>
                        <a:pt x="424" y="39"/>
                      </a:lnTo>
                      <a:lnTo>
                        <a:pt x="425" y="40"/>
                      </a:lnTo>
                      <a:lnTo>
                        <a:pt x="422" y="44"/>
                      </a:lnTo>
                      <a:lnTo>
                        <a:pt x="424" y="58"/>
                      </a:lnTo>
                      <a:lnTo>
                        <a:pt x="429" y="67"/>
                      </a:lnTo>
                      <a:lnTo>
                        <a:pt x="425" y="71"/>
                      </a:lnTo>
                      <a:lnTo>
                        <a:pt x="425" y="81"/>
                      </a:lnTo>
                      <a:lnTo>
                        <a:pt x="427" y="83"/>
                      </a:lnTo>
                      <a:lnTo>
                        <a:pt x="429" y="94"/>
                      </a:lnTo>
                      <a:lnTo>
                        <a:pt x="424" y="99"/>
                      </a:lnTo>
                      <a:lnTo>
                        <a:pt x="425" y="110"/>
                      </a:lnTo>
                      <a:lnTo>
                        <a:pt x="422" y="129"/>
                      </a:lnTo>
                      <a:lnTo>
                        <a:pt x="420" y="129"/>
                      </a:lnTo>
                      <a:lnTo>
                        <a:pt x="424" y="133"/>
                      </a:lnTo>
                      <a:lnTo>
                        <a:pt x="424" y="152"/>
                      </a:lnTo>
                      <a:lnTo>
                        <a:pt x="417" y="152"/>
                      </a:lnTo>
                      <a:lnTo>
                        <a:pt x="417" y="156"/>
                      </a:lnTo>
                      <a:lnTo>
                        <a:pt x="418" y="157"/>
                      </a:lnTo>
                      <a:lnTo>
                        <a:pt x="427" y="157"/>
                      </a:lnTo>
                      <a:lnTo>
                        <a:pt x="429" y="159"/>
                      </a:lnTo>
                      <a:lnTo>
                        <a:pt x="431" y="177"/>
                      </a:lnTo>
                      <a:lnTo>
                        <a:pt x="427" y="182"/>
                      </a:lnTo>
                      <a:lnTo>
                        <a:pt x="422" y="184"/>
                      </a:lnTo>
                      <a:lnTo>
                        <a:pt x="425" y="188"/>
                      </a:lnTo>
                      <a:lnTo>
                        <a:pt x="424" y="193"/>
                      </a:lnTo>
                      <a:lnTo>
                        <a:pt x="418" y="193"/>
                      </a:lnTo>
                      <a:lnTo>
                        <a:pt x="413" y="198"/>
                      </a:lnTo>
                      <a:lnTo>
                        <a:pt x="415" y="200"/>
                      </a:lnTo>
                      <a:lnTo>
                        <a:pt x="417" y="198"/>
                      </a:lnTo>
                      <a:lnTo>
                        <a:pt x="422" y="200"/>
                      </a:lnTo>
                      <a:lnTo>
                        <a:pt x="418" y="205"/>
                      </a:lnTo>
                      <a:lnTo>
                        <a:pt x="417" y="212"/>
                      </a:lnTo>
                      <a:lnTo>
                        <a:pt x="411" y="214"/>
                      </a:lnTo>
                      <a:lnTo>
                        <a:pt x="402" y="225"/>
                      </a:lnTo>
                      <a:lnTo>
                        <a:pt x="402" y="230"/>
                      </a:lnTo>
                      <a:lnTo>
                        <a:pt x="394" y="242"/>
                      </a:lnTo>
                      <a:lnTo>
                        <a:pt x="388" y="242"/>
                      </a:lnTo>
                      <a:lnTo>
                        <a:pt x="388" y="251"/>
                      </a:lnTo>
                      <a:lnTo>
                        <a:pt x="360" y="265"/>
                      </a:lnTo>
                      <a:lnTo>
                        <a:pt x="356" y="265"/>
                      </a:lnTo>
                      <a:lnTo>
                        <a:pt x="355" y="273"/>
                      </a:lnTo>
                      <a:lnTo>
                        <a:pt x="328" y="287"/>
                      </a:lnTo>
                      <a:lnTo>
                        <a:pt x="317" y="285"/>
                      </a:lnTo>
                      <a:lnTo>
                        <a:pt x="317" y="287"/>
                      </a:lnTo>
                      <a:lnTo>
                        <a:pt x="305" y="292"/>
                      </a:lnTo>
                      <a:lnTo>
                        <a:pt x="289" y="303"/>
                      </a:lnTo>
                      <a:lnTo>
                        <a:pt x="284" y="301"/>
                      </a:lnTo>
                      <a:lnTo>
                        <a:pt x="284" y="306"/>
                      </a:lnTo>
                      <a:lnTo>
                        <a:pt x="275" y="319"/>
                      </a:lnTo>
                      <a:lnTo>
                        <a:pt x="270" y="320"/>
                      </a:lnTo>
                      <a:lnTo>
                        <a:pt x="266" y="313"/>
                      </a:lnTo>
                      <a:lnTo>
                        <a:pt x="264" y="324"/>
                      </a:lnTo>
                      <a:lnTo>
                        <a:pt x="259" y="326"/>
                      </a:lnTo>
                      <a:lnTo>
                        <a:pt x="259" y="333"/>
                      </a:lnTo>
                      <a:lnTo>
                        <a:pt x="241" y="342"/>
                      </a:lnTo>
                      <a:lnTo>
                        <a:pt x="241" y="347"/>
                      </a:lnTo>
                      <a:lnTo>
                        <a:pt x="238" y="350"/>
                      </a:lnTo>
                      <a:lnTo>
                        <a:pt x="232" y="350"/>
                      </a:lnTo>
                      <a:lnTo>
                        <a:pt x="234" y="358"/>
                      </a:lnTo>
                      <a:lnTo>
                        <a:pt x="224" y="358"/>
                      </a:lnTo>
                      <a:lnTo>
                        <a:pt x="202" y="372"/>
                      </a:lnTo>
                      <a:lnTo>
                        <a:pt x="202" y="381"/>
                      </a:lnTo>
                      <a:lnTo>
                        <a:pt x="195" y="386"/>
                      </a:lnTo>
                      <a:lnTo>
                        <a:pt x="186" y="386"/>
                      </a:lnTo>
                      <a:lnTo>
                        <a:pt x="181" y="391"/>
                      </a:lnTo>
                      <a:lnTo>
                        <a:pt x="174" y="388"/>
                      </a:lnTo>
                      <a:lnTo>
                        <a:pt x="169" y="388"/>
                      </a:lnTo>
                      <a:lnTo>
                        <a:pt x="169" y="391"/>
                      </a:lnTo>
                      <a:lnTo>
                        <a:pt x="174" y="397"/>
                      </a:lnTo>
                      <a:lnTo>
                        <a:pt x="174" y="402"/>
                      </a:lnTo>
                      <a:lnTo>
                        <a:pt x="170" y="407"/>
                      </a:lnTo>
                      <a:lnTo>
                        <a:pt x="170" y="412"/>
                      </a:lnTo>
                      <a:lnTo>
                        <a:pt x="167" y="420"/>
                      </a:lnTo>
                      <a:lnTo>
                        <a:pt x="179" y="436"/>
                      </a:lnTo>
                      <a:lnTo>
                        <a:pt x="179" y="441"/>
                      </a:lnTo>
                      <a:lnTo>
                        <a:pt x="174" y="446"/>
                      </a:lnTo>
                      <a:lnTo>
                        <a:pt x="177" y="448"/>
                      </a:lnTo>
                      <a:lnTo>
                        <a:pt x="183" y="455"/>
                      </a:lnTo>
                      <a:lnTo>
                        <a:pt x="183" y="464"/>
                      </a:lnTo>
                      <a:lnTo>
                        <a:pt x="188" y="473"/>
                      </a:lnTo>
                      <a:lnTo>
                        <a:pt x="185" y="499"/>
                      </a:lnTo>
                      <a:lnTo>
                        <a:pt x="188" y="508"/>
                      </a:lnTo>
                      <a:lnTo>
                        <a:pt x="190" y="508"/>
                      </a:lnTo>
                      <a:lnTo>
                        <a:pt x="190" y="501"/>
                      </a:lnTo>
                      <a:lnTo>
                        <a:pt x="195" y="490"/>
                      </a:lnTo>
                      <a:lnTo>
                        <a:pt x="195" y="499"/>
                      </a:lnTo>
                      <a:lnTo>
                        <a:pt x="199" y="499"/>
                      </a:lnTo>
                      <a:lnTo>
                        <a:pt x="197" y="510"/>
                      </a:lnTo>
                      <a:lnTo>
                        <a:pt x="193" y="515"/>
                      </a:lnTo>
                      <a:lnTo>
                        <a:pt x="193" y="526"/>
                      </a:lnTo>
                      <a:lnTo>
                        <a:pt x="195" y="528"/>
                      </a:lnTo>
                      <a:lnTo>
                        <a:pt x="190" y="540"/>
                      </a:lnTo>
                      <a:lnTo>
                        <a:pt x="190" y="547"/>
                      </a:lnTo>
                      <a:lnTo>
                        <a:pt x="186" y="552"/>
                      </a:lnTo>
                      <a:lnTo>
                        <a:pt x="186" y="561"/>
                      </a:lnTo>
                      <a:lnTo>
                        <a:pt x="185" y="561"/>
                      </a:lnTo>
                      <a:lnTo>
                        <a:pt x="185" y="568"/>
                      </a:lnTo>
                      <a:lnTo>
                        <a:pt x="192" y="563"/>
                      </a:lnTo>
                      <a:lnTo>
                        <a:pt x="193" y="568"/>
                      </a:lnTo>
                      <a:lnTo>
                        <a:pt x="188" y="577"/>
                      </a:lnTo>
                      <a:lnTo>
                        <a:pt x="185" y="588"/>
                      </a:lnTo>
                      <a:lnTo>
                        <a:pt x="170" y="604"/>
                      </a:lnTo>
                      <a:lnTo>
                        <a:pt x="144" y="616"/>
                      </a:lnTo>
                      <a:lnTo>
                        <a:pt x="107" y="623"/>
                      </a:lnTo>
                      <a:lnTo>
                        <a:pt x="92" y="636"/>
                      </a:lnTo>
                      <a:lnTo>
                        <a:pt x="82" y="639"/>
                      </a:lnTo>
                      <a:lnTo>
                        <a:pt x="80" y="643"/>
                      </a:lnTo>
                      <a:lnTo>
                        <a:pt x="75" y="648"/>
                      </a:lnTo>
                      <a:lnTo>
                        <a:pt x="71" y="657"/>
                      </a:lnTo>
                      <a:lnTo>
                        <a:pt x="68" y="657"/>
                      </a:lnTo>
                      <a:lnTo>
                        <a:pt x="62" y="660"/>
                      </a:lnTo>
                      <a:lnTo>
                        <a:pt x="64" y="662"/>
                      </a:lnTo>
                      <a:lnTo>
                        <a:pt x="69" y="669"/>
                      </a:lnTo>
                      <a:lnTo>
                        <a:pt x="68" y="678"/>
                      </a:lnTo>
                      <a:lnTo>
                        <a:pt x="73" y="673"/>
                      </a:lnTo>
                      <a:lnTo>
                        <a:pt x="78" y="675"/>
                      </a:lnTo>
                      <a:lnTo>
                        <a:pt x="80" y="668"/>
                      </a:lnTo>
                      <a:lnTo>
                        <a:pt x="82" y="668"/>
                      </a:lnTo>
                      <a:lnTo>
                        <a:pt x="84" y="671"/>
                      </a:lnTo>
                      <a:lnTo>
                        <a:pt x="82" y="682"/>
                      </a:lnTo>
                      <a:lnTo>
                        <a:pt x="76" y="689"/>
                      </a:lnTo>
                      <a:lnTo>
                        <a:pt x="76" y="696"/>
                      </a:lnTo>
                      <a:lnTo>
                        <a:pt x="69" y="696"/>
                      </a:lnTo>
                      <a:lnTo>
                        <a:pt x="53" y="692"/>
                      </a:lnTo>
                      <a:lnTo>
                        <a:pt x="50" y="694"/>
                      </a:lnTo>
                      <a:lnTo>
                        <a:pt x="50" y="691"/>
                      </a:lnTo>
                      <a:lnTo>
                        <a:pt x="52" y="684"/>
                      </a:lnTo>
                      <a:lnTo>
                        <a:pt x="52" y="678"/>
                      </a:lnTo>
                      <a:lnTo>
                        <a:pt x="53" y="675"/>
                      </a:lnTo>
                      <a:lnTo>
                        <a:pt x="50" y="669"/>
                      </a:lnTo>
                      <a:lnTo>
                        <a:pt x="45" y="666"/>
                      </a:lnTo>
                      <a:lnTo>
                        <a:pt x="41" y="662"/>
                      </a:lnTo>
                      <a:lnTo>
                        <a:pt x="41" y="660"/>
                      </a:lnTo>
                      <a:lnTo>
                        <a:pt x="41" y="648"/>
                      </a:lnTo>
                      <a:lnTo>
                        <a:pt x="41" y="636"/>
                      </a:lnTo>
                      <a:lnTo>
                        <a:pt x="45" y="623"/>
                      </a:lnTo>
                      <a:lnTo>
                        <a:pt x="45" y="590"/>
                      </a:lnTo>
                      <a:lnTo>
                        <a:pt x="43" y="581"/>
                      </a:lnTo>
                      <a:lnTo>
                        <a:pt x="39" y="574"/>
                      </a:lnTo>
                      <a:lnTo>
                        <a:pt x="39" y="565"/>
                      </a:lnTo>
                      <a:lnTo>
                        <a:pt x="39" y="563"/>
                      </a:lnTo>
                      <a:lnTo>
                        <a:pt x="39" y="544"/>
                      </a:lnTo>
                      <a:lnTo>
                        <a:pt x="34" y="533"/>
                      </a:lnTo>
                      <a:lnTo>
                        <a:pt x="32" y="522"/>
                      </a:lnTo>
                      <a:lnTo>
                        <a:pt x="30" y="512"/>
                      </a:lnTo>
                      <a:lnTo>
                        <a:pt x="29" y="510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89" name="Freeform 53">
                  <a:extLst>
                    <a:ext uri="{FF2B5EF4-FFF2-40B4-BE49-F238E27FC236}">
                      <a16:creationId xmlns:a16="http://schemas.microsoft.com/office/drawing/2014/main" id="{41F1D367-01FA-11A7-C41E-13F9FD6FCD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31038" y="5678469"/>
                  <a:ext cx="95251" cy="107950"/>
                </a:xfrm>
                <a:custGeom>
                  <a:avLst/>
                  <a:gdLst>
                    <a:gd name="T0" fmla="*/ 48 w 60"/>
                    <a:gd name="T1" fmla="*/ 14 h 68"/>
                    <a:gd name="T2" fmla="*/ 48 w 60"/>
                    <a:gd name="T3" fmla="*/ 16 h 68"/>
                    <a:gd name="T4" fmla="*/ 52 w 60"/>
                    <a:gd name="T5" fmla="*/ 20 h 68"/>
                    <a:gd name="T6" fmla="*/ 57 w 60"/>
                    <a:gd name="T7" fmla="*/ 23 h 68"/>
                    <a:gd name="T8" fmla="*/ 60 w 60"/>
                    <a:gd name="T9" fmla="*/ 29 h 68"/>
                    <a:gd name="T10" fmla="*/ 59 w 60"/>
                    <a:gd name="T11" fmla="*/ 32 h 68"/>
                    <a:gd name="T12" fmla="*/ 59 w 60"/>
                    <a:gd name="T13" fmla="*/ 38 h 68"/>
                    <a:gd name="T14" fmla="*/ 57 w 60"/>
                    <a:gd name="T15" fmla="*/ 45 h 68"/>
                    <a:gd name="T16" fmla="*/ 57 w 60"/>
                    <a:gd name="T17" fmla="*/ 48 h 68"/>
                    <a:gd name="T18" fmla="*/ 55 w 60"/>
                    <a:gd name="T19" fmla="*/ 48 h 68"/>
                    <a:gd name="T20" fmla="*/ 50 w 60"/>
                    <a:gd name="T21" fmla="*/ 52 h 68"/>
                    <a:gd name="T22" fmla="*/ 50 w 60"/>
                    <a:gd name="T23" fmla="*/ 57 h 68"/>
                    <a:gd name="T24" fmla="*/ 48 w 60"/>
                    <a:gd name="T25" fmla="*/ 66 h 68"/>
                    <a:gd name="T26" fmla="*/ 41 w 60"/>
                    <a:gd name="T27" fmla="*/ 68 h 68"/>
                    <a:gd name="T28" fmla="*/ 25 w 60"/>
                    <a:gd name="T29" fmla="*/ 66 h 68"/>
                    <a:gd name="T30" fmla="*/ 13 w 60"/>
                    <a:gd name="T31" fmla="*/ 59 h 68"/>
                    <a:gd name="T32" fmla="*/ 7 w 60"/>
                    <a:gd name="T33" fmla="*/ 50 h 68"/>
                    <a:gd name="T34" fmla="*/ 4 w 60"/>
                    <a:gd name="T35" fmla="*/ 46 h 68"/>
                    <a:gd name="T36" fmla="*/ 0 w 60"/>
                    <a:gd name="T37" fmla="*/ 41 h 68"/>
                    <a:gd name="T38" fmla="*/ 4 w 60"/>
                    <a:gd name="T39" fmla="*/ 30 h 68"/>
                    <a:gd name="T40" fmla="*/ 14 w 60"/>
                    <a:gd name="T41" fmla="*/ 13 h 68"/>
                    <a:gd name="T42" fmla="*/ 16 w 60"/>
                    <a:gd name="T43" fmla="*/ 4 h 68"/>
                    <a:gd name="T44" fmla="*/ 23 w 60"/>
                    <a:gd name="T45" fmla="*/ 0 h 68"/>
                    <a:gd name="T46" fmla="*/ 34 w 60"/>
                    <a:gd name="T47" fmla="*/ 7 h 68"/>
                    <a:gd name="T48" fmla="*/ 41 w 60"/>
                    <a:gd name="T49" fmla="*/ 13 h 68"/>
                    <a:gd name="T50" fmla="*/ 48 w 60"/>
                    <a:gd name="T51" fmla="*/ 16 h 68"/>
                    <a:gd name="T52" fmla="*/ 48 w 60"/>
                    <a:gd name="T53" fmla="*/ 1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60" h="68">
                      <a:moveTo>
                        <a:pt x="48" y="14"/>
                      </a:moveTo>
                      <a:lnTo>
                        <a:pt x="48" y="16"/>
                      </a:lnTo>
                      <a:lnTo>
                        <a:pt x="52" y="20"/>
                      </a:lnTo>
                      <a:lnTo>
                        <a:pt x="57" y="23"/>
                      </a:lnTo>
                      <a:lnTo>
                        <a:pt x="60" y="29"/>
                      </a:lnTo>
                      <a:lnTo>
                        <a:pt x="59" y="32"/>
                      </a:lnTo>
                      <a:lnTo>
                        <a:pt x="59" y="38"/>
                      </a:lnTo>
                      <a:lnTo>
                        <a:pt x="57" y="45"/>
                      </a:lnTo>
                      <a:lnTo>
                        <a:pt x="57" y="48"/>
                      </a:lnTo>
                      <a:lnTo>
                        <a:pt x="55" y="48"/>
                      </a:lnTo>
                      <a:lnTo>
                        <a:pt x="50" y="52"/>
                      </a:lnTo>
                      <a:lnTo>
                        <a:pt x="50" y="57"/>
                      </a:lnTo>
                      <a:lnTo>
                        <a:pt x="48" y="66"/>
                      </a:lnTo>
                      <a:lnTo>
                        <a:pt x="41" y="68"/>
                      </a:lnTo>
                      <a:lnTo>
                        <a:pt x="25" y="66"/>
                      </a:lnTo>
                      <a:lnTo>
                        <a:pt x="13" y="59"/>
                      </a:lnTo>
                      <a:lnTo>
                        <a:pt x="7" y="50"/>
                      </a:lnTo>
                      <a:lnTo>
                        <a:pt x="4" y="46"/>
                      </a:lnTo>
                      <a:lnTo>
                        <a:pt x="0" y="41"/>
                      </a:lnTo>
                      <a:lnTo>
                        <a:pt x="4" y="30"/>
                      </a:lnTo>
                      <a:lnTo>
                        <a:pt x="14" y="13"/>
                      </a:lnTo>
                      <a:lnTo>
                        <a:pt x="16" y="4"/>
                      </a:lnTo>
                      <a:lnTo>
                        <a:pt x="23" y="0"/>
                      </a:lnTo>
                      <a:lnTo>
                        <a:pt x="34" y="7"/>
                      </a:lnTo>
                      <a:lnTo>
                        <a:pt x="41" y="13"/>
                      </a:lnTo>
                      <a:lnTo>
                        <a:pt x="48" y="16"/>
                      </a:lnTo>
                      <a:lnTo>
                        <a:pt x="48" y="1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90" name="Freeform 54">
                  <a:extLst>
                    <a:ext uri="{FF2B5EF4-FFF2-40B4-BE49-F238E27FC236}">
                      <a16:creationId xmlns:a16="http://schemas.microsoft.com/office/drawing/2014/main" id="{36BB1854-4828-7C12-C7E4-570C360C05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97589" y="5433999"/>
                  <a:ext cx="1065215" cy="908048"/>
                </a:xfrm>
                <a:custGeom>
                  <a:avLst/>
                  <a:gdLst>
                    <a:gd name="T0" fmla="*/ 12 w 671"/>
                    <a:gd name="T1" fmla="*/ 269 h 572"/>
                    <a:gd name="T2" fmla="*/ 36 w 671"/>
                    <a:gd name="T3" fmla="*/ 277 h 572"/>
                    <a:gd name="T4" fmla="*/ 76 w 671"/>
                    <a:gd name="T5" fmla="*/ 298 h 572"/>
                    <a:gd name="T6" fmla="*/ 101 w 671"/>
                    <a:gd name="T7" fmla="*/ 300 h 572"/>
                    <a:gd name="T8" fmla="*/ 119 w 671"/>
                    <a:gd name="T9" fmla="*/ 278 h 572"/>
                    <a:gd name="T10" fmla="*/ 167 w 671"/>
                    <a:gd name="T11" fmla="*/ 135 h 572"/>
                    <a:gd name="T12" fmla="*/ 175 w 671"/>
                    <a:gd name="T13" fmla="*/ 202 h 572"/>
                    <a:gd name="T14" fmla="*/ 220 w 671"/>
                    <a:gd name="T15" fmla="*/ 197 h 572"/>
                    <a:gd name="T16" fmla="*/ 260 w 671"/>
                    <a:gd name="T17" fmla="*/ 168 h 572"/>
                    <a:gd name="T18" fmla="*/ 307 w 671"/>
                    <a:gd name="T19" fmla="*/ 149 h 572"/>
                    <a:gd name="T20" fmla="*/ 349 w 671"/>
                    <a:gd name="T21" fmla="*/ 158 h 572"/>
                    <a:gd name="T22" fmla="*/ 383 w 671"/>
                    <a:gd name="T23" fmla="*/ 156 h 572"/>
                    <a:gd name="T24" fmla="*/ 386 w 671"/>
                    <a:gd name="T25" fmla="*/ 126 h 572"/>
                    <a:gd name="T26" fmla="*/ 413 w 671"/>
                    <a:gd name="T27" fmla="*/ 108 h 572"/>
                    <a:gd name="T28" fmla="*/ 431 w 671"/>
                    <a:gd name="T29" fmla="*/ 92 h 572"/>
                    <a:gd name="T30" fmla="*/ 446 w 671"/>
                    <a:gd name="T31" fmla="*/ 57 h 572"/>
                    <a:gd name="T32" fmla="*/ 468 w 671"/>
                    <a:gd name="T33" fmla="*/ 43 h 572"/>
                    <a:gd name="T34" fmla="*/ 496 w 671"/>
                    <a:gd name="T35" fmla="*/ 29 h 572"/>
                    <a:gd name="T36" fmla="*/ 521 w 671"/>
                    <a:gd name="T37" fmla="*/ 14 h 572"/>
                    <a:gd name="T38" fmla="*/ 555 w 671"/>
                    <a:gd name="T39" fmla="*/ 0 h 572"/>
                    <a:gd name="T40" fmla="*/ 586 w 671"/>
                    <a:gd name="T41" fmla="*/ 14 h 572"/>
                    <a:gd name="T42" fmla="*/ 627 w 671"/>
                    <a:gd name="T43" fmla="*/ 30 h 572"/>
                    <a:gd name="T44" fmla="*/ 634 w 671"/>
                    <a:gd name="T45" fmla="*/ 82 h 572"/>
                    <a:gd name="T46" fmla="*/ 636 w 671"/>
                    <a:gd name="T47" fmla="*/ 156 h 572"/>
                    <a:gd name="T48" fmla="*/ 604 w 671"/>
                    <a:gd name="T49" fmla="*/ 158 h 572"/>
                    <a:gd name="T50" fmla="*/ 595 w 671"/>
                    <a:gd name="T51" fmla="*/ 204 h 572"/>
                    <a:gd name="T52" fmla="*/ 638 w 671"/>
                    <a:gd name="T53" fmla="*/ 211 h 572"/>
                    <a:gd name="T54" fmla="*/ 671 w 671"/>
                    <a:gd name="T55" fmla="*/ 204 h 572"/>
                    <a:gd name="T56" fmla="*/ 663 w 671"/>
                    <a:gd name="T57" fmla="*/ 241 h 572"/>
                    <a:gd name="T58" fmla="*/ 634 w 671"/>
                    <a:gd name="T59" fmla="*/ 298 h 572"/>
                    <a:gd name="T60" fmla="*/ 606 w 671"/>
                    <a:gd name="T61" fmla="*/ 316 h 572"/>
                    <a:gd name="T62" fmla="*/ 579 w 671"/>
                    <a:gd name="T63" fmla="*/ 349 h 572"/>
                    <a:gd name="T64" fmla="*/ 533 w 671"/>
                    <a:gd name="T65" fmla="*/ 416 h 572"/>
                    <a:gd name="T66" fmla="*/ 471 w 671"/>
                    <a:gd name="T67" fmla="*/ 473 h 572"/>
                    <a:gd name="T68" fmla="*/ 420 w 671"/>
                    <a:gd name="T69" fmla="*/ 510 h 572"/>
                    <a:gd name="T70" fmla="*/ 381 w 671"/>
                    <a:gd name="T71" fmla="*/ 521 h 572"/>
                    <a:gd name="T72" fmla="*/ 360 w 671"/>
                    <a:gd name="T73" fmla="*/ 539 h 572"/>
                    <a:gd name="T74" fmla="*/ 326 w 671"/>
                    <a:gd name="T75" fmla="*/ 546 h 572"/>
                    <a:gd name="T76" fmla="*/ 266 w 671"/>
                    <a:gd name="T77" fmla="*/ 537 h 572"/>
                    <a:gd name="T78" fmla="*/ 222 w 671"/>
                    <a:gd name="T79" fmla="*/ 540 h 572"/>
                    <a:gd name="T80" fmla="*/ 202 w 671"/>
                    <a:gd name="T81" fmla="*/ 553 h 572"/>
                    <a:gd name="T82" fmla="*/ 161 w 671"/>
                    <a:gd name="T83" fmla="*/ 556 h 572"/>
                    <a:gd name="T84" fmla="*/ 128 w 671"/>
                    <a:gd name="T85" fmla="*/ 571 h 572"/>
                    <a:gd name="T86" fmla="*/ 92 w 671"/>
                    <a:gd name="T87" fmla="*/ 551 h 572"/>
                    <a:gd name="T88" fmla="*/ 73 w 671"/>
                    <a:gd name="T89" fmla="*/ 539 h 572"/>
                    <a:gd name="T90" fmla="*/ 64 w 671"/>
                    <a:gd name="T91" fmla="*/ 533 h 572"/>
                    <a:gd name="T92" fmla="*/ 46 w 671"/>
                    <a:gd name="T93" fmla="*/ 482 h 572"/>
                    <a:gd name="T94" fmla="*/ 64 w 671"/>
                    <a:gd name="T95" fmla="*/ 468 h 572"/>
                    <a:gd name="T96" fmla="*/ 50 w 671"/>
                    <a:gd name="T97" fmla="*/ 406 h 572"/>
                    <a:gd name="T98" fmla="*/ 16 w 671"/>
                    <a:gd name="T99" fmla="*/ 307 h 572"/>
                    <a:gd name="T100" fmla="*/ 443 w 671"/>
                    <a:gd name="T101" fmla="*/ 363 h 572"/>
                    <a:gd name="T102" fmla="*/ 471 w 671"/>
                    <a:gd name="T103" fmla="*/ 374 h 572"/>
                    <a:gd name="T104" fmla="*/ 498 w 671"/>
                    <a:gd name="T105" fmla="*/ 353 h 572"/>
                    <a:gd name="T106" fmla="*/ 508 w 671"/>
                    <a:gd name="T107" fmla="*/ 335 h 572"/>
                    <a:gd name="T108" fmla="*/ 507 w 671"/>
                    <a:gd name="T109" fmla="*/ 292 h 572"/>
                    <a:gd name="T110" fmla="*/ 482 w 671"/>
                    <a:gd name="T111" fmla="*/ 289 h 572"/>
                    <a:gd name="T112" fmla="*/ 448 w 671"/>
                    <a:gd name="T113" fmla="*/ 308 h 572"/>
                    <a:gd name="T114" fmla="*/ 436 w 671"/>
                    <a:gd name="T115" fmla="*/ 346 h 5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71" h="572">
                      <a:moveTo>
                        <a:pt x="0" y="284"/>
                      </a:moveTo>
                      <a:lnTo>
                        <a:pt x="7" y="280"/>
                      </a:lnTo>
                      <a:lnTo>
                        <a:pt x="14" y="278"/>
                      </a:lnTo>
                      <a:lnTo>
                        <a:pt x="14" y="273"/>
                      </a:lnTo>
                      <a:lnTo>
                        <a:pt x="12" y="269"/>
                      </a:lnTo>
                      <a:lnTo>
                        <a:pt x="16" y="262"/>
                      </a:lnTo>
                      <a:lnTo>
                        <a:pt x="27" y="259"/>
                      </a:lnTo>
                      <a:lnTo>
                        <a:pt x="32" y="268"/>
                      </a:lnTo>
                      <a:lnTo>
                        <a:pt x="39" y="268"/>
                      </a:lnTo>
                      <a:lnTo>
                        <a:pt x="36" y="277"/>
                      </a:lnTo>
                      <a:lnTo>
                        <a:pt x="43" y="289"/>
                      </a:lnTo>
                      <a:lnTo>
                        <a:pt x="55" y="292"/>
                      </a:lnTo>
                      <a:lnTo>
                        <a:pt x="66" y="296"/>
                      </a:lnTo>
                      <a:lnTo>
                        <a:pt x="71" y="296"/>
                      </a:lnTo>
                      <a:lnTo>
                        <a:pt x="76" y="298"/>
                      </a:lnTo>
                      <a:lnTo>
                        <a:pt x="83" y="298"/>
                      </a:lnTo>
                      <a:lnTo>
                        <a:pt x="87" y="294"/>
                      </a:lnTo>
                      <a:lnTo>
                        <a:pt x="92" y="294"/>
                      </a:lnTo>
                      <a:lnTo>
                        <a:pt x="96" y="301"/>
                      </a:lnTo>
                      <a:lnTo>
                        <a:pt x="101" y="300"/>
                      </a:lnTo>
                      <a:lnTo>
                        <a:pt x="106" y="301"/>
                      </a:lnTo>
                      <a:lnTo>
                        <a:pt x="106" y="292"/>
                      </a:lnTo>
                      <a:lnTo>
                        <a:pt x="110" y="289"/>
                      </a:lnTo>
                      <a:lnTo>
                        <a:pt x="115" y="287"/>
                      </a:lnTo>
                      <a:lnTo>
                        <a:pt x="119" y="278"/>
                      </a:lnTo>
                      <a:lnTo>
                        <a:pt x="131" y="273"/>
                      </a:lnTo>
                      <a:lnTo>
                        <a:pt x="144" y="275"/>
                      </a:lnTo>
                      <a:lnTo>
                        <a:pt x="147" y="275"/>
                      </a:lnTo>
                      <a:lnTo>
                        <a:pt x="154" y="124"/>
                      </a:lnTo>
                      <a:lnTo>
                        <a:pt x="167" y="135"/>
                      </a:lnTo>
                      <a:lnTo>
                        <a:pt x="172" y="145"/>
                      </a:lnTo>
                      <a:lnTo>
                        <a:pt x="183" y="168"/>
                      </a:lnTo>
                      <a:lnTo>
                        <a:pt x="183" y="181"/>
                      </a:lnTo>
                      <a:lnTo>
                        <a:pt x="175" y="193"/>
                      </a:lnTo>
                      <a:lnTo>
                        <a:pt x="175" y="202"/>
                      </a:lnTo>
                      <a:lnTo>
                        <a:pt x="186" y="200"/>
                      </a:lnTo>
                      <a:lnTo>
                        <a:pt x="197" y="202"/>
                      </a:lnTo>
                      <a:lnTo>
                        <a:pt x="204" y="199"/>
                      </a:lnTo>
                      <a:lnTo>
                        <a:pt x="214" y="200"/>
                      </a:lnTo>
                      <a:lnTo>
                        <a:pt x="220" y="197"/>
                      </a:lnTo>
                      <a:lnTo>
                        <a:pt x="229" y="193"/>
                      </a:lnTo>
                      <a:lnTo>
                        <a:pt x="237" y="188"/>
                      </a:lnTo>
                      <a:lnTo>
                        <a:pt x="241" y="183"/>
                      </a:lnTo>
                      <a:lnTo>
                        <a:pt x="253" y="177"/>
                      </a:lnTo>
                      <a:lnTo>
                        <a:pt x="260" y="168"/>
                      </a:lnTo>
                      <a:lnTo>
                        <a:pt x="268" y="153"/>
                      </a:lnTo>
                      <a:lnTo>
                        <a:pt x="278" y="144"/>
                      </a:lnTo>
                      <a:lnTo>
                        <a:pt x="289" y="142"/>
                      </a:lnTo>
                      <a:lnTo>
                        <a:pt x="303" y="144"/>
                      </a:lnTo>
                      <a:lnTo>
                        <a:pt x="307" y="149"/>
                      </a:lnTo>
                      <a:lnTo>
                        <a:pt x="312" y="149"/>
                      </a:lnTo>
                      <a:lnTo>
                        <a:pt x="328" y="158"/>
                      </a:lnTo>
                      <a:lnTo>
                        <a:pt x="333" y="156"/>
                      </a:lnTo>
                      <a:lnTo>
                        <a:pt x="340" y="160"/>
                      </a:lnTo>
                      <a:lnTo>
                        <a:pt x="349" y="158"/>
                      </a:lnTo>
                      <a:lnTo>
                        <a:pt x="360" y="158"/>
                      </a:lnTo>
                      <a:lnTo>
                        <a:pt x="367" y="156"/>
                      </a:lnTo>
                      <a:lnTo>
                        <a:pt x="369" y="160"/>
                      </a:lnTo>
                      <a:lnTo>
                        <a:pt x="374" y="163"/>
                      </a:lnTo>
                      <a:lnTo>
                        <a:pt x="383" y="156"/>
                      </a:lnTo>
                      <a:lnTo>
                        <a:pt x="381" y="153"/>
                      </a:lnTo>
                      <a:lnTo>
                        <a:pt x="383" y="145"/>
                      </a:lnTo>
                      <a:lnTo>
                        <a:pt x="383" y="140"/>
                      </a:lnTo>
                      <a:lnTo>
                        <a:pt x="388" y="137"/>
                      </a:lnTo>
                      <a:lnTo>
                        <a:pt x="386" y="126"/>
                      </a:lnTo>
                      <a:lnTo>
                        <a:pt x="390" y="119"/>
                      </a:lnTo>
                      <a:lnTo>
                        <a:pt x="399" y="117"/>
                      </a:lnTo>
                      <a:lnTo>
                        <a:pt x="404" y="114"/>
                      </a:lnTo>
                      <a:lnTo>
                        <a:pt x="411" y="112"/>
                      </a:lnTo>
                      <a:lnTo>
                        <a:pt x="413" y="108"/>
                      </a:lnTo>
                      <a:lnTo>
                        <a:pt x="416" y="106"/>
                      </a:lnTo>
                      <a:lnTo>
                        <a:pt x="418" y="101"/>
                      </a:lnTo>
                      <a:lnTo>
                        <a:pt x="423" y="98"/>
                      </a:lnTo>
                      <a:lnTo>
                        <a:pt x="429" y="96"/>
                      </a:lnTo>
                      <a:lnTo>
                        <a:pt x="431" y="92"/>
                      </a:lnTo>
                      <a:lnTo>
                        <a:pt x="436" y="91"/>
                      </a:lnTo>
                      <a:lnTo>
                        <a:pt x="436" y="85"/>
                      </a:lnTo>
                      <a:lnTo>
                        <a:pt x="434" y="82"/>
                      </a:lnTo>
                      <a:lnTo>
                        <a:pt x="436" y="71"/>
                      </a:lnTo>
                      <a:lnTo>
                        <a:pt x="446" y="57"/>
                      </a:lnTo>
                      <a:lnTo>
                        <a:pt x="452" y="53"/>
                      </a:lnTo>
                      <a:lnTo>
                        <a:pt x="457" y="52"/>
                      </a:lnTo>
                      <a:lnTo>
                        <a:pt x="461" y="48"/>
                      </a:lnTo>
                      <a:lnTo>
                        <a:pt x="466" y="46"/>
                      </a:lnTo>
                      <a:lnTo>
                        <a:pt x="468" y="43"/>
                      </a:lnTo>
                      <a:lnTo>
                        <a:pt x="473" y="39"/>
                      </a:lnTo>
                      <a:lnTo>
                        <a:pt x="477" y="36"/>
                      </a:lnTo>
                      <a:lnTo>
                        <a:pt x="485" y="29"/>
                      </a:lnTo>
                      <a:lnTo>
                        <a:pt x="494" y="27"/>
                      </a:lnTo>
                      <a:lnTo>
                        <a:pt x="496" y="29"/>
                      </a:lnTo>
                      <a:lnTo>
                        <a:pt x="501" y="27"/>
                      </a:lnTo>
                      <a:lnTo>
                        <a:pt x="507" y="27"/>
                      </a:lnTo>
                      <a:lnTo>
                        <a:pt x="514" y="21"/>
                      </a:lnTo>
                      <a:lnTo>
                        <a:pt x="519" y="20"/>
                      </a:lnTo>
                      <a:lnTo>
                        <a:pt x="521" y="14"/>
                      </a:lnTo>
                      <a:lnTo>
                        <a:pt x="521" y="9"/>
                      </a:lnTo>
                      <a:lnTo>
                        <a:pt x="524" y="6"/>
                      </a:lnTo>
                      <a:lnTo>
                        <a:pt x="532" y="6"/>
                      </a:lnTo>
                      <a:lnTo>
                        <a:pt x="537" y="2"/>
                      </a:lnTo>
                      <a:lnTo>
                        <a:pt x="555" y="0"/>
                      </a:lnTo>
                      <a:lnTo>
                        <a:pt x="565" y="2"/>
                      </a:lnTo>
                      <a:lnTo>
                        <a:pt x="567" y="7"/>
                      </a:lnTo>
                      <a:lnTo>
                        <a:pt x="574" y="7"/>
                      </a:lnTo>
                      <a:lnTo>
                        <a:pt x="583" y="11"/>
                      </a:lnTo>
                      <a:lnTo>
                        <a:pt x="586" y="14"/>
                      </a:lnTo>
                      <a:lnTo>
                        <a:pt x="592" y="11"/>
                      </a:lnTo>
                      <a:lnTo>
                        <a:pt x="602" y="9"/>
                      </a:lnTo>
                      <a:lnTo>
                        <a:pt x="617" y="13"/>
                      </a:lnTo>
                      <a:lnTo>
                        <a:pt x="625" y="20"/>
                      </a:lnTo>
                      <a:lnTo>
                        <a:pt x="627" y="30"/>
                      </a:lnTo>
                      <a:lnTo>
                        <a:pt x="629" y="41"/>
                      </a:lnTo>
                      <a:lnTo>
                        <a:pt x="634" y="52"/>
                      </a:lnTo>
                      <a:lnTo>
                        <a:pt x="634" y="71"/>
                      </a:lnTo>
                      <a:lnTo>
                        <a:pt x="634" y="73"/>
                      </a:lnTo>
                      <a:lnTo>
                        <a:pt x="634" y="82"/>
                      </a:lnTo>
                      <a:lnTo>
                        <a:pt x="638" y="89"/>
                      </a:lnTo>
                      <a:lnTo>
                        <a:pt x="640" y="98"/>
                      </a:lnTo>
                      <a:lnTo>
                        <a:pt x="640" y="131"/>
                      </a:lnTo>
                      <a:lnTo>
                        <a:pt x="636" y="144"/>
                      </a:lnTo>
                      <a:lnTo>
                        <a:pt x="636" y="156"/>
                      </a:lnTo>
                      <a:lnTo>
                        <a:pt x="636" y="170"/>
                      </a:lnTo>
                      <a:lnTo>
                        <a:pt x="629" y="167"/>
                      </a:lnTo>
                      <a:lnTo>
                        <a:pt x="622" y="161"/>
                      </a:lnTo>
                      <a:lnTo>
                        <a:pt x="611" y="154"/>
                      </a:lnTo>
                      <a:lnTo>
                        <a:pt x="604" y="158"/>
                      </a:lnTo>
                      <a:lnTo>
                        <a:pt x="602" y="167"/>
                      </a:lnTo>
                      <a:lnTo>
                        <a:pt x="592" y="184"/>
                      </a:lnTo>
                      <a:lnTo>
                        <a:pt x="588" y="195"/>
                      </a:lnTo>
                      <a:lnTo>
                        <a:pt x="592" y="200"/>
                      </a:lnTo>
                      <a:lnTo>
                        <a:pt x="595" y="204"/>
                      </a:lnTo>
                      <a:lnTo>
                        <a:pt x="601" y="213"/>
                      </a:lnTo>
                      <a:lnTo>
                        <a:pt x="613" y="220"/>
                      </a:lnTo>
                      <a:lnTo>
                        <a:pt x="629" y="222"/>
                      </a:lnTo>
                      <a:lnTo>
                        <a:pt x="636" y="220"/>
                      </a:lnTo>
                      <a:lnTo>
                        <a:pt x="638" y="211"/>
                      </a:lnTo>
                      <a:lnTo>
                        <a:pt x="638" y="206"/>
                      </a:lnTo>
                      <a:lnTo>
                        <a:pt x="643" y="202"/>
                      </a:lnTo>
                      <a:lnTo>
                        <a:pt x="648" y="200"/>
                      </a:lnTo>
                      <a:lnTo>
                        <a:pt x="664" y="204"/>
                      </a:lnTo>
                      <a:lnTo>
                        <a:pt x="671" y="204"/>
                      </a:lnTo>
                      <a:lnTo>
                        <a:pt x="671" y="206"/>
                      </a:lnTo>
                      <a:lnTo>
                        <a:pt x="666" y="213"/>
                      </a:lnTo>
                      <a:lnTo>
                        <a:pt x="670" y="213"/>
                      </a:lnTo>
                      <a:lnTo>
                        <a:pt x="664" y="229"/>
                      </a:lnTo>
                      <a:lnTo>
                        <a:pt x="663" y="241"/>
                      </a:lnTo>
                      <a:lnTo>
                        <a:pt x="657" y="254"/>
                      </a:lnTo>
                      <a:lnTo>
                        <a:pt x="652" y="269"/>
                      </a:lnTo>
                      <a:lnTo>
                        <a:pt x="647" y="277"/>
                      </a:lnTo>
                      <a:lnTo>
                        <a:pt x="645" y="284"/>
                      </a:lnTo>
                      <a:lnTo>
                        <a:pt x="634" y="298"/>
                      </a:lnTo>
                      <a:lnTo>
                        <a:pt x="631" y="298"/>
                      </a:lnTo>
                      <a:lnTo>
                        <a:pt x="627" y="301"/>
                      </a:lnTo>
                      <a:lnTo>
                        <a:pt x="618" y="305"/>
                      </a:lnTo>
                      <a:lnTo>
                        <a:pt x="615" y="310"/>
                      </a:lnTo>
                      <a:lnTo>
                        <a:pt x="606" y="316"/>
                      </a:lnTo>
                      <a:lnTo>
                        <a:pt x="601" y="326"/>
                      </a:lnTo>
                      <a:lnTo>
                        <a:pt x="592" y="335"/>
                      </a:lnTo>
                      <a:lnTo>
                        <a:pt x="592" y="340"/>
                      </a:lnTo>
                      <a:lnTo>
                        <a:pt x="586" y="349"/>
                      </a:lnTo>
                      <a:lnTo>
                        <a:pt x="579" y="349"/>
                      </a:lnTo>
                      <a:lnTo>
                        <a:pt x="572" y="362"/>
                      </a:lnTo>
                      <a:lnTo>
                        <a:pt x="556" y="390"/>
                      </a:lnTo>
                      <a:lnTo>
                        <a:pt x="542" y="402"/>
                      </a:lnTo>
                      <a:lnTo>
                        <a:pt x="540" y="413"/>
                      </a:lnTo>
                      <a:lnTo>
                        <a:pt x="533" y="416"/>
                      </a:lnTo>
                      <a:lnTo>
                        <a:pt x="526" y="425"/>
                      </a:lnTo>
                      <a:lnTo>
                        <a:pt x="521" y="425"/>
                      </a:lnTo>
                      <a:lnTo>
                        <a:pt x="519" y="429"/>
                      </a:lnTo>
                      <a:lnTo>
                        <a:pt x="477" y="471"/>
                      </a:lnTo>
                      <a:lnTo>
                        <a:pt x="471" y="473"/>
                      </a:lnTo>
                      <a:lnTo>
                        <a:pt x="471" y="475"/>
                      </a:lnTo>
                      <a:lnTo>
                        <a:pt x="464" y="482"/>
                      </a:lnTo>
                      <a:lnTo>
                        <a:pt x="436" y="502"/>
                      </a:lnTo>
                      <a:lnTo>
                        <a:pt x="429" y="509"/>
                      </a:lnTo>
                      <a:lnTo>
                        <a:pt x="420" y="510"/>
                      </a:lnTo>
                      <a:lnTo>
                        <a:pt x="420" y="514"/>
                      </a:lnTo>
                      <a:lnTo>
                        <a:pt x="404" y="517"/>
                      </a:lnTo>
                      <a:lnTo>
                        <a:pt x="395" y="523"/>
                      </a:lnTo>
                      <a:lnTo>
                        <a:pt x="384" y="525"/>
                      </a:lnTo>
                      <a:lnTo>
                        <a:pt x="381" y="521"/>
                      </a:lnTo>
                      <a:lnTo>
                        <a:pt x="369" y="521"/>
                      </a:lnTo>
                      <a:lnTo>
                        <a:pt x="358" y="525"/>
                      </a:lnTo>
                      <a:lnTo>
                        <a:pt x="353" y="532"/>
                      </a:lnTo>
                      <a:lnTo>
                        <a:pt x="360" y="537"/>
                      </a:lnTo>
                      <a:lnTo>
                        <a:pt x="360" y="539"/>
                      </a:lnTo>
                      <a:lnTo>
                        <a:pt x="344" y="539"/>
                      </a:lnTo>
                      <a:lnTo>
                        <a:pt x="337" y="535"/>
                      </a:lnTo>
                      <a:lnTo>
                        <a:pt x="330" y="535"/>
                      </a:lnTo>
                      <a:lnTo>
                        <a:pt x="324" y="540"/>
                      </a:lnTo>
                      <a:lnTo>
                        <a:pt x="326" y="546"/>
                      </a:lnTo>
                      <a:lnTo>
                        <a:pt x="322" y="548"/>
                      </a:lnTo>
                      <a:lnTo>
                        <a:pt x="303" y="544"/>
                      </a:lnTo>
                      <a:lnTo>
                        <a:pt x="298" y="539"/>
                      </a:lnTo>
                      <a:lnTo>
                        <a:pt x="278" y="535"/>
                      </a:lnTo>
                      <a:lnTo>
                        <a:pt x="266" y="537"/>
                      </a:lnTo>
                      <a:lnTo>
                        <a:pt x="266" y="540"/>
                      </a:lnTo>
                      <a:lnTo>
                        <a:pt x="259" y="542"/>
                      </a:lnTo>
                      <a:lnTo>
                        <a:pt x="250" y="537"/>
                      </a:lnTo>
                      <a:lnTo>
                        <a:pt x="229" y="537"/>
                      </a:lnTo>
                      <a:lnTo>
                        <a:pt x="222" y="540"/>
                      </a:lnTo>
                      <a:lnTo>
                        <a:pt x="220" y="548"/>
                      </a:lnTo>
                      <a:lnTo>
                        <a:pt x="214" y="546"/>
                      </a:lnTo>
                      <a:lnTo>
                        <a:pt x="209" y="546"/>
                      </a:lnTo>
                      <a:lnTo>
                        <a:pt x="206" y="549"/>
                      </a:lnTo>
                      <a:lnTo>
                        <a:pt x="202" y="553"/>
                      </a:lnTo>
                      <a:lnTo>
                        <a:pt x="193" y="555"/>
                      </a:lnTo>
                      <a:lnTo>
                        <a:pt x="186" y="556"/>
                      </a:lnTo>
                      <a:lnTo>
                        <a:pt x="174" y="553"/>
                      </a:lnTo>
                      <a:lnTo>
                        <a:pt x="163" y="553"/>
                      </a:lnTo>
                      <a:lnTo>
                        <a:pt x="161" y="556"/>
                      </a:lnTo>
                      <a:lnTo>
                        <a:pt x="152" y="555"/>
                      </a:lnTo>
                      <a:lnTo>
                        <a:pt x="144" y="564"/>
                      </a:lnTo>
                      <a:lnTo>
                        <a:pt x="135" y="565"/>
                      </a:lnTo>
                      <a:lnTo>
                        <a:pt x="133" y="571"/>
                      </a:lnTo>
                      <a:lnTo>
                        <a:pt x="128" y="571"/>
                      </a:lnTo>
                      <a:lnTo>
                        <a:pt x="124" y="572"/>
                      </a:lnTo>
                      <a:lnTo>
                        <a:pt x="105" y="562"/>
                      </a:lnTo>
                      <a:lnTo>
                        <a:pt x="99" y="565"/>
                      </a:lnTo>
                      <a:lnTo>
                        <a:pt x="99" y="555"/>
                      </a:lnTo>
                      <a:lnTo>
                        <a:pt x="92" y="551"/>
                      </a:lnTo>
                      <a:lnTo>
                        <a:pt x="85" y="553"/>
                      </a:lnTo>
                      <a:lnTo>
                        <a:pt x="82" y="551"/>
                      </a:lnTo>
                      <a:lnTo>
                        <a:pt x="85" y="549"/>
                      </a:lnTo>
                      <a:lnTo>
                        <a:pt x="83" y="540"/>
                      </a:lnTo>
                      <a:lnTo>
                        <a:pt x="73" y="539"/>
                      </a:lnTo>
                      <a:lnTo>
                        <a:pt x="66" y="544"/>
                      </a:lnTo>
                      <a:lnTo>
                        <a:pt x="67" y="553"/>
                      </a:lnTo>
                      <a:lnTo>
                        <a:pt x="62" y="549"/>
                      </a:lnTo>
                      <a:lnTo>
                        <a:pt x="60" y="540"/>
                      </a:lnTo>
                      <a:lnTo>
                        <a:pt x="64" y="533"/>
                      </a:lnTo>
                      <a:lnTo>
                        <a:pt x="62" y="523"/>
                      </a:lnTo>
                      <a:lnTo>
                        <a:pt x="67" y="514"/>
                      </a:lnTo>
                      <a:lnTo>
                        <a:pt x="60" y="500"/>
                      </a:lnTo>
                      <a:lnTo>
                        <a:pt x="53" y="493"/>
                      </a:lnTo>
                      <a:lnTo>
                        <a:pt x="46" y="482"/>
                      </a:lnTo>
                      <a:lnTo>
                        <a:pt x="46" y="471"/>
                      </a:lnTo>
                      <a:lnTo>
                        <a:pt x="51" y="468"/>
                      </a:lnTo>
                      <a:lnTo>
                        <a:pt x="55" y="473"/>
                      </a:lnTo>
                      <a:lnTo>
                        <a:pt x="59" y="473"/>
                      </a:lnTo>
                      <a:lnTo>
                        <a:pt x="64" y="468"/>
                      </a:lnTo>
                      <a:lnTo>
                        <a:pt x="66" y="454"/>
                      </a:lnTo>
                      <a:lnTo>
                        <a:pt x="62" y="440"/>
                      </a:lnTo>
                      <a:lnTo>
                        <a:pt x="62" y="434"/>
                      </a:lnTo>
                      <a:lnTo>
                        <a:pt x="51" y="415"/>
                      </a:lnTo>
                      <a:lnTo>
                        <a:pt x="50" y="406"/>
                      </a:lnTo>
                      <a:lnTo>
                        <a:pt x="39" y="390"/>
                      </a:lnTo>
                      <a:lnTo>
                        <a:pt x="34" y="367"/>
                      </a:lnTo>
                      <a:lnTo>
                        <a:pt x="25" y="344"/>
                      </a:lnTo>
                      <a:lnTo>
                        <a:pt x="25" y="331"/>
                      </a:lnTo>
                      <a:lnTo>
                        <a:pt x="16" y="307"/>
                      </a:lnTo>
                      <a:lnTo>
                        <a:pt x="4" y="296"/>
                      </a:lnTo>
                      <a:lnTo>
                        <a:pt x="0" y="284"/>
                      </a:lnTo>
                      <a:lnTo>
                        <a:pt x="0" y="284"/>
                      </a:lnTo>
                      <a:lnTo>
                        <a:pt x="0" y="284"/>
                      </a:lnTo>
                      <a:close/>
                      <a:moveTo>
                        <a:pt x="443" y="363"/>
                      </a:moveTo>
                      <a:lnTo>
                        <a:pt x="448" y="369"/>
                      </a:lnTo>
                      <a:lnTo>
                        <a:pt x="454" y="374"/>
                      </a:lnTo>
                      <a:lnTo>
                        <a:pt x="462" y="378"/>
                      </a:lnTo>
                      <a:lnTo>
                        <a:pt x="470" y="378"/>
                      </a:lnTo>
                      <a:lnTo>
                        <a:pt x="471" y="374"/>
                      </a:lnTo>
                      <a:lnTo>
                        <a:pt x="475" y="370"/>
                      </a:lnTo>
                      <a:lnTo>
                        <a:pt x="478" y="360"/>
                      </a:lnTo>
                      <a:lnTo>
                        <a:pt x="485" y="358"/>
                      </a:lnTo>
                      <a:lnTo>
                        <a:pt x="491" y="354"/>
                      </a:lnTo>
                      <a:lnTo>
                        <a:pt x="498" y="353"/>
                      </a:lnTo>
                      <a:lnTo>
                        <a:pt x="503" y="354"/>
                      </a:lnTo>
                      <a:lnTo>
                        <a:pt x="510" y="349"/>
                      </a:lnTo>
                      <a:lnTo>
                        <a:pt x="512" y="344"/>
                      </a:lnTo>
                      <a:lnTo>
                        <a:pt x="508" y="340"/>
                      </a:lnTo>
                      <a:lnTo>
                        <a:pt x="508" y="335"/>
                      </a:lnTo>
                      <a:lnTo>
                        <a:pt x="516" y="331"/>
                      </a:lnTo>
                      <a:lnTo>
                        <a:pt x="523" y="324"/>
                      </a:lnTo>
                      <a:lnTo>
                        <a:pt x="523" y="316"/>
                      </a:lnTo>
                      <a:lnTo>
                        <a:pt x="516" y="300"/>
                      </a:lnTo>
                      <a:lnTo>
                        <a:pt x="507" y="292"/>
                      </a:lnTo>
                      <a:lnTo>
                        <a:pt x="501" y="294"/>
                      </a:lnTo>
                      <a:lnTo>
                        <a:pt x="494" y="289"/>
                      </a:lnTo>
                      <a:lnTo>
                        <a:pt x="493" y="291"/>
                      </a:lnTo>
                      <a:lnTo>
                        <a:pt x="489" y="289"/>
                      </a:lnTo>
                      <a:lnTo>
                        <a:pt x="482" y="289"/>
                      </a:lnTo>
                      <a:lnTo>
                        <a:pt x="482" y="291"/>
                      </a:lnTo>
                      <a:lnTo>
                        <a:pt x="477" y="294"/>
                      </a:lnTo>
                      <a:lnTo>
                        <a:pt x="473" y="298"/>
                      </a:lnTo>
                      <a:lnTo>
                        <a:pt x="457" y="301"/>
                      </a:lnTo>
                      <a:lnTo>
                        <a:pt x="448" y="308"/>
                      </a:lnTo>
                      <a:lnTo>
                        <a:pt x="445" y="321"/>
                      </a:lnTo>
                      <a:lnTo>
                        <a:pt x="432" y="328"/>
                      </a:lnTo>
                      <a:lnTo>
                        <a:pt x="427" y="333"/>
                      </a:lnTo>
                      <a:lnTo>
                        <a:pt x="431" y="340"/>
                      </a:lnTo>
                      <a:lnTo>
                        <a:pt x="436" y="346"/>
                      </a:lnTo>
                      <a:lnTo>
                        <a:pt x="438" y="349"/>
                      </a:lnTo>
                      <a:lnTo>
                        <a:pt x="441" y="354"/>
                      </a:lnTo>
                      <a:lnTo>
                        <a:pt x="443" y="363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91" name="Freeform 55">
                  <a:extLst>
                    <a:ext uri="{FF2B5EF4-FFF2-40B4-BE49-F238E27FC236}">
                      <a16:creationId xmlns:a16="http://schemas.microsoft.com/office/drawing/2014/main" id="{7AEA32FB-A8F0-97A8-5938-C92F1BB827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75438" y="5892801"/>
                  <a:ext cx="152400" cy="141288"/>
                </a:xfrm>
                <a:custGeom>
                  <a:avLst/>
                  <a:gdLst>
                    <a:gd name="T0" fmla="*/ 16 w 96"/>
                    <a:gd name="T1" fmla="*/ 74 h 89"/>
                    <a:gd name="T2" fmla="*/ 14 w 96"/>
                    <a:gd name="T3" fmla="*/ 65 h 89"/>
                    <a:gd name="T4" fmla="*/ 11 w 96"/>
                    <a:gd name="T5" fmla="*/ 60 h 89"/>
                    <a:gd name="T6" fmla="*/ 9 w 96"/>
                    <a:gd name="T7" fmla="*/ 57 h 89"/>
                    <a:gd name="T8" fmla="*/ 4 w 96"/>
                    <a:gd name="T9" fmla="*/ 51 h 89"/>
                    <a:gd name="T10" fmla="*/ 0 w 96"/>
                    <a:gd name="T11" fmla="*/ 44 h 89"/>
                    <a:gd name="T12" fmla="*/ 5 w 96"/>
                    <a:gd name="T13" fmla="*/ 39 h 89"/>
                    <a:gd name="T14" fmla="*/ 18 w 96"/>
                    <a:gd name="T15" fmla="*/ 32 h 89"/>
                    <a:gd name="T16" fmla="*/ 21 w 96"/>
                    <a:gd name="T17" fmla="*/ 19 h 89"/>
                    <a:gd name="T18" fmla="*/ 30 w 96"/>
                    <a:gd name="T19" fmla="*/ 12 h 89"/>
                    <a:gd name="T20" fmla="*/ 46 w 96"/>
                    <a:gd name="T21" fmla="*/ 9 h 89"/>
                    <a:gd name="T22" fmla="*/ 50 w 96"/>
                    <a:gd name="T23" fmla="*/ 5 h 89"/>
                    <a:gd name="T24" fmla="*/ 55 w 96"/>
                    <a:gd name="T25" fmla="*/ 2 h 89"/>
                    <a:gd name="T26" fmla="*/ 55 w 96"/>
                    <a:gd name="T27" fmla="*/ 0 h 89"/>
                    <a:gd name="T28" fmla="*/ 62 w 96"/>
                    <a:gd name="T29" fmla="*/ 0 h 89"/>
                    <a:gd name="T30" fmla="*/ 66 w 96"/>
                    <a:gd name="T31" fmla="*/ 2 h 89"/>
                    <a:gd name="T32" fmla="*/ 67 w 96"/>
                    <a:gd name="T33" fmla="*/ 0 h 89"/>
                    <a:gd name="T34" fmla="*/ 74 w 96"/>
                    <a:gd name="T35" fmla="*/ 5 h 89"/>
                    <a:gd name="T36" fmla="*/ 80 w 96"/>
                    <a:gd name="T37" fmla="*/ 3 h 89"/>
                    <a:gd name="T38" fmla="*/ 89 w 96"/>
                    <a:gd name="T39" fmla="*/ 11 h 89"/>
                    <a:gd name="T40" fmla="*/ 96 w 96"/>
                    <a:gd name="T41" fmla="*/ 27 h 89"/>
                    <a:gd name="T42" fmla="*/ 96 w 96"/>
                    <a:gd name="T43" fmla="*/ 35 h 89"/>
                    <a:gd name="T44" fmla="*/ 89 w 96"/>
                    <a:gd name="T45" fmla="*/ 42 h 89"/>
                    <a:gd name="T46" fmla="*/ 81 w 96"/>
                    <a:gd name="T47" fmla="*/ 46 h 89"/>
                    <a:gd name="T48" fmla="*/ 81 w 96"/>
                    <a:gd name="T49" fmla="*/ 51 h 89"/>
                    <a:gd name="T50" fmla="*/ 85 w 96"/>
                    <a:gd name="T51" fmla="*/ 55 h 89"/>
                    <a:gd name="T52" fmla="*/ 83 w 96"/>
                    <a:gd name="T53" fmla="*/ 60 h 89"/>
                    <a:gd name="T54" fmla="*/ 76 w 96"/>
                    <a:gd name="T55" fmla="*/ 65 h 89"/>
                    <a:gd name="T56" fmla="*/ 71 w 96"/>
                    <a:gd name="T57" fmla="*/ 64 h 89"/>
                    <a:gd name="T58" fmla="*/ 64 w 96"/>
                    <a:gd name="T59" fmla="*/ 65 h 89"/>
                    <a:gd name="T60" fmla="*/ 58 w 96"/>
                    <a:gd name="T61" fmla="*/ 69 h 89"/>
                    <a:gd name="T62" fmla="*/ 51 w 96"/>
                    <a:gd name="T63" fmla="*/ 71 h 89"/>
                    <a:gd name="T64" fmla="*/ 48 w 96"/>
                    <a:gd name="T65" fmla="*/ 81 h 89"/>
                    <a:gd name="T66" fmla="*/ 44 w 96"/>
                    <a:gd name="T67" fmla="*/ 85 h 89"/>
                    <a:gd name="T68" fmla="*/ 43 w 96"/>
                    <a:gd name="T69" fmla="*/ 89 h 89"/>
                    <a:gd name="T70" fmla="*/ 35 w 96"/>
                    <a:gd name="T71" fmla="*/ 89 h 89"/>
                    <a:gd name="T72" fmla="*/ 27 w 96"/>
                    <a:gd name="T73" fmla="*/ 85 h 89"/>
                    <a:gd name="T74" fmla="*/ 21 w 96"/>
                    <a:gd name="T75" fmla="*/ 80 h 89"/>
                    <a:gd name="T76" fmla="*/ 16 w 96"/>
                    <a:gd name="T77" fmla="*/ 74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96" h="89">
                      <a:moveTo>
                        <a:pt x="16" y="74"/>
                      </a:moveTo>
                      <a:lnTo>
                        <a:pt x="14" y="65"/>
                      </a:lnTo>
                      <a:lnTo>
                        <a:pt x="11" y="60"/>
                      </a:lnTo>
                      <a:lnTo>
                        <a:pt x="9" y="57"/>
                      </a:lnTo>
                      <a:lnTo>
                        <a:pt x="4" y="51"/>
                      </a:lnTo>
                      <a:lnTo>
                        <a:pt x="0" y="44"/>
                      </a:lnTo>
                      <a:lnTo>
                        <a:pt x="5" y="39"/>
                      </a:lnTo>
                      <a:lnTo>
                        <a:pt x="18" y="32"/>
                      </a:lnTo>
                      <a:lnTo>
                        <a:pt x="21" y="19"/>
                      </a:lnTo>
                      <a:lnTo>
                        <a:pt x="30" y="12"/>
                      </a:lnTo>
                      <a:lnTo>
                        <a:pt x="46" y="9"/>
                      </a:lnTo>
                      <a:lnTo>
                        <a:pt x="50" y="5"/>
                      </a:lnTo>
                      <a:lnTo>
                        <a:pt x="55" y="2"/>
                      </a:lnTo>
                      <a:lnTo>
                        <a:pt x="55" y="0"/>
                      </a:lnTo>
                      <a:lnTo>
                        <a:pt x="62" y="0"/>
                      </a:lnTo>
                      <a:lnTo>
                        <a:pt x="66" y="2"/>
                      </a:lnTo>
                      <a:lnTo>
                        <a:pt x="67" y="0"/>
                      </a:lnTo>
                      <a:lnTo>
                        <a:pt x="74" y="5"/>
                      </a:lnTo>
                      <a:lnTo>
                        <a:pt x="80" y="3"/>
                      </a:lnTo>
                      <a:lnTo>
                        <a:pt x="89" y="11"/>
                      </a:lnTo>
                      <a:lnTo>
                        <a:pt x="96" y="27"/>
                      </a:lnTo>
                      <a:lnTo>
                        <a:pt x="96" y="35"/>
                      </a:lnTo>
                      <a:lnTo>
                        <a:pt x="89" y="42"/>
                      </a:lnTo>
                      <a:lnTo>
                        <a:pt x="81" y="46"/>
                      </a:lnTo>
                      <a:lnTo>
                        <a:pt x="81" y="51"/>
                      </a:lnTo>
                      <a:lnTo>
                        <a:pt x="85" y="55"/>
                      </a:lnTo>
                      <a:lnTo>
                        <a:pt x="83" y="60"/>
                      </a:lnTo>
                      <a:lnTo>
                        <a:pt x="76" y="65"/>
                      </a:lnTo>
                      <a:lnTo>
                        <a:pt x="71" y="64"/>
                      </a:lnTo>
                      <a:lnTo>
                        <a:pt x="64" y="65"/>
                      </a:lnTo>
                      <a:lnTo>
                        <a:pt x="58" y="69"/>
                      </a:lnTo>
                      <a:lnTo>
                        <a:pt x="51" y="71"/>
                      </a:lnTo>
                      <a:lnTo>
                        <a:pt x="48" y="81"/>
                      </a:lnTo>
                      <a:lnTo>
                        <a:pt x="44" y="85"/>
                      </a:lnTo>
                      <a:lnTo>
                        <a:pt x="43" y="89"/>
                      </a:lnTo>
                      <a:lnTo>
                        <a:pt x="35" y="89"/>
                      </a:lnTo>
                      <a:lnTo>
                        <a:pt x="27" y="85"/>
                      </a:lnTo>
                      <a:lnTo>
                        <a:pt x="21" y="80"/>
                      </a:lnTo>
                      <a:lnTo>
                        <a:pt x="16" y="74"/>
                      </a:lnTo>
                      <a:close/>
                    </a:path>
                  </a:pathLst>
                </a:custGeom>
                <a:grpFill/>
                <a:ln w="9525">
                  <a:solidFill>
                    <a:schemeClr val="bg1">
                      <a:lumMod val="95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8" name="Graphic 7" descr="Marker with solid fill">
                <a:extLst>
                  <a:ext uri="{FF2B5EF4-FFF2-40B4-BE49-F238E27FC236}">
                    <a16:creationId xmlns:a16="http://schemas.microsoft.com/office/drawing/2014/main" id="{53ABC2F2-E04D-0B27-38C6-8754A1AFA1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400868" y="5101507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9" name="Graphic 8" descr="Marker with solid fill">
                <a:extLst>
                  <a:ext uri="{FF2B5EF4-FFF2-40B4-BE49-F238E27FC236}">
                    <a16:creationId xmlns:a16="http://schemas.microsoft.com/office/drawing/2014/main" id="{E1E219BE-1C6A-C810-05BF-AAB3B00974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202408" y="3952089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0" name="Graphic 9" descr="Marker with solid fill">
                <a:extLst>
                  <a:ext uri="{FF2B5EF4-FFF2-40B4-BE49-F238E27FC236}">
                    <a16:creationId xmlns:a16="http://schemas.microsoft.com/office/drawing/2014/main" id="{6FD68686-A45A-9716-5428-16DCAAE151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384616" y="4118085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1" name="Graphic 10" descr="Marker with solid fill">
                <a:extLst>
                  <a:ext uri="{FF2B5EF4-FFF2-40B4-BE49-F238E27FC236}">
                    <a16:creationId xmlns:a16="http://schemas.microsoft.com/office/drawing/2014/main" id="{644097DF-7F94-8DFA-1DEE-DDF1E0C176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436376" y="5270112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2" name="Graphic 11" descr="Marker with solid fill">
                <a:extLst>
                  <a:ext uri="{FF2B5EF4-FFF2-40B4-BE49-F238E27FC236}">
                    <a16:creationId xmlns:a16="http://schemas.microsoft.com/office/drawing/2014/main" id="{9AFE9643-CED0-EA4A-D5EA-CD8D9CB88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512657" y="5607022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3" name="Graphic 12" descr="Marker with solid fill">
                <a:extLst>
                  <a:ext uri="{FF2B5EF4-FFF2-40B4-BE49-F238E27FC236}">
                    <a16:creationId xmlns:a16="http://schemas.microsoft.com/office/drawing/2014/main" id="{EB4633BD-7ECD-735A-7CA3-1D73E6E7CF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864851" y="5621114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4" name="Graphic 13" descr="Marker with solid fill">
                <a:extLst>
                  <a:ext uri="{FF2B5EF4-FFF2-40B4-BE49-F238E27FC236}">
                    <a16:creationId xmlns:a16="http://schemas.microsoft.com/office/drawing/2014/main" id="{FB95A878-C622-F09A-69F8-09DD78CDDE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762074" y="4691210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5" name="Graphic 14" descr="Marker with solid fill">
                <a:extLst>
                  <a:ext uri="{FF2B5EF4-FFF2-40B4-BE49-F238E27FC236}">
                    <a16:creationId xmlns:a16="http://schemas.microsoft.com/office/drawing/2014/main" id="{7F1BCDC6-F0FD-71BA-10CF-9ED7DC6BED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986410" y="3705105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6" name="Graphic 15" descr="Marker with solid fill">
                <a:extLst>
                  <a:ext uri="{FF2B5EF4-FFF2-40B4-BE49-F238E27FC236}">
                    <a16:creationId xmlns:a16="http://schemas.microsoft.com/office/drawing/2014/main" id="{FCEED447-B4C4-05E5-6E8D-31B0B5E5CF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128903" y="2316521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7" name="Graphic 16" descr="Marker with solid fill">
                <a:extLst>
                  <a:ext uri="{FF2B5EF4-FFF2-40B4-BE49-F238E27FC236}">
                    <a16:creationId xmlns:a16="http://schemas.microsoft.com/office/drawing/2014/main" id="{4AE56DE6-D72E-B32F-518B-0978596133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728806" y="4400421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8" name="Graphic 17" descr="Marker with solid fill">
                <a:extLst>
                  <a:ext uri="{FF2B5EF4-FFF2-40B4-BE49-F238E27FC236}">
                    <a16:creationId xmlns:a16="http://schemas.microsoft.com/office/drawing/2014/main" id="{67DF5984-421C-E476-6A10-2A494238D6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087742" y="5787857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19" name="Graphic 18" descr="Marker with solid fill">
                <a:extLst>
                  <a:ext uri="{FF2B5EF4-FFF2-40B4-BE49-F238E27FC236}">
                    <a16:creationId xmlns:a16="http://schemas.microsoft.com/office/drawing/2014/main" id="{BC98445A-8885-0F9B-D842-6E68F9D4CC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052558" y="6343078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20" name="Graphic 19" descr="Marker with solid fill">
                <a:extLst>
                  <a:ext uri="{FF2B5EF4-FFF2-40B4-BE49-F238E27FC236}">
                    <a16:creationId xmlns:a16="http://schemas.microsoft.com/office/drawing/2014/main" id="{BD2CE087-B56B-89A5-EB8E-D152107F50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742366" y="3941918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21" name="Graphic 20" descr="Marker with solid fill">
                <a:extLst>
                  <a:ext uri="{FF2B5EF4-FFF2-40B4-BE49-F238E27FC236}">
                    <a16:creationId xmlns:a16="http://schemas.microsoft.com/office/drawing/2014/main" id="{1766213B-FEC8-8460-5990-FC4B09E2C7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534688" y="5772697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22" name="Graphic 21" descr="Marker with solid fill">
                <a:extLst>
                  <a:ext uri="{FF2B5EF4-FFF2-40B4-BE49-F238E27FC236}">
                    <a16:creationId xmlns:a16="http://schemas.microsoft.com/office/drawing/2014/main" id="{89FAC9CD-271B-0167-9647-C1E29CA157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6461490" y="4900443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648" name="Graphic 647" descr="Marker with solid fill">
                <a:extLst>
                  <a:ext uri="{FF2B5EF4-FFF2-40B4-BE49-F238E27FC236}">
                    <a16:creationId xmlns:a16="http://schemas.microsoft.com/office/drawing/2014/main" id="{7E3E7912-4706-029A-2B2F-F3B9359668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299082" y="3521808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29" name="Graphic 728" descr="Marker with solid fill">
                <a:extLst>
                  <a:ext uri="{FF2B5EF4-FFF2-40B4-BE49-F238E27FC236}">
                    <a16:creationId xmlns:a16="http://schemas.microsoft.com/office/drawing/2014/main" id="{C5E9A77F-E78F-0A56-13F2-0ED9737C36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6700232" y="5569920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44" name="Graphic 743" descr="Marker with solid fill">
                <a:extLst>
                  <a:ext uri="{FF2B5EF4-FFF2-40B4-BE49-F238E27FC236}">
                    <a16:creationId xmlns:a16="http://schemas.microsoft.com/office/drawing/2014/main" id="{0C218181-90E0-65FF-10C8-D9AC612760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561021" y="5724408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50" name="Graphic 749" descr="Marker with solid fill">
                <a:extLst>
                  <a:ext uri="{FF2B5EF4-FFF2-40B4-BE49-F238E27FC236}">
                    <a16:creationId xmlns:a16="http://schemas.microsoft.com/office/drawing/2014/main" id="{2BFE62A1-FE4B-8BC4-ADE5-0BE6867699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632813" y="3994924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56" name="Graphic 755" descr="Marker with solid fill">
                <a:extLst>
                  <a:ext uri="{FF2B5EF4-FFF2-40B4-BE49-F238E27FC236}">
                    <a16:creationId xmlns:a16="http://schemas.microsoft.com/office/drawing/2014/main" id="{F861BDB1-0375-E593-B4F7-E61DF773B2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484100" y="6063156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74" name="Graphic 773" descr="Marker with solid fill">
                <a:extLst>
                  <a:ext uri="{FF2B5EF4-FFF2-40B4-BE49-F238E27FC236}">
                    <a16:creationId xmlns:a16="http://schemas.microsoft.com/office/drawing/2014/main" id="{CEA60BE7-51C3-AC21-82A8-0BBD8E1875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729429" y="4619275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90" name="Graphic 789" descr="Marker with solid fill">
                <a:extLst>
                  <a:ext uri="{FF2B5EF4-FFF2-40B4-BE49-F238E27FC236}">
                    <a16:creationId xmlns:a16="http://schemas.microsoft.com/office/drawing/2014/main" id="{2052010E-E4E2-2088-BCE7-AFC949F191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403928" y="5709390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91" name="Graphic 790" descr="Marker with solid fill">
                <a:extLst>
                  <a:ext uri="{FF2B5EF4-FFF2-40B4-BE49-F238E27FC236}">
                    <a16:creationId xmlns:a16="http://schemas.microsoft.com/office/drawing/2014/main" id="{D007E3D0-82E7-946D-45B6-AE2909335A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5474151" y="3974380"/>
                <a:ext cx="220936" cy="220937"/>
              </a:xfrm>
              <a:prstGeom prst="rect">
                <a:avLst/>
              </a:prstGeom>
            </p:spPr>
          </p:pic>
          <p:pic>
            <p:nvPicPr>
              <p:cNvPr id="792" name="Graphic 791" descr="Marker with solid fill">
                <a:extLst>
                  <a:ext uri="{FF2B5EF4-FFF2-40B4-BE49-F238E27FC236}">
                    <a16:creationId xmlns:a16="http://schemas.microsoft.com/office/drawing/2014/main" id="{FE2B5BBF-DFA0-BCFD-EB0F-80F2D33F6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861699" y="3660544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93" name="Graphic 792" descr="Marker with solid fill">
                <a:extLst>
                  <a:ext uri="{FF2B5EF4-FFF2-40B4-BE49-F238E27FC236}">
                    <a16:creationId xmlns:a16="http://schemas.microsoft.com/office/drawing/2014/main" id="{692E8F64-4179-57BA-C2CF-A4EBF2FB9E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350012" y="5453772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94" name="Graphic 793" descr="Marker with solid fill">
                <a:extLst>
                  <a:ext uri="{FF2B5EF4-FFF2-40B4-BE49-F238E27FC236}">
                    <a16:creationId xmlns:a16="http://schemas.microsoft.com/office/drawing/2014/main" id="{17AABA5E-EA13-4B0D-6C4F-D30700C275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357042" y="5836443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95" name="Graphic 794" descr="Marker with solid fill">
                <a:extLst>
                  <a:ext uri="{FF2B5EF4-FFF2-40B4-BE49-F238E27FC236}">
                    <a16:creationId xmlns:a16="http://schemas.microsoft.com/office/drawing/2014/main" id="{14A77904-902B-D1A9-28A7-472E8E9AF9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725906" y="3845862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96" name="Graphic 795" descr="Marker with solid fill">
                <a:extLst>
                  <a:ext uri="{FF2B5EF4-FFF2-40B4-BE49-F238E27FC236}">
                    <a16:creationId xmlns:a16="http://schemas.microsoft.com/office/drawing/2014/main" id="{80BD2D76-F392-FA17-198B-9A24100BBA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440926" y="4318794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97" name="Graphic 796" descr="Marker with solid fill">
                <a:extLst>
                  <a:ext uri="{FF2B5EF4-FFF2-40B4-BE49-F238E27FC236}">
                    <a16:creationId xmlns:a16="http://schemas.microsoft.com/office/drawing/2014/main" id="{C61C2500-1C0B-5EE6-6368-61B1EF032B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236361" y="5245697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98" name="Graphic 797" descr="Marker with solid fill">
                <a:extLst>
                  <a:ext uri="{FF2B5EF4-FFF2-40B4-BE49-F238E27FC236}">
                    <a16:creationId xmlns:a16="http://schemas.microsoft.com/office/drawing/2014/main" id="{D57ADE51-602E-3559-9C80-6FADAD4F81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853516" y="5321124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799" name="Graphic 798" descr="Marker with solid fill">
                <a:extLst>
                  <a:ext uri="{FF2B5EF4-FFF2-40B4-BE49-F238E27FC236}">
                    <a16:creationId xmlns:a16="http://schemas.microsoft.com/office/drawing/2014/main" id="{3D03E2A8-A725-C6F4-B5BE-89A258C160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181863" y="5105301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00" name="Graphic 799" descr="Marker with solid fill">
                <a:extLst>
                  <a:ext uri="{FF2B5EF4-FFF2-40B4-BE49-F238E27FC236}">
                    <a16:creationId xmlns:a16="http://schemas.microsoft.com/office/drawing/2014/main" id="{022EED24-F4E0-E7FB-0CDB-9C95C24AC1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541615" y="6017351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01" name="Graphic 800" descr="Marker with solid fill">
                <a:extLst>
                  <a:ext uri="{FF2B5EF4-FFF2-40B4-BE49-F238E27FC236}">
                    <a16:creationId xmlns:a16="http://schemas.microsoft.com/office/drawing/2014/main" id="{67C56AEF-35FD-7FD1-248E-E2FCB0DD4F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5683261" y="6069156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02" name="Graphic 801" descr="Marker with solid fill">
                <a:extLst>
                  <a:ext uri="{FF2B5EF4-FFF2-40B4-BE49-F238E27FC236}">
                    <a16:creationId xmlns:a16="http://schemas.microsoft.com/office/drawing/2014/main" id="{2F70C9CB-72E9-509B-4DC5-F08689C13D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055667" y="3809380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03" name="Graphic 802" descr="Marker with solid fill">
                <a:extLst>
                  <a:ext uri="{FF2B5EF4-FFF2-40B4-BE49-F238E27FC236}">
                    <a16:creationId xmlns:a16="http://schemas.microsoft.com/office/drawing/2014/main" id="{36432E42-D5C0-90CA-AC56-4191BA0BC2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827231" y="4276203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04" name="Graphic 803" descr="Marker with solid fill">
                <a:extLst>
                  <a:ext uri="{FF2B5EF4-FFF2-40B4-BE49-F238E27FC236}">
                    <a16:creationId xmlns:a16="http://schemas.microsoft.com/office/drawing/2014/main" id="{B5A74C99-310C-49C7-BCF3-7AF0A893C3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521856" y="3994358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05" name="Graphic 804" descr="Marker with solid fill">
                <a:extLst>
                  <a:ext uri="{FF2B5EF4-FFF2-40B4-BE49-F238E27FC236}">
                    <a16:creationId xmlns:a16="http://schemas.microsoft.com/office/drawing/2014/main" id="{C078CD22-78FB-F454-9BB2-A5A0DBF1C6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255261" y="4112838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06" name="Graphic 805" descr="Marker with solid fill">
                <a:extLst>
                  <a:ext uri="{FF2B5EF4-FFF2-40B4-BE49-F238E27FC236}">
                    <a16:creationId xmlns:a16="http://schemas.microsoft.com/office/drawing/2014/main" id="{7BD3A85D-7DD7-08E5-87F3-8D8AB00EA1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066309" y="4787149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09" name="Graphic 808" descr="Marker with solid fill">
                <a:extLst>
                  <a:ext uri="{FF2B5EF4-FFF2-40B4-BE49-F238E27FC236}">
                    <a16:creationId xmlns:a16="http://schemas.microsoft.com/office/drawing/2014/main" id="{AF6DD4A4-0DAE-1208-3776-8CFBEBD374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565118" y="5135631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10" name="Graphic 809" descr="Marker with solid fill">
                <a:extLst>
                  <a:ext uri="{FF2B5EF4-FFF2-40B4-BE49-F238E27FC236}">
                    <a16:creationId xmlns:a16="http://schemas.microsoft.com/office/drawing/2014/main" id="{08AB4EAF-2B28-6A66-ABF9-CC2C830CE5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628334" y="6033959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12" name="Graphic 811" descr="Marker with solid fill">
                <a:extLst>
                  <a:ext uri="{FF2B5EF4-FFF2-40B4-BE49-F238E27FC236}">
                    <a16:creationId xmlns:a16="http://schemas.microsoft.com/office/drawing/2014/main" id="{B986D405-DA9D-0F59-88A0-F14710769B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006023" y="3125962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13" name="Graphic 812" descr="Marker with solid fill">
                <a:extLst>
                  <a:ext uri="{FF2B5EF4-FFF2-40B4-BE49-F238E27FC236}">
                    <a16:creationId xmlns:a16="http://schemas.microsoft.com/office/drawing/2014/main" id="{F224EF90-E580-EA3F-6B38-125710B90A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662663" y="5728517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14" name="Graphic 813" descr="Marker with solid fill">
                <a:extLst>
                  <a:ext uri="{FF2B5EF4-FFF2-40B4-BE49-F238E27FC236}">
                    <a16:creationId xmlns:a16="http://schemas.microsoft.com/office/drawing/2014/main" id="{BBB7B66D-1320-17C3-B317-84C19A02E5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4443056" y="3615318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16" name="Graphic 815" descr="Marker with solid fill">
                <a:extLst>
                  <a:ext uri="{FF2B5EF4-FFF2-40B4-BE49-F238E27FC236}">
                    <a16:creationId xmlns:a16="http://schemas.microsoft.com/office/drawing/2014/main" id="{6A551697-1CF7-8D93-3DBA-0ADD3529F0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114855" y="3343656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17" name="Graphic 816" descr="Marker with solid fill">
                <a:extLst>
                  <a:ext uri="{FF2B5EF4-FFF2-40B4-BE49-F238E27FC236}">
                    <a16:creationId xmlns:a16="http://schemas.microsoft.com/office/drawing/2014/main" id="{8C6DEFB2-3606-114D-8B5C-C145859644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3648924" y="3070130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18" name="Graphic 817" descr="Marker with solid fill">
                <a:extLst>
                  <a:ext uri="{FF2B5EF4-FFF2-40B4-BE49-F238E27FC236}">
                    <a16:creationId xmlns:a16="http://schemas.microsoft.com/office/drawing/2014/main" id="{4EBF9E5C-9E45-AA87-0094-3FD46F1558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029764" y="4989555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19" name="Graphic 818" descr="Marker with solid fill">
                <a:extLst>
                  <a:ext uri="{FF2B5EF4-FFF2-40B4-BE49-F238E27FC236}">
                    <a16:creationId xmlns:a16="http://schemas.microsoft.com/office/drawing/2014/main" id="{80010E0A-8185-CB03-C82F-D328E86268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665615" y="4460985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20" name="Graphic 819" descr="Marker with solid fill">
                <a:extLst>
                  <a:ext uri="{FF2B5EF4-FFF2-40B4-BE49-F238E27FC236}">
                    <a16:creationId xmlns:a16="http://schemas.microsoft.com/office/drawing/2014/main" id="{AD1DF6D0-B2BE-46C7-9C48-70AE12D7E7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711754" y="4178043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21" name="Graphic 820" descr="Marker with solid fill">
                <a:extLst>
                  <a:ext uri="{FF2B5EF4-FFF2-40B4-BE49-F238E27FC236}">
                    <a16:creationId xmlns:a16="http://schemas.microsoft.com/office/drawing/2014/main" id="{65C25B3D-06ED-34CA-D628-1160938E84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019810" y="1891261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22" name="Graphic 821" descr="Marker with solid fill">
                <a:extLst>
                  <a:ext uri="{FF2B5EF4-FFF2-40B4-BE49-F238E27FC236}">
                    <a16:creationId xmlns:a16="http://schemas.microsoft.com/office/drawing/2014/main" id="{DDB8CA59-E2E6-9EE9-6FBF-B0999CE194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983010" y="3731020"/>
                <a:ext cx="237945" cy="237945"/>
              </a:xfrm>
              <a:prstGeom prst="rect">
                <a:avLst/>
              </a:prstGeom>
            </p:spPr>
          </p:pic>
          <p:pic>
            <p:nvPicPr>
              <p:cNvPr id="823" name="Graphic 822" descr="Marker with solid fill">
                <a:extLst>
                  <a:ext uri="{FF2B5EF4-FFF2-40B4-BE49-F238E27FC236}">
                    <a16:creationId xmlns:a16="http://schemas.microsoft.com/office/drawing/2014/main" id="{2CB11C41-6432-9E31-F0B9-19D46C1FFA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986456" y="5522582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24" name="Graphic 823" descr="Marker with solid fill">
                <a:extLst>
                  <a:ext uri="{FF2B5EF4-FFF2-40B4-BE49-F238E27FC236}">
                    <a16:creationId xmlns:a16="http://schemas.microsoft.com/office/drawing/2014/main" id="{8536E4D6-72C5-08CA-E07B-36C3591132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4292443" y="3403626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25" name="Graphic 824" descr="Marker with solid fill">
                <a:extLst>
                  <a:ext uri="{FF2B5EF4-FFF2-40B4-BE49-F238E27FC236}">
                    <a16:creationId xmlns:a16="http://schemas.microsoft.com/office/drawing/2014/main" id="{9D5F8132-5294-72C6-A85D-3E6053C88F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953616" y="4395118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27" name="Graphic 826" descr="Marker with solid fill">
                <a:extLst>
                  <a:ext uri="{FF2B5EF4-FFF2-40B4-BE49-F238E27FC236}">
                    <a16:creationId xmlns:a16="http://schemas.microsoft.com/office/drawing/2014/main" id="{86B948F0-780B-C6EE-EE62-A979CE3578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5482686" y="4493045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29" name="Graphic 828" descr="Marker with solid fill">
                <a:extLst>
                  <a:ext uri="{FF2B5EF4-FFF2-40B4-BE49-F238E27FC236}">
                    <a16:creationId xmlns:a16="http://schemas.microsoft.com/office/drawing/2014/main" id="{D5260D2F-2524-73FB-AC8F-33EB929066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5812987" y="5797849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30" name="Graphic 829" descr="Marker with solid fill">
                <a:extLst>
                  <a:ext uri="{FF2B5EF4-FFF2-40B4-BE49-F238E27FC236}">
                    <a16:creationId xmlns:a16="http://schemas.microsoft.com/office/drawing/2014/main" id="{5CC497D8-F0C3-5EFD-47FF-C8F47E67DC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6275324" y="6037216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31" name="Graphic 830" descr="Marker with solid fill">
                <a:extLst>
                  <a:ext uri="{FF2B5EF4-FFF2-40B4-BE49-F238E27FC236}">
                    <a16:creationId xmlns:a16="http://schemas.microsoft.com/office/drawing/2014/main" id="{90D39805-919B-ED89-62D4-F8398403E6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4224638" y="2201154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33" name="Graphic 832" descr="Marker with solid fill">
                <a:extLst>
                  <a:ext uri="{FF2B5EF4-FFF2-40B4-BE49-F238E27FC236}">
                    <a16:creationId xmlns:a16="http://schemas.microsoft.com/office/drawing/2014/main" id="{73209C62-3C39-B1B4-1906-3CFDCFCF77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574669" y="6092709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34" name="Graphic 833" descr="Marker with solid fill">
                <a:extLst>
                  <a:ext uri="{FF2B5EF4-FFF2-40B4-BE49-F238E27FC236}">
                    <a16:creationId xmlns:a16="http://schemas.microsoft.com/office/drawing/2014/main" id="{C2A431F3-3F06-B724-7C22-532D5A1336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573441" y="4779316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35" name="Graphic 834" descr="Marker with solid fill">
                <a:extLst>
                  <a:ext uri="{FF2B5EF4-FFF2-40B4-BE49-F238E27FC236}">
                    <a16:creationId xmlns:a16="http://schemas.microsoft.com/office/drawing/2014/main" id="{E1E390BA-2403-1E5F-8EB6-B661D52DA5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215815" y="1911939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36" name="Graphic 835" descr="Marker with solid fill">
                <a:extLst>
                  <a:ext uri="{FF2B5EF4-FFF2-40B4-BE49-F238E27FC236}">
                    <a16:creationId xmlns:a16="http://schemas.microsoft.com/office/drawing/2014/main" id="{A7C63D5C-C27C-5063-1DA8-005D967865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3680130" y="3577958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37" name="Graphic 836" descr="Marker with solid fill">
                <a:extLst>
                  <a:ext uri="{FF2B5EF4-FFF2-40B4-BE49-F238E27FC236}">
                    <a16:creationId xmlns:a16="http://schemas.microsoft.com/office/drawing/2014/main" id="{68B23878-E1A6-E05D-334B-F1B7B95426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4700354" y="3183245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38" name="Graphic 837" descr="Marker with solid fill">
                <a:extLst>
                  <a:ext uri="{FF2B5EF4-FFF2-40B4-BE49-F238E27FC236}">
                    <a16:creationId xmlns:a16="http://schemas.microsoft.com/office/drawing/2014/main" id="{F7FF1503-DAD5-D314-5449-B623F8D7F7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7058237" y="4617357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39" name="Graphic 838" descr="Marker with solid fill">
                <a:extLst>
                  <a:ext uri="{FF2B5EF4-FFF2-40B4-BE49-F238E27FC236}">
                    <a16:creationId xmlns:a16="http://schemas.microsoft.com/office/drawing/2014/main" id="{E1318331-6765-056F-6F1E-E29D9AB6AD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5510568" y="4900445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840" name="Graphic 839" descr="Marker with solid fill">
                <a:extLst>
                  <a:ext uri="{FF2B5EF4-FFF2-40B4-BE49-F238E27FC236}">
                    <a16:creationId xmlns:a16="http://schemas.microsoft.com/office/drawing/2014/main" id="{F44F958D-2F12-8447-D333-4D762F0269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3696592" y="3298109"/>
                <a:ext cx="220936" cy="220936"/>
              </a:xfrm>
              <a:prstGeom prst="rect">
                <a:avLst/>
              </a:prstGeom>
            </p:spPr>
          </p:pic>
          <p:pic>
            <p:nvPicPr>
              <p:cNvPr id="917" name="Graphic 916" descr="Marker with solid fill">
                <a:extLst>
                  <a:ext uri="{FF2B5EF4-FFF2-40B4-BE49-F238E27FC236}">
                    <a16:creationId xmlns:a16="http://schemas.microsoft.com/office/drawing/2014/main" id="{B95DF2B3-5AA1-38DB-79C0-111FDEB892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6657312" y="4975360"/>
                <a:ext cx="220936" cy="220937"/>
              </a:xfrm>
              <a:prstGeom prst="rect">
                <a:avLst/>
              </a:prstGeom>
            </p:spPr>
          </p:pic>
        </p:grpSp>
        <p:pic>
          <p:nvPicPr>
            <p:cNvPr id="6" name="Graphic 5" descr="Marker with solid fill">
              <a:extLst>
                <a:ext uri="{FF2B5EF4-FFF2-40B4-BE49-F238E27FC236}">
                  <a16:creationId xmlns:a16="http://schemas.microsoft.com/office/drawing/2014/main" id="{3EE4E312-1422-90D5-254D-25613D78D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89152" y="3219711"/>
              <a:ext cx="207523" cy="209289"/>
            </a:xfrm>
            <a:prstGeom prst="rect">
              <a:avLst/>
            </a:prstGeom>
          </p:spPr>
        </p:pic>
      </p:grpSp>
      <p:pic>
        <p:nvPicPr>
          <p:cNvPr id="893" name="Picture 892" descr="A picture containing cylinder, battery, indoor&#10;&#10;Description automatically generated">
            <a:extLst>
              <a:ext uri="{FF2B5EF4-FFF2-40B4-BE49-F238E27FC236}">
                <a16:creationId xmlns:a16="http://schemas.microsoft.com/office/drawing/2014/main" id="{C468639F-A96B-053F-CF00-C1EE2634E16B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81"/>
          <a:stretch/>
        </p:blipFill>
        <p:spPr>
          <a:xfrm>
            <a:off x="479424" y="1386269"/>
            <a:ext cx="2885082" cy="4758391"/>
          </a:xfrm>
          <a:prstGeom prst="rect">
            <a:avLst/>
          </a:prstGeom>
        </p:spPr>
      </p:pic>
      <p:sp>
        <p:nvSpPr>
          <p:cNvPr id="894" name="Rectangle 893">
            <a:extLst>
              <a:ext uri="{FF2B5EF4-FFF2-40B4-BE49-F238E27FC236}">
                <a16:creationId xmlns:a16="http://schemas.microsoft.com/office/drawing/2014/main" id="{1A63C403-9981-01A1-4F4B-E98006DA6916}"/>
              </a:ext>
            </a:extLst>
          </p:cNvPr>
          <p:cNvSpPr/>
          <p:nvPr/>
        </p:nvSpPr>
        <p:spPr>
          <a:xfrm>
            <a:off x="479424" y="1386269"/>
            <a:ext cx="2891649" cy="4758391"/>
          </a:xfrm>
          <a:prstGeom prst="rect">
            <a:avLst/>
          </a:pr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96" name="TextBox 895">
            <a:extLst>
              <a:ext uri="{FF2B5EF4-FFF2-40B4-BE49-F238E27FC236}">
                <a16:creationId xmlns:a16="http://schemas.microsoft.com/office/drawing/2014/main" id="{1F2CC751-97A7-4081-BAE2-92DA6B0D0C3F}"/>
              </a:ext>
            </a:extLst>
          </p:cNvPr>
          <p:cNvSpPr txBox="1"/>
          <p:nvPr/>
        </p:nvSpPr>
        <p:spPr>
          <a:xfrm>
            <a:off x="581245" y="2276263"/>
            <a:ext cx="2577860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Africa hosts a variety of mineral resources that are crucial to the LIB sector.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It outranks any other continent in abundance of</a:t>
            </a:r>
          </a:p>
        </p:txBody>
      </p:sp>
      <p:sp>
        <p:nvSpPr>
          <p:cNvPr id="897" name="TextBox 896">
            <a:extLst>
              <a:ext uri="{FF2B5EF4-FFF2-40B4-BE49-F238E27FC236}">
                <a16:creationId xmlns:a16="http://schemas.microsoft.com/office/drawing/2014/main" id="{D2CBEDF2-1CF4-75C1-3AA4-F9D8C52D713F}"/>
              </a:ext>
            </a:extLst>
          </p:cNvPr>
          <p:cNvSpPr txBox="1"/>
          <p:nvPr/>
        </p:nvSpPr>
        <p:spPr>
          <a:xfrm>
            <a:off x="581245" y="3748232"/>
            <a:ext cx="257786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Cobalt </a:t>
            </a:r>
          </a:p>
        </p:txBody>
      </p:sp>
      <p:sp>
        <p:nvSpPr>
          <p:cNvPr id="899" name="TextBox 898">
            <a:extLst>
              <a:ext uri="{FF2B5EF4-FFF2-40B4-BE49-F238E27FC236}">
                <a16:creationId xmlns:a16="http://schemas.microsoft.com/office/drawing/2014/main" id="{6CCD7CBB-65D3-5D5A-5C27-9ED2A97A8783}"/>
              </a:ext>
            </a:extLst>
          </p:cNvPr>
          <p:cNvSpPr txBox="1"/>
          <p:nvPr/>
        </p:nvSpPr>
        <p:spPr>
          <a:xfrm>
            <a:off x="581245" y="4203177"/>
            <a:ext cx="257786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Graphite</a:t>
            </a:r>
          </a:p>
        </p:txBody>
      </p:sp>
      <p:sp>
        <p:nvSpPr>
          <p:cNvPr id="900" name="TextBox 899">
            <a:extLst>
              <a:ext uri="{FF2B5EF4-FFF2-40B4-BE49-F238E27FC236}">
                <a16:creationId xmlns:a16="http://schemas.microsoft.com/office/drawing/2014/main" id="{7FC8DBA1-B75D-26D4-2924-25A17B573CAB}"/>
              </a:ext>
            </a:extLst>
          </p:cNvPr>
          <p:cNvSpPr txBox="1"/>
          <p:nvPr/>
        </p:nvSpPr>
        <p:spPr>
          <a:xfrm>
            <a:off x="581245" y="4658122"/>
            <a:ext cx="257786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Manganese and,</a:t>
            </a:r>
          </a:p>
        </p:txBody>
      </p:sp>
      <p:sp>
        <p:nvSpPr>
          <p:cNvPr id="901" name="TextBox 900">
            <a:extLst>
              <a:ext uri="{FF2B5EF4-FFF2-40B4-BE49-F238E27FC236}">
                <a16:creationId xmlns:a16="http://schemas.microsoft.com/office/drawing/2014/main" id="{ECAD0BFC-8C03-0A99-0E16-28796A4B1D6F}"/>
              </a:ext>
            </a:extLst>
          </p:cNvPr>
          <p:cNvSpPr txBox="1"/>
          <p:nvPr/>
        </p:nvSpPr>
        <p:spPr>
          <a:xfrm>
            <a:off x="581245" y="5113068"/>
            <a:ext cx="257786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Phosphate rock</a:t>
            </a:r>
          </a:p>
        </p:txBody>
      </p:sp>
      <p:grpSp>
        <p:nvGrpSpPr>
          <p:cNvPr id="916" name="Group 915">
            <a:extLst>
              <a:ext uri="{FF2B5EF4-FFF2-40B4-BE49-F238E27FC236}">
                <a16:creationId xmlns:a16="http://schemas.microsoft.com/office/drawing/2014/main" id="{3DE5EB6F-D767-D358-A977-C23E21A14BD8}"/>
              </a:ext>
            </a:extLst>
          </p:cNvPr>
          <p:cNvGrpSpPr/>
          <p:nvPr/>
        </p:nvGrpSpPr>
        <p:grpSpPr>
          <a:xfrm>
            <a:off x="581245" y="4098815"/>
            <a:ext cx="2343439" cy="909890"/>
            <a:chOff x="581245" y="4098815"/>
            <a:chExt cx="2443053" cy="909890"/>
          </a:xfrm>
        </p:grpSpPr>
        <p:cxnSp>
          <p:nvCxnSpPr>
            <p:cNvPr id="903" name="Straight Connector 902">
              <a:extLst>
                <a:ext uri="{FF2B5EF4-FFF2-40B4-BE49-F238E27FC236}">
                  <a16:creationId xmlns:a16="http://schemas.microsoft.com/office/drawing/2014/main" id="{79EBAA0B-75B6-EE0B-2F13-2E92A779FDCF}"/>
                </a:ext>
              </a:extLst>
            </p:cNvPr>
            <p:cNvCxnSpPr>
              <a:cxnSpLocks/>
            </p:cNvCxnSpPr>
            <p:nvPr/>
          </p:nvCxnSpPr>
          <p:spPr>
            <a:xfrm>
              <a:off x="581245" y="4098815"/>
              <a:ext cx="2443053" cy="0"/>
            </a:xfrm>
            <a:prstGeom prst="line">
              <a:avLst/>
            </a:prstGeom>
            <a:ln w="6350">
              <a:solidFill>
                <a:schemeClr val="bg1">
                  <a:alpha val="54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4" name="Straight Connector 903">
              <a:extLst>
                <a:ext uri="{FF2B5EF4-FFF2-40B4-BE49-F238E27FC236}">
                  <a16:creationId xmlns:a16="http://schemas.microsoft.com/office/drawing/2014/main" id="{E9283DB2-EA81-96A0-2B15-5E4AE00232C1}"/>
                </a:ext>
              </a:extLst>
            </p:cNvPr>
            <p:cNvCxnSpPr>
              <a:cxnSpLocks/>
            </p:cNvCxnSpPr>
            <p:nvPr/>
          </p:nvCxnSpPr>
          <p:spPr>
            <a:xfrm>
              <a:off x="581245" y="4553760"/>
              <a:ext cx="2443053" cy="0"/>
            </a:xfrm>
            <a:prstGeom prst="line">
              <a:avLst/>
            </a:prstGeom>
            <a:ln w="6350">
              <a:solidFill>
                <a:schemeClr val="bg1">
                  <a:alpha val="54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5" name="Straight Connector 904">
              <a:extLst>
                <a:ext uri="{FF2B5EF4-FFF2-40B4-BE49-F238E27FC236}">
                  <a16:creationId xmlns:a16="http://schemas.microsoft.com/office/drawing/2014/main" id="{6E0F2A49-22A6-73AC-B3AC-ADA2E9A25AD4}"/>
                </a:ext>
              </a:extLst>
            </p:cNvPr>
            <p:cNvCxnSpPr>
              <a:cxnSpLocks/>
            </p:cNvCxnSpPr>
            <p:nvPr/>
          </p:nvCxnSpPr>
          <p:spPr>
            <a:xfrm>
              <a:off x="581245" y="5008705"/>
              <a:ext cx="2443053" cy="0"/>
            </a:xfrm>
            <a:prstGeom prst="line">
              <a:avLst/>
            </a:prstGeom>
            <a:ln w="6350">
              <a:solidFill>
                <a:schemeClr val="bg1">
                  <a:alpha val="54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6" name="Group 905">
            <a:extLst>
              <a:ext uri="{FF2B5EF4-FFF2-40B4-BE49-F238E27FC236}">
                <a16:creationId xmlns:a16="http://schemas.microsoft.com/office/drawing/2014/main" id="{7A089B6B-F7A8-11E5-2352-C3D4D9DB3988}"/>
              </a:ext>
            </a:extLst>
          </p:cNvPr>
          <p:cNvGrpSpPr/>
          <p:nvPr/>
        </p:nvGrpSpPr>
        <p:grpSpPr>
          <a:xfrm>
            <a:off x="581245" y="1611025"/>
            <a:ext cx="650875" cy="477837"/>
            <a:chOff x="11158537" y="1289051"/>
            <a:chExt cx="650875" cy="477837"/>
          </a:xfrm>
        </p:grpSpPr>
        <p:sp>
          <p:nvSpPr>
            <p:cNvPr id="907" name="Line 68">
              <a:extLst>
                <a:ext uri="{FF2B5EF4-FFF2-40B4-BE49-F238E27FC236}">
                  <a16:creationId xmlns:a16="http://schemas.microsoft.com/office/drawing/2014/main" id="{13FEB258-B596-1A4D-ABDA-DF22CB773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44262" y="1571626"/>
              <a:ext cx="87313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8" name="Line 69">
              <a:extLst>
                <a:ext uri="{FF2B5EF4-FFF2-40B4-BE49-F238E27FC236}">
                  <a16:creationId xmlns:a16="http://schemas.microsoft.com/office/drawing/2014/main" id="{2DC79C70-08CA-ECB4-7921-9D8A5539B0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636375" y="1571626"/>
              <a:ext cx="87313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9" name="Line 70">
              <a:extLst>
                <a:ext uri="{FF2B5EF4-FFF2-40B4-BE49-F238E27FC236}">
                  <a16:creationId xmlns:a16="http://schemas.microsoft.com/office/drawing/2014/main" id="{F70BE0DC-C004-FD0B-851E-099FE478F9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679237" y="1528763"/>
              <a:ext cx="0" cy="85725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0" name="Line 71">
              <a:extLst>
                <a:ext uri="{FF2B5EF4-FFF2-40B4-BE49-F238E27FC236}">
                  <a16:creationId xmlns:a16="http://schemas.microsoft.com/office/drawing/2014/main" id="{C8C0A2B6-1C75-929B-7A64-4BC44799ADD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179175" y="1376363"/>
              <a:ext cx="65088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1" name="Freeform 72">
              <a:extLst>
                <a:ext uri="{FF2B5EF4-FFF2-40B4-BE49-F238E27FC236}">
                  <a16:creationId xmlns:a16="http://schemas.microsoft.com/office/drawing/2014/main" id="{7B823B6E-DCE1-5AFC-B900-D1CCF93EBA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8537" y="1376363"/>
              <a:ext cx="650875" cy="390525"/>
            </a:xfrm>
            <a:custGeom>
              <a:avLst/>
              <a:gdLst>
                <a:gd name="T0" fmla="*/ 60 w 1800"/>
                <a:gd name="T1" fmla="*/ 0 h 1080"/>
                <a:gd name="T2" fmla="*/ 0 w 1800"/>
                <a:gd name="T3" fmla="*/ 60 h 1080"/>
                <a:gd name="T4" fmla="*/ 0 w 1800"/>
                <a:gd name="T5" fmla="*/ 1020 h 1080"/>
                <a:gd name="T6" fmla="*/ 60 w 1800"/>
                <a:gd name="T7" fmla="*/ 1080 h 1080"/>
                <a:gd name="T8" fmla="*/ 1740 w 1800"/>
                <a:gd name="T9" fmla="*/ 1080 h 1080"/>
                <a:gd name="T10" fmla="*/ 1800 w 1800"/>
                <a:gd name="T11" fmla="*/ 1020 h 1080"/>
                <a:gd name="T12" fmla="*/ 1800 w 1800"/>
                <a:gd name="T13" fmla="*/ 60 h 1080"/>
                <a:gd name="T14" fmla="*/ 1740 w 1800"/>
                <a:gd name="T15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00" h="1080"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1020"/>
                    <a:pt x="0" y="1020"/>
                    <a:pt x="0" y="1020"/>
                  </a:cubicBezTo>
                  <a:cubicBezTo>
                    <a:pt x="0" y="1053"/>
                    <a:pt x="27" y="1080"/>
                    <a:pt x="60" y="1080"/>
                  </a:cubicBezTo>
                  <a:cubicBezTo>
                    <a:pt x="1740" y="1080"/>
                    <a:pt x="1740" y="1080"/>
                    <a:pt x="1740" y="1080"/>
                  </a:cubicBezTo>
                  <a:cubicBezTo>
                    <a:pt x="1773" y="1080"/>
                    <a:pt x="1800" y="1053"/>
                    <a:pt x="1800" y="1020"/>
                  </a:cubicBezTo>
                  <a:cubicBezTo>
                    <a:pt x="1800" y="60"/>
                    <a:pt x="1800" y="60"/>
                    <a:pt x="1800" y="60"/>
                  </a:cubicBezTo>
                  <a:cubicBezTo>
                    <a:pt x="1800" y="27"/>
                    <a:pt x="1773" y="0"/>
                    <a:pt x="1740" y="0"/>
                  </a:cubicBezTo>
                </a:path>
              </a:pathLst>
            </a:custGeom>
            <a:ln w="190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2" name="Freeform 73">
              <a:extLst>
                <a:ext uri="{FF2B5EF4-FFF2-40B4-BE49-F238E27FC236}">
                  <a16:creationId xmlns:a16="http://schemas.microsoft.com/office/drawing/2014/main" id="{7163A4FE-ED2A-D8DB-4A11-E3854BA39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4262" y="1289051"/>
              <a:ext cx="87313" cy="87313"/>
            </a:xfrm>
            <a:custGeom>
              <a:avLst/>
              <a:gdLst>
                <a:gd name="T0" fmla="*/ 240 w 240"/>
                <a:gd name="T1" fmla="*/ 240 h 240"/>
                <a:gd name="T2" fmla="*/ 240 w 240"/>
                <a:gd name="T3" fmla="*/ 60 h 240"/>
                <a:gd name="T4" fmla="*/ 180 w 240"/>
                <a:gd name="T5" fmla="*/ 0 h 240"/>
                <a:gd name="T6" fmla="*/ 60 w 240"/>
                <a:gd name="T7" fmla="*/ 0 h 240"/>
                <a:gd name="T8" fmla="*/ 0 w 240"/>
                <a:gd name="T9" fmla="*/ 60 h 240"/>
                <a:gd name="T10" fmla="*/ 0 w 240"/>
                <a:gd name="T11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240">
                  <a:moveTo>
                    <a:pt x="240" y="240"/>
                  </a:moveTo>
                  <a:cubicBezTo>
                    <a:pt x="240" y="60"/>
                    <a:pt x="240" y="60"/>
                    <a:pt x="240" y="60"/>
                  </a:cubicBezTo>
                  <a:cubicBezTo>
                    <a:pt x="240" y="27"/>
                    <a:pt x="213" y="0"/>
                    <a:pt x="18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240"/>
                    <a:pt x="0" y="240"/>
                    <a:pt x="0" y="240"/>
                  </a:cubicBezTo>
                </a:path>
              </a:pathLst>
            </a:custGeom>
            <a:ln w="190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3" name="Freeform 74">
              <a:extLst>
                <a:ext uri="{FF2B5EF4-FFF2-40B4-BE49-F238E27FC236}">
                  <a16:creationId xmlns:a16="http://schemas.microsoft.com/office/drawing/2014/main" id="{BA6513DA-3B1F-348F-F0E6-BFE92D5DF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6375" y="1289051"/>
              <a:ext cx="87313" cy="87313"/>
            </a:xfrm>
            <a:custGeom>
              <a:avLst/>
              <a:gdLst>
                <a:gd name="T0" fmla="*/ 240 w 240"/>
                <a:gd name="T1" fmla="*/ 240 h 240"/>
                <a:gd name="T2" fmla="*/ 240 w 240"/>
                <a:gd name="T3" fmla="*/ 60 h 240"/>
                <a:gd name="T4" fmla="*/ 180 w 240"/>
                <a:gd name="T5" fmla="*/ 0 h 240"/>
                <a:gd name="T6" fmla="*/ 60 w 240"/>
                <a:gd name="T7" fmla="*/ 0 h 240"/>
                <a:gd name="T8" fmla="*/ 0 w 240"/>
                <a:gd name="T9" fmla="*/ 60 h 240"/>
                <a:gd name="T10" fmla="*/ 0 w 240"/>
                <a:gd name="T11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0" h="240">
                  <a:moveTo>
                    <a:pt x="240" y="240"/>
                  </a:moveTo>
                  <a:cubicBezTo>
                    <a:pt x="240" y="60"/>
                    <a:pt x="240" y="60"/>
                    <a:pt x="240" y="60"/>
                  </a:cubicBezTo>
                  <a:cubicBezTo>
                    <a:pt x="240" y="27"/>
                    <a:pt x="213" y="0"/>
                    <a:pt x="18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240"/>
                    <a:pt x="0" y="240"/>
                    <a:pt x="0" y="240"/>
                  </a:cubicBezTo>
                </a:path>
              </a:pathLst>
            </a:custGeom>
            <a:ln w="190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4" name="Line 75">
              <a:extLst>
                <a:ext uri="{FF2B5EF4-FFF2-40B4-BE49-F238E27FC236}">
                  <a16:creationId xmlns:a16="http://schemas.microsoft.com/office/drawing/2014/main" id="{556A95AD-B536-E4F7-0B4C-9D570424FA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331575" y="1376363"/>
              <a:ext cx="3048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5" name="Line 76">
              <a:extLst>
                <a:ext uri="{FF2B5EF4-FFF2-40B4-BE49-F238E27FC236}">
                  <a16:creationId xmlns:a16="http://schemas.microsoft.com/office/drawing/2014/main" id="{9C2AF9FE-72A9-9024-5B55-87C2F432B0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723687" y="1376363"/>
              <a:ext cx="65088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919" name="TextBox 918">
            <a:extLst>
              <a:ext uri="{FF2B5EF4-FFF2-40B4-BE49-F238E27FC236}">
                <a16:creationId xmlns:a16="http://schemas.microsoft.com/office/drawing/2014/main" id="{1C2BEC6B-30DF-C59C-2541-2F32CF61B6D1}"/>
              </a:ext>
            </a:extLst>
          </p:cNvPr>
          <p:cNvSpPr txBox="1"/>
          <p:nvPr/>
        </p:nvSpPr>
        <p:spPr>
          <a:xfrm>
            <a:off x="7306819" y="1376013"/>
            <a:ext cx="1850121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</a:rPr>
              <a:t>African reserves &amp; resources* (in mt)</a:t>
            </a:r>
          </a:p>
        </p:txBody>
      </p:sp>
      <p:sp>
        <p:nvSpPr>
          <p:cNvPr id="920" name="TextBox 919">
            <a:extLst>
              <a:ext uri="{FF2B5EF4-FFF2-40B4-BE49-F238E27FC236}">
                <a16:creationId xmlns:a16="http://schemas.microsoft.com/office/drawing/2014/main" id="{90711B1F-1EB7-E823-8DD5-8E95E1F1580C}"/>
              </a:ext>
            </a:extLst>
          </p:cNvPr>
          <p:cNvSpPr txBox="1"/>
          <p:nvPr/>
        </p:nvSpPr>
        <p:spPr>
          <a:xfrm>
            <a:off x="9834015" y="1591456"/>
            <a:ext cx="1975977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</a:rPr>
              <a:t>% Of world resources</a:t>
            </a:r>
          </a:p>
        </p:txBody>
      </p:sp>
      <p:cxnSp>
        <p:nvCxnSpPr>
          <p:cNvPr id="923" name="Straight Connector 922">
            <a:extLst>
              <a:ext uri="{FF2B5EF4-FFF2-40B4-BE49-F238E27FC236}">
                <a16:creationId xmlns:a16="http://schemas.microsoft.com/office/drawing/2014/main" id="{DDCDC540-1547-4E23-8D15-E9E0D301B2B7}"/>
              </a:ext>
            </a:extLst>
          </p:cNvPr>
          <p:cNvCxnSpPr>
            <a:cxnSpLocks/>
          </p:cNvCxnSpPr>
          <p:nvPr/>
        </p:nvCxnSpPr>
        <p:spPr>
          <a:xfrm>
            <a:off x="7306819" y="1893600"/>
            <a:ext cx="2025645" cy="0"/>
          </a:xfrm>
          <a:prstGeom prst="line">
            <a:avLst/>
          </a:prstGeom>
          <a:ln w="222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4" name="Straight Connector 923">
            <a:extLst>
              <a:ext uri="{FF2B5EF4-FFF2-40B4-BE49-F238E27FC236}">
                <a16:creationId xmlns:a16="http://schemas.microsoft.com/office/drawing/2014/main" id="{52D8F834-8AD0-A39C-1A52-923D59FFED1D}"/>
              </a:ext>
            </a:extLst>
          </p:cNvPr>
          <p:cNvCxnSpPr>
            <a:cxnSpLocks/>
          </p:cNvCxnSpPr>
          <p:nvPr/>
        </p:nvCxnSpPr>
        <p:spPr>
          <a:xfrm>
            <a:off x="9834015" y="1893600"/>
            <a:ext cx="1900785" cy="0"/>
          </a:xfrm>
          <a:prstGeom prst="line">
            <a:avLst/>
          </a:prstGeom>
          <a:ln w="222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2" name="Group 961">
            <a:extLst>
              <a:ext uri="{FF2B5EF4-FFF2-40B4-BE49-F238E27FC236}">
                <a16:creationId xmlns:a16="http://schemas.microsoft.com/office/drawing/2014/main" id="{BD7F67CA-F55B-2C65-A99C-044CD0764D52}"/>
              </a:ext>
            </a:extLst>
          </p:cNvPr>
          <p:cNvGrpSpPr/>
          <p:nvPr/>
        </p:nvGrpSpPr>
        <p:grpSpPr>
          <a:xfrm>
            <a:off x="7306819" y="2022546"/>
            <a:ext cx="1983149" cy="352342"/>
            <a:chOff x="7349315" y="2022546"/>
            <a:chExt cx="1983149" cy="352342"/>
          </a:xfrm>
        </p:grpSpPr>
        <p:sp>
          <p:nvSpPr>
            <p:cNvPr id="933" name="Freeform 285">
              <a:extLst>
                <a:ext uri="{FF2B5EF4-FFF2-40B4-BE49-F238E27FC236}">
                  <a16:creationId xmlns:a16="http://schemas.microsoft.com/office/drawing/2014/main" id="{A61F1369-ABD7-C51F-8503-F18B5A3939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9315" y="2022546"/>
              <a:ext cx="256249" cy="352342"/>
            </a:xfrm>
            <a:custGeom>
              <a:avLst/>
              <a:gdLst>
                <a:gd name="T0" fmla="*/ 39 w 96"/>
                <a:gd name="T1" fmla="*/ 123 h 131"/>
                <a:gd name="T2" fmla="*/ 39 w 96"/>
                <a:gd name="T3" fmla="*/ 123 h 131"/>
                <a:gd name="T4" fmla="*/ 40 w 96"/>
                <a:gd name="T5" fmla="*/ 124 h 131"/>
                <a:gd name="T6" fmla="*/ 40 w 96"/>
                <a:gd name="T7" fmla="*/ 125 h 131"/>
                <a:gd name="T8" fmla="*/ 41 w 96"/>
                <a:gd name="T9" fmla="*/ 125 h 131"/>
                <a:gd name="T10" fmla="*/ 41 w 96"/>
                <a:gd name="T11" fmla="*/ 125 h 131"/>
                <a:gd name="T12" fmla="*/ 42 w 96"/>
                <a:gd name="T13" fmla="*/ 126 h 131"/>
                <a:gd name="T14" fmla="*/ 42 w 96"/>
                <a:gd name="T15" fmla="*/ 126 h 131"/>
                <a:gd name="T16" fmla="*/ 44 w 96"/>
                <a:gd name="T17" fmla="*/ 128 h 131"/>
                <a:gd name="T18" fmla="*/ 44 w 96"/>
                <a:gd name="T19" fmla="*/ 128 h 131"/>
                <a:gd name="T20" fmla="*/ 44 w 96"/>
                <a:gd name="T21" fmla="*/ 128 h 131"/>
                <a:gd name="T22" fmla="*/ 44 w 96"/>
                <a:gd name="T23" fmla="*/ 129 h 131"/>
                <a:gd name="T24" fmla="*/ 45 w 96"/>
                <a:gd name="T25" fmla="*/ 129 h 131"/>
                <a:gd name="T26" fmla="*/ 45 w 96"/>
                <a:gd name="T27" fmla="*/ 129 h 131"/>
                <a:gd name="T28" fmla="*/ 46 w 96"/>
                <a:gd name="T29" fmla="*/ 130 h 131"/>
                <a:gd name="T30" fmla="*/ 46 w 96"/>
                <a:gd name="T31" fmla="*/ 130 h 131"/>
                <a:gd name="T32" fmla="*/ 46 w 96"/>
                <a:gd name="T33" fmla="*/ 130 h 131"/>
                <a:gd name="T34" fmla="*/ 47 w 96"/>
                <a:gd name="T35" fmla="*/ 131 h 131"/>
                <a:gd name="T36" fmla="*/ 47 w 96"/>
                <a:gd name="T37" fmla="*/ 131 h 131"/>
                <a:gd name="T38" fmla="*/ 47 w 96"/>
                <a:gd name="T39" fmla="*/ 131 h 131"/>
                <a:gd name="T40" fmla="*/ 48 w 96"/>
                <a:gd name="T41" fmla="*/ 131 h 131"/>
                <a:gd name="T42" fmla="*/ 48 w 96"/>
                <a:gd name="T43" fmla="*/ 131 h 131"/>
                <a:gd name="T44" fmla="*/ 48 w 96"/>
                <a:gd name="T45" fmla="*/ 131 h 131"/>
                <a:gd name="T46" fmla="*/ 48 w 96"/>
                <a:gd name="T47" fmla="*/ 131 h 131"/>
                <a:gd name="T48" fmla="*/ 48 w 96"/>
                <a:gd name="T49" fmla="*/ 131 h 131"/>
                <a:gd name="T50" fmla="*/ 49 w 96"/>
                <a:gd name="T51" fmla="*/ 131 h 131"/>
                <a:gd name="T52" fmla="*/ 49 w 96"/>
                <a:gd name="T53" fmla="*/ 131 h 131"/>
                <a:gd name="T54" fmla="*/ 49 w 96"/>
                <a:gd name="T55" fmla="*/ 130 h 131"/>
                <a:gd name="T56" fmla="*/ 50 w 96"/>
                <a:gd name="T57" fmla="*/ 130 h 131"/>
                <a:gd name="T58" fmla="*/ 50 w 96"/>
                <a:gd name="T59" fmla="*/ 130 h 131"/>
                <a:gd name="T60" fmla="*/ 51 w 96"/>
                <a:gd name="T61" fmla="*/ 129 h 131"/>
                <a:gd name="T62" fmla="*/ 51 w 96"/>
                <a:gd name="T63" fmla="*/ 129 h 131"/>
                <a:gd name="T64" fmla="*/ 51 w 96"/>
                <a:gd name="T65" fmla="*/ 129 h 131"/>
                <a:gd name="T66" fmla="*/ 51 w 96"/>
                <a:gd name="T67" fmla="*/ 129 h 131"/>
                <a:gd name="T68" fmla="*/ 54 w 96"/>
                <a:gd name="T69" fmla="*/ 126 h 131"/>
                <a:gd name="T70" fmla="*/ 54 w 96"/>
                <a:gd name="T71" fmla="*/ 126 h 131"/>
                <a:gd name="T72" fmla="*/ 57 w 96"/>
                <a:gd name="T73" fmla="*/ 124 h 131"/>
                <a:gd name="T74" fmla="*/ 57 w 96"/>
                <a:gd name="T75" fmla="*/ 123 h 131"/>
                <a:gd name="T76" fmla="*/ 57 w 96"/>
                <a:gd name="T77" fmla="*/ 123 h 131"/>
                <a:gd name="T78" fmla="*/ 96 w 96"/>
                <a:gd name="T79" fmla="*/ 50 h 131"/>
                <a:gd name="T80" fmla="*/ 48 w 96"/>
                <a:gd name="T81" fmla="*/ 0 h 131"/>
                <a:gd name="T82" fmla="*/ 0 w 96"/>
                <a:gd name="T83" fmla="*/ 50 h 131"/>
                <a:gd name="T84" fmla="*/ 39 w 96"/>
                <a:gd name="T85" fmla="*/ 123 h 131"/>
                <a:gd name="T86" fmla="*/ 22 w 96"/>
                <a:gd name="T87" fmla="*/ 49 h 131"/>
                <a:gd name="T88" fmla="*/ 48 w 96"/>
                <a:gd name="T89" fmla="*/ 23 h 131"/>
                <a:gd name="T90" fmla="*/ 74 w 96"/>
                <a:gd name="T91" fmla="*/ 49 h 131"/>
                <a:gd name="T92" fmla="*/ 48 w 96"/>
                <a:gd name="T93" fmla="*/ 75 h 131"/>
                <a:gd name="T94" fmla="*/ 22 w 96"/>
                <a:gd name="T95" fmla="*/ 4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" h="131"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0" y="125"/>
                    <a:pt x="40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6"/>
                    <a:pt x="42" y="126"/>
                    <a:pt x="42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3" y="127"/>
                    <a:pt x="43" y="127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9"/>
                    <a:pt x="44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7" y="130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0"/>
                    <a:pt x="49" y="130"/>
                  </a:cubicBezTo>
                  <a:cubicBezTo>
                    <a:pt x="49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2" y="128"/>
                    <a:pt x="53" y="127"/>
                    <a:pt x="5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5"/>
                    <a:pt x="57" y="124"/>
                  </a:cubicBezTo>
                  <a:cubicBezTo>
                    <a:pt x="57" y="124"/>
                    <a:pt x="57" y="124"/>
                    <a:pt x="57" y="123"/>
                  </a:cubicBezTo>
                  <a:cubicBezTo>
                    <a:pt x="57" y="123"/>
                    <a:pt x="57" y="123"/>
                    <a:pt x="57" y="123"/>
                  </a:cubicBezTo>
                  <a:cubicBezTo>
                    <a:pt x="70" y="109"/>
                    <a:pt x="96" y="79"/>
                    <a:pt x="96" y="50"/>
                  </a:cubicBezTo>
                  <a:cubicBezTo>
                    <a:pt x="96" y="22"/>
                    <a:pt x="73" y="0"/>
                    <a:pt x="48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9"/>
                    <a:pt x="25" y="109"/>
                    <a:pt x="39" y="123"/>
                  </a:cubicBezTo>
                  <a:close/>
                  <a:moveTo>
                    <a:pt x="22" y="49"/>
                  </a:moveTo>
                  <a:cubicBezTo>
                    <a:pt x="22" y="35"/>
                    <a:pt x="34" y="23"/>
                    <a:pt x="48" y="23"/>
                  </a:cubicBezTo>
                  <a:cubicBezTo>
                    <a:pt x="62" y="23"/>
                    <a:pt x="74" y="35"/>
                    <a:pt x="74" y="49"/>
                  </a:cubicBezTo>
                  <a:cubicBezTo>
                    <a:pt x="74" y="63"/>
                    <a:pt x="62" y="75"/>
                    <a:pt x="48" y="75"/>
                  </a:cubicBezTo>
                  <a:cubicBezTo>
                    <a:pt x="34" y="75"/>
                    <a:pt x="22" y="63"/>
                    <a:pt x="22" y="49"/>
                  </a:cubicBezTo>
                  <a:close/>
                </a:path>
              </a:pathLst>
            </a:custGeom>
            <a:solidFill>
              <a:schemeClr val="tx2"/>
            </a:solidFill>
            <a:ln w="5953" cap="flat">
              <a:noFill/>
              <a:prstDash val="solid"/>
              <a:miter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4" name="TextBox 933">
              <a:extLst>
                <a:ext uri="{FF2B5EF4-FFF2-40B4-BE49-F238E27FC236}">
                  <a16:creationId xmlns:a16="http://schemas.microsoft.com/office/drawing/2014/main" id="{3EE0683C-6330-B023-AE4E-494EB0F3A9CC}"/>
                </a:ext>
              </a:extLst>
            </p:cNvPr>
            <p:cNvSpPr txBox="1"/>
            <p:nvPr/>
          </p:nvSpPr>
          <p:spPr>
            <a:xfrm>
              <a:off x="9060989" y="2054644"/>
              <a:ext cx="271475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15</a:t>
              </a:r>
            </a:p>
          </p:txBody>
        </p:sp>
        <p:sp>
          <p:nvSpPr>
            <p:cNvPr id="935" name="TextBox 934">
              <a:extLst>
                <a:ext uri="{FF2B5EF4-FFF2-40B4-BE49-F238E27FC236}">
                  <a16:creationId xmlns:a16="http://schemas.microsoft.com/office/drawing/2014/main" id="{72AFE294-6F49-0497-2FDF-161706698F6B}"/>
                </a:ext>
              </a:extLst>
            </p:cNvPr>
            <p:cNvSpPr txBox="1"/>
            <p:nvPr/>
          </p:nvSpPr>
          <p:spPr>
            <a:xfrm>
              <a:off x="7726046" y="2054644"/>
              <a:ext cx="628945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Cobalt</a:t>
              </a:r>
            </a:p>
          </p:txBody>
        </p:sp>
      </p:grpSp>
      <p:grpSp>
        <p:nvGrpSpPr>
          <p:cNvPr id="968" name="Group 967">
            <a:extLst>
              <a:ext uri="{FF2B5EF4-FFF2-40B4-BE49-F238E27FC236}">
                <a16:creationId xmlns:a16="http://schemas.microsoft.com/office/drawing/2014/main" id="{7F44276B-AF10-1EF4-F9A1-C3FBE28ADF7A}"/>
              </a:ext>
            </a:extLst>
          </p:cNvPr>
          <p:cNvGrpSpPr/>
          <p:nvPr/>
        </p:nvGrpSpPr>
        <p:grpSpPr>
          <a:xfrm>
            <a:off x="7306819" y="2668332"/>
            <a:ext cx="1983149" cy="352342"/>
            <a:chOff x="7349315" y="2668332"/>
            <a:chExt cx="1983149" cy="352342"/>
          </a:xfrm>
        </p:grpSpPr>
        <p:sp>
          <p:nvSpPr>
            <p:cNvPr id="938" name="Freeform 285">
              <a:extLst>
                <a:ext uri="{FF2B5EF4-FFF2-40B4-BE49-F238E27FC236}">
                  <a16:creationId xmlns:a16="http://schemas.microsoft.com/office/drawing/2014/main" id="{F2D41DBA-9F7D-0119-9219-03F1280E9B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9315" y="2668332"/>
              <a:ext cx="256249" cy="352342"/>
            </a:xfrm>
            <a:custGeom>
              <a:avLst/>
              <a:gdLst>
                <a:gd name="T0" fmla="*/ 39 w 96"/>
                <a:gd name="T1" fmla="*/ 123 h 131"/>
                <a:gd name="T2" fmla="*/ 39 w 96"/>
                <a:gd name="T3" fmla="*/ 123 h 131"/>
                <a:gd name="T4" fmla="*/ 40 w 96"/>
                <a:gd name="T5" fmla="*/ 124 h 131"/>
                <a:gd name="T6" fmla="*/ 40 w 96"/>
                <a:gd name="T7" fmla="*/ 125 h 131"/>
                <a:gd name="T8" fmla="*/ 41 w 96"/>
                <a:gd name="T9" fmla="*/ 125 h 131"/>
                <a:gd name="T10" fmla="*/ 41 w 96"/>
                <a:gd name="T11" fmla="*/ 125 h 131"/>
                <a:gd name="T12" fmla="*/ 42 w 96"/>
                <a:gd name="T13" fmla="*/ 126 h 131"/>
                <a:gd name="T14" fmla="*/ 42 w 96"/>
                <a:gd name="T15" fmla="*/ 126 h 131"/>
                <a:gd name="T16" fmla="*/ 44 w 96"/>
                <a:gd name="T17" fmla="*/ 128 h 131"/>
                <a:gd name="T18" fmla="*/ 44 w 96"/>
                <a:gd name="T19" fmla="*/ 128 h 131"/>
                <a:gd name="T20" fmla="*/ 44 w 96"/>
                <a:gd name="T21" fmla="*/ 128 h 131"/>
                <a:gd name="T22" fmla="*/ 44 w 96"/>
                <a:gd name="T23" fmla="*/ 129 h 131"/>
                <a:gd name="T24" fmla="*/ 45 w 96"/>
                <a:gd name="T25" fmla="*/ 129 h 131"/>
                <a:gd name="T26" fmla="*/ 45 w 96"/>
                <a:gd name="T27" fmla="*/ 129 h 131"/>
                <a:gd name="T28" fmla="*/ 46 w 96"/>
                <a:gd name="T29" fmla="*/ 130 h 131"/>
                <a:gd name="T30" fmla="*/ 46 w 96"/>
                <a:gd name="T31" fmla="*/ 130 h 131"/>
                <a:gd name="T32" fmla="*/ 46 w 96"/>
                <a:gd name="T33" fmla="*/ 130 h 131"/>
                <a:gd name="T34" fmla="*/ 47 w 96"/>
                <a:gd name="T35" fmla="*/ 131 h 131"/>
                <a:gd name="T36" fmla="*/ 47 w 96"/>
                <a:gd name="T37" fmla="*/ 131 h 131"/>
                <a:gd name="T38" fmla="*/ 47 w 96"/>
                <a:gd name="T39" fmla="*/ 131 h 131"/>
                <a:gd name="T40" fmla="*/ 48 w 96"/>
                <a:gd name="T41" fmla="*/ 131 h 131"/>
                <a:gd name="T42" fmla="*/ 48 w 96"/>
                <a:gd name="T43" fmla="*/ 131 h 131"/>
                <a:gd name="T44" fmla="*/ 48 w 96"/>
                <a:gd name="T45" fmla="*/ 131 h 131"/>
                <a:gd name="T46" fmla="*/ 48 w 96"/>
                <a:gd name="T47" fmla="*/ 131 h 131"/>
                <a:gd name="T48" fmla="*/ 48 w 96"/>
                <a:gd name="T49" fmla="*/ 131 h 131"/>
                <a:gd name="T50" fmla="*/ 49 w 96"/>
                <a:gd name="T51" fmla="*/ 131 h 131"/>
                <a:gd name="T52" fmla="*/ 49 w 96"/>
                <a:gd name="T53" fmla="*/ 131 h 131"/>
                <a:gd name="T54" fmla="*/ 49 w 96"/>
                <a:gd name="T55" fmla="*/ 130 h 131"/>
                <a:gd name="T56" fmla="*/ 50 w 96"/>
                <a:gd name="T57" fmla="*/ 130 h 131"/>
                <a:gd name="T58" fmla="*/ 50 w 96"/>
                <a:gd name="T59" fmla="*/ 130 h 131"/>
                <a:gd name="T60" fmla="*/ 51 w 96"/>
                <a:gd name="T61" fmla="*/ 129 h 131"/>
                <a:gd name="T62" fmla="*/ 51 w 96"/>
                <a:gd name="T63" fmla="*/ 129 h 131"/>
                <a:gd name="T64" fmla="*/ 51 w 96"/>
                <a:gd name="T65" fmla="*/ 129 h 131"/>
                <a:gd name="T66" fmla="*/ 51 w 96"/>
                <a:gd name="T67" fmla="*/ 129 h 131"/>
                <a:gd name="T68" fmla="*/ 54 w 96"/>
                <a:gd name="T69" fmla="*/ 126 h 131"/>
                <a:gd name="T70" fmla="*/ 54 w 96"/>
                <a:gd name="T71" fmla="*/ 126 h 131"/>
                <a:gd name="T72" fmla="*/ 57 w 96"/>
                <a:gd name="T73" fmla="*/ 124 h 131"/>
                <a:gd name="T74" fmla="*/ 57 w 96"/>
                <a:gd name="T75" fmla="*/ 123 h 131"/>
                <a:gd name="T76" fmla="*/ 57 w 96"/>
                <a:gd name="T77" fmla="*/ 123 h 131"/>
                <a:gd name="T78" fmla="*/ 96 w 96"/>
                <a:gd name="T79" fmla="*/ 50 h 131"/>
                <a:gd name="T80" fmla="*/ 48 w 96"/>
                <a:gd name="T81" fmla="*/ 0 h 131"/>
                <a:gd name="T82" fmla="*/ 0 w 96"/>
                <a:gd name="T83" fmla="*/ 50 h 131"/>
                <a:gd name="T84" fmla="*/ 39 w 96"/>
                <a:gd name="T85" fmla="*/ 123 h 131"/>
                <a:gd name="T86" fmla="*/ 22 w 96"/>
                <a:gd name="T87" fmla="*/ 49 h 131"/>
                <a:gd name="T88" fmla="*/ 48 w 96"/>
                <a:gd name="T89" fmla="*/ 23 h 131"/>
                <a:gd name="T90" fmla="*/ 74 w 96"/>
                <a:gd name="T91" fmla="*/ 49 h 131"/>
                <a:gd name="T92" fmla="*/ 48 w 96"/>
                <a:gd name="T93" fmla="*/ 75 h 131"/>
                <a:gd name="T94" fmla="*/ 22 w 96"/>
                <a:gd name="T95" fmla="*/ 4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" h="131"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0" y="125"/>
                    <a:pt x="40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6"/>
                    <a:pt x="42" y="126"/>
                    <a:pt x="42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3" y="127"/>
                    <a:pt x="43" y="127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9"/>
                    <a:pt x="44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7" y="130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0"/>
                    <a:pt x="49" y="130"/>
                  </a:cubicBezTo>
                  <a:cubicBezTo>
                    <a:pt x="49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2" y="128"/>
                    <a:pt x="53" y="127"/>
                    <a:pt x="5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5"/>
                    <a:pt x="57" y="124"/>
                  </a:cubicBezTo>
                  <a:cubicBezTo>
                    <a:pt x="57" y="124"/>
                    <a:pt x="57" y="124"/>
                    <a:pt x="57" y="123"/>
                  </a:cubicBezTo>
                  <a:cubicBezTo>
                    <a:pt x="57" y="123"/>
                    <a:pt x="57" y="123"/>
                    <a:pt x="57" y="123"/>
                  </a:cubicBezTo>
                  <a:cubicBezTo>
                    <a:pt x="70" y="109"/>
                    <a:pt x="96" y="79"/>
                    <a:pt x="96" y="50"/>
                  </a:cubicBezTo>
                  <a:cubicBezTo>
                    <a:pt x="96" y="22"/>
                    <a:pt x="73" y="0"/>
                    <a:pt x="48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9"/>
                    <a:pt x="25" y="109"/>
                    <a:pt x="39" y="123"/>
                  </a:cubicBezTo>
                  <a:close/>
                  <a:moveTo>
                    <a:pt x="22" y="49"/>
                  </a:moveTo>
                  <a:cubicBezTo>
                    <a:pt x="22" y="35"/>
                    <a:pt x="34" y="23"/>
                    <a:pt x="48" y="23"/>
                  </a:cubicBezTo>
                  <a:cubicBezTo>
                    <a:pt x="62" y="23"/>
                    <a:pt x="74" y="35"/>
                    <a:pt x="74" y="49"/>
                  </a:cubicBezTo>
                  <a:cubicBezTo>
                    <a:pt x="74" y="63"/>
                    <a:pt x="62" y="75"/>
                    <a:pt x="48" y="75"/>
                  </a:cubicBezTo>
                  <a:cubicBezTo>
                    <a:pt x="34" y="75"/>
                    <a:pt x="22" y="63"/>
                    <a:pt x="22" y="49"/>
                  </a:cubicBezTo>
                  <a:close/>
                </a:path>
              </a:pathLst>
            </a:custGeom>
            <a:solidFill>
              <a:schemeClr val="accent1"/>
            </a:solidFill>
            <a:ln w="5953" cap="flat">
              <a:noFill/>
              <a:prstDash val="solid"/>
              <a:miter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9" name="TextBox 938">
              <a:extLst>
                <a:ext uri="{FF2B5EF4-FFF2-40B4-BE49-F238E27FC236}">
                  <a16:creationId xmlns:a16="http://schemas.microsoft.com/office/drawing/2014/main" id="{36C9A45C-F881-875F-6784-AB0ECB660403}"/>
                </a:ext>
              </a:extLst>
            </p:cNvPr>
            <p:cNvSpPr txBox="1"/>
            <p:nvPr/>
          </p:nvSpPr>
          <p:spPr>
            <a:xfrm>
              <a:off x="8961602" y="2700430"/>
              <a:ext cx="370862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230</a:t>
              </a:r>
            </a:p>
          </p:txBody>
        </p:sp>
        <p:sp>
          <p:nvSpPr>
            <p:cNvPr id="940" name="TextBox 939">
              <a:extLst>
                <a:ext uri="{FF2B5EF4-FFF2-40B4-BE49-F238E27FC236}">
                  <a16:creationId xmlns:a16="http://schemas.microsoft.com/office/drawing/2014/main" id="{2ED6A92D-7CDE-7A5B-8884-6BF25F067233}"/>
                </a:ext>
              </a:extLst>
            </p:cNvPr>
            <p:cNvSpPr txBox="1"/>
            <p:nvPr/>
          </p:nvSpPr>
          <p:spPr>
            <a:xfrm>
              <a:off x="7726046" y="2700430"/>
              <a:ext cx="699478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Copper</a:t>
              </a:r>
            </a:p>
          </p:txBody>
        </p:sp>
      </p:grpSp>
      <p:grpSp>
        <p:nvGrpSpPr>
          <p:cNvPr id="967" name="Group 966">
            <a:extLst>
              <a:ext uri="{FF2B5EF4-FFF2-40B4-BE49-F238E27FC236}">
                <a16:creationId xmlns:a16="http://schemas.microsoft.com/office/drawing/2014/main" id="{0B562C45-E6C8-501B-FF15-C67DE035E121}"/>
              </a:ext>
            </a:extLst>
          </p:cNvPr>
          <p:cNvGrpSpPr/>
          <p:nvPr/>
        </p:nvGrpSpPr>
        <p:grpSpPr>
          <a:xfrm>
            <a:off x="7306819" y="3314118"/>
            <a:ext cx="1983149" cy="352342"/>
            <a:chOff x="7349315" y="3314118"/>
            <a:chExt cx="1983149" cy="352342"/>
          </a:xfrm>
        </p:grpSpPr>
        <p:sp>
          <p:nvSpPr>
            <p:cNvPr id="942" name="Freeform 285">
              <a:extLst>
                <a:ext uri="{FF2B5EF4-FFF2-40B4-BE49-F238E27FC236}">
                  <a16:creationId xmlns:a16="http://schemas.microsoft.com/office/drawing/2014/main" id="{6BB961B7-7510-B767-265E-D631075D9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9315" y="3314118"/>
              <a:ext cx="256249" cy="352342"/>
            </a:xfrm>
            <a:custGeom>
              <a:avLst/>
              <a:gdLst>
                <a:gd name="T0" fmla="*/ 39 w 96"/>
                <a:gd name="T1" fmla="*/ 123 h 131"/>
                <a:gd name="T2" fmla="*/ 39 w 96"/>
                <a:gd name="T3" fmla="*/ 123 h 131"/>
                <a:gd name="T4" fmla="*/ 40 w 96"/>
                <a:gd name="T5" fmla="*/ 124 h 131"/>
                <a:gd name="T6" fmla="*/ 40 w 96"/>
                <a:gd name="T7" fmla="*/ 125 h 131"/>
                <a:gd name="T8" fmla="*/ 41 w 96"/>
                <a:gd name="T9" fmla="*/ 125 h 131"/>
                <a:gd name="T10" fmla="*/ 41 w 96"/>
                <a:gd name="T11" fmla="*/ 125 h 131"/>
                <a:gd name="T12" fmla="*/ 42 w 96"/>
                <a:gd name="T13" fmla="*/ 126 h 131"/>
                <a:gd name="T14" fmla="*/ 42 w 96"/>
                <a:gd name="T15" fmla="*/ 126 h 131"/>
                <a:gd name="T16" fmla="*/ 44 w 96"/>
                <a:gd name="T17" fmla="*/ 128 h 131"/>
                <a:gd name="T18" fmla="*/ 44 w 96"/>
                <a:gd name="T19" fmla="*/ 128 h 131"/>
                <a:gd name="T20" fmla="*/ 44 w 96"/>
                <a:gd name="T21" fmla="*/ 128 h 131"/>
                <a:gd name="T22" fmla="*/ 44 w 96"/>
                <a:gd name="T23" fmla="*/ 129 h 131"/>
                <a:gd name="T24" fmla="*/ 45 w 96"/>
                <a:gd name="T25" fmla="*/ 129 h 131"/>
                <a:gd name="T26" fmla="*/ 45 w 96"/>
                <a:gd name="T27" fmla="*/ 129 h 131"/>
                <a:gd name="T28" fmla="*/ 46 w 96"/>
                <a:gd name="T29" fmla="*/ 130 h 131"/>
                <a:gd name="T30" fmla="*/ 46 w 96"/>
                <a:gd name="T31" fmla="*/ 130 h 131"/>
                <a:gd name="T32" fmla="*/ 46 w 96"/>
                <a:gd name="T33" fmla="*/ 130 h 131"/>
                <a:gd name="T34" fmla="*/ 47 w 96"/>
                <a:gd name="T35" fmla="*/ 131 h 131"/>
                <a:gd name="T36" fmla="*/ 47 w 96"/>
                <a:gd name="T37" fmla="*/ 131 h 131"/>
                <a:gd name="T38" fmla="*/ 47 w 96"/>
                <a:gd name="T39" fmla="*/ 131 h 131"/>
                <a:gd name="T40" fmla="*/ 48 w 96"/>
                <a:gd name="T41" fmla="*/ 131 h 131"/>
                <a:gd name="T42" fmla="*/ 48 w 96"/>
                <a:gd name="T43" fmla="*/ 131 h 131"/>
                <a:gd name="T44" fmla="*/ 48 w 96"/>
                <a:gd name="T45" fmla="*/ 131 h 131"/>
                <a:gd name="T46" fmla="*/ 48 w 96"/>
                <a:gd name="T47" fmla="*/ 131 h 131"/>
                <a:gd name="T48" fmla="*/ 48 w 96"/>
                <a:gd name="T49" fmla="*/ 131 h 131"/>
                <a:gd name="T50" fmla="*/ 49 w 96"/>
                <a:gd name="T51" fmla="*/ 131 h 131"/>
                <a:gd name="T52" fmla="*/ 49 w 96"/>
                <a:gd name="T53" fmla="*/ 131 h 131"/>
                <a:gd name="T54" fmla="*/ 49 w 96"/>
                <a:gd name="T55" fmla="*/ 130 h 131"/>
                <a:gd name="T56" fmla="*/ 50 w 96"/>
                <a:gd name="T57" fmla="*/ 130 h 131"/>
                <a:gd name="T58" fmla="*/ 50 w 96"/>
                <a:gd name="T59" fmla="*/ 130 h 131"/>
                <a:gd name="T60" fmla="*/ 51 w 96"/>
                <a:gd name="T61" fmla="*/ 129 h 131"/>
                <a:gd name="T62" fmla="*/ 51 w 96"/>
                <a:gd name="T63" fmla="*/ 129 h 131"/>
                <a:gd name="T64" fmla="*/ 51 w 96"/>
                <a:gd name="T65" fmla="*/ 129 h 131"/>
                <a:gd name="T66" fmla="*/ 51 w 96"/>
                <a:gd name="T67" fmla="*/ 129 h 131"/>
                <a:gd name="T68" fmla="*/ 54 w 96"/>
                <a:gd name="T69" fmla="*/ 126 h 131"/>
                <a:gd name="T70" fmla="*/ 54 w 96"/>
                <a:gd name="T71" fmla="*/ 126 h 131"/>
                <a:gd name="T72" fmla="*/ 57 w 96"/>
                <a:gd name="T73" fmla="*/ 124 h 131"/>
                <a:gd name="T74" fmla="*/ 57 w 96"/>
                <a:gd name="T75" fmla="*/ 123 h 131"/>
                <a:gd name="T76" fmla="*/ 57 w 96"/>
                <a:gd name="T77" fmla="*/ 123 h 131"/>
                <a:gd name="T78" fmla="*/ 96 w 96"/>
                <a:gd name="T79" fmla="*/ 50 h 131"/>
                <a:gd name="T80" fmla="*/ 48 w 96"/>
                <a:gd name="T81" fmla="*/ 0 h 131"/>
                <a:gd name="T82" fmla="*/ 0 w 96"/>
                <a:gd name="T83" fmla="*/ 50 h 131"/>
                <a:gd name="T84" fmla="*/ 39 w 96"/>
                <a:gd name="T85" fmla="*/ 123 h 131"/>
                <a:gd name="T86" fmla="*/ 22 w 96"/>
                <a:gd name="T87" fmla="*/ 49 h 131"/>
                <a:gd name="T88" fmla="*/ 48 w 96"/>
                <a:gd name="T89" fmla="*/ 23 h 131"/>
                <a:gd name="T90" fmla="*/ 74 w 96"/>
                <a:gd name="T91" fmla="*/ 49 h 131"/>
                <a:gd name="T92" fmla="*/ 48 w 96"/>
                <a:gd name="T93" fmla="*/ 75 h 131"/>
                <a:gd name="T94" fmla="*/ 22 w 96"/>
                <a:gd name="T95" fmla="*/ 4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" h="131"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0" y="125"/>
                    <a:pt x="40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6"/>
                    <a:pt x="42" y="126"/>
                    <a:pt x="42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3" y="127"/>
                    <a:pt x="43" y="127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9"/>
                    <a:pt x="44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7" y="130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0"/>
                    <a:pt x="49" y="130"/>
                  </a:cubicBezTo>
                  <a:cubicBezTo>
                    <a:pt x="49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2" y="128"/>
                    <a:pt x="53" y="127"/>
                    <a:pt x="5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5"/>
                    <a:pt x="57" y="124"/>
                  </a:cubicBezTo>
                  <a:cubicBezTo>
                    <a:pt x="57" y="124"/>
                    <a:pt x="57" y="124"/>
                    <a:pt x="57" y="123"/>
                  </a:cubicBezTo>
                  <a:cubicBezTo>
                    <a:pt x="57" y="123"/>
                    <a:pt x="57" y="123"/>
                    <a:pt x="57" y="123"/>
                  </a:cubicBezTo>
                  <a:cubicBezTo>
                    <a:pt x="70" y="109"/>
                    <a:pt x="96" y="79"/>
                    <a:pt x="96" y="50"/>
                  </a:cubicBezTo>
                  <a:cubicBezTo>
                    <a:pt x="96" y="22"/>
                    <a:pt x="73" y="0"/>
                    <a:pt x="48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9"/>
                    <a:pt x="25" y="109"/>
                    <a:pt x="39" y="123"/>
                  </a:cubicBezTo>
                  <a:close/>
                  <a:moveTo>
                    <a:pt x="22" y="49"/>
                  </a:moveTo>
                  <a:cubicBezTo>
                    <a:pt x="22" y="35"/>
                    <a:pt x="34" y="23"/>
                    <a:pt x="48" y="23"/>
                  </a:cubicBezTo>
                  <a:cubicBezTo>
                    <a:pt x="62" y="23"/>
                    <a:pt x="74" y="35"/>
                    <a:pt x="74" y="49"/>
                  </a:cubicBezTo>
                  <a:cubicBezTo>
                    <a:pt x="74" y="63"/>
                    <a:pt x="62" y="75"/>
                    <a:pt x="48" y="75"/>
                  </a:cubicBezTo>
                  <a:cubicBezTo>
                    <a:pt x="34" y="75"/>
                    <a:pt x="22" y="63"/>
                    <a:pt x="22" y="49"/>
                  </a:cubicBezTo>
                  <a:close/>
                </a:path>
              </a:pathLst>
            </a:custGeom>
            <a:solidFill>
              <a:schemeClr val="accent3"/>
            </a:solidFill>
            <a:ln w="5953" cap="flat">
              <a:noFill/>
              <a:prstDash val="solid"/>
              <a:miter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3" name="TextBox 942">
              <a:extLst>
                <a:ext uri="{FF2B5EF4-FFF2-40B4-BE49-F238E27FC236}">
                  <a16:creationId xmlns:a16="http://schemas.microsoft.com/office/drawing/2014/main" id="{605B7AD1-D864-B848-5E26-7CA38C8E4737}"/>
                </a:ext>
              </a:extLst>
            </p:cNvPr>
            <p:cNvSpPr txBox="1"/>
            <p:nvPr/>
          </p:nvSpPr>
          <p:spPr>
            <a:xfrm>
              <a:off x="8961602" y="3346216"/>
              <a:ext cx="370862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460</a:t>
              </a:r>
            </a:p>
          </p:txBody>
        </p:sp>
        <p:sp>
          <p:nvSpPr>
            <p:cNvPr id="944" name="TextBox 943">
              <a:extLst>
                <a:ext uri="{FF2B5EF4-FFF2-40B4-BE49-F238E27FC236}">
                  <a16:creationId xmlns:a16="http://schemas.microsoft.com/office/drawing/2014/main" id="{2DD33363-0F19-B500-D28D-8FA8F6B2C74A}"/>
                </a:ext>
              </a:extLst>
            </p:cNvPr>
            <p:cNvSpPr txBox="1"/>
            <p:nvPr/>
          </p:nvSpPr>
          <p:spPr>
            <a:xfrm>
              <a:off x="7726046" y="3346216"/>
              <a:ext cx="808482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Graphite</a:t>
              </a:r>
            </a:p>
          </p:txBody>
        </p:sp>
      </p:grpSp>
      <p:grpSp>
        <p:nvGrpSpPr>
          <p:cNvPr id="966" name="Group 965">
            <a:extLst>
              <a:ext uri="{FF2B5EF4-FFF2-40B4-BE49-F238E27FC236}">
                <a16:creationId xmlns:a16="http://schemas.microsoft.com/office/drawing/2014/main" id="{CF95949F-11F0-2BAC-CE43-53D4ED52AB4B}"/>
              </a:ext>
            </a:extLst>
          </p:cNvPr>
          <p:cNvGrpSpPr/>
          <p:nvPr/>
        </p:nvGrpSpPr>
        <p:grpSpPr>
          <a:xfrm>
            <a:off x="7306819" y="3959904"/>
            <a:ext cx="1983149" cy="352342"/>
            <a:chOff x="7349315" y="3959904"/>
            <a:chExt cx="1983149" cy="352342"/>
          </a:xfrm>
        </p:grpSpPr>
        <p:sp>
          <p:nvSpPr>
            <p:cNvPr id="946" name="Freeform 285">
              <a:extLst>
                <a:ext uri="{FF2B5EF4-FFF2-40B4-BE49-F238E27FC236}">
                  <a16:creationId xmlns:a16="http://schemas.microsoft.com/office/drawing/2014/main" id="{D27B0A9E-B92F-9F6D-7EB4-FBA540AD0B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9315" y="3959904"/>
              <a:ext cx="256249" cy="352342"/>
            </a:xfrm>
            <a:custGeom>
              <a:avLst/>
              <a:gdLst>
                <a:gd name="T0" fmla="*/ 39 w 96"/>
                <a:gd name="T1" fmla="*/ 123 h 131"/>
                <a:gd name="T2" fmla="*/ 39 w 96"/>
                <a:gd name="T3" fmla="*/ 123 h 131"/>
                <a:gd name="T4" fmla="*/ 40 w 96"/>
                <a:gd name="T5" fmla="*/ 124 h 131"/>
                <a:gd name="T6" fmla="*/ 40 w 96"/>
                <a:gd name="T7" fmla="*/ 125 h 131"/>
                <a:gd name="T8" fmla="*/ 41 w 96"/>
                <a:gd name="T9" fmla="*/ 125 h 131"/>
                <a:gd name="T10" fmla="*/ 41 w 96"/>
                <a:gd name="T11" fmla="*/ 125 h 131"/>
                <a:gd name="T12" fmla="*/ 42 w 96"/>
                <a:gd name="T13" fmla="*/ 126 h 131"/>
                <a:gd name="T14" fmla="*/ 42 w 96"/>
                <a:gd name="T15" fmla="*/ 126 h 131"/>
                <a:gd name="T16" fmla="*/ 44 w 96"/>
                <a:gd name="T17" fmla="*/ 128 h 131"/>
                <a:gd name="T18" fmla="*/ 44 w 96"/>
                <a:gd name="T19" fmla="*/ 128 h 131"/>
                <a:gd name="T20" fmla="*/ 44 w 96"/>
                <a:gd name="T21" fmla="*/ 128 h 131"/>
                <a:gd name="T22" fmla="*/ 44 w 96"/>
                <a:gd name="T23" fmla="*/ 129 h 131"/>
                <a:gd name="T24" fmla="*/ 45 w 96"/>
                <a:gd name="T25" fmla="*/ 129 h 131"/>
                <a:gd name="T26" fmla="*/ 45 w 96"/>
                <a:gd name="T27" fmla="*/ 129 h 131"/>
                <a:gd name="T28" fmla="*/ 46 w 96"/>
                <a:gd name="T29" fmla="*/ 130 h 131"/>
                <a:gd name="T30" fmla="*/ 46 w 96"/>
                <a:gd name="T31" fmla="*/ 130 h 131"/>
                <a:gd name="T32" fmla="*/ 46 w 96"/>
                <a:gd name="T33" fmla="*/ 130 h 131"/>
                <a:gd name="T34" fmla="*/ 47 w 96"/>
                <a:gd name="T35" fmla="*/ 131 h 131"/>
                <a:gd name="T36" fmla="*/ 47 w 96"/>
                <a:gd name="T37" fmla="*/ 131 h 131"/>
                <a:gd name="T38" fmla="*/ 47 w 96"/>
                <a:gd name="T39" fmla="*/ 131 h 131"/>
                <a:gd name="T40" fmla="*/ 48 w 96"/>
                <a:gd name="T41" fmla="*/ 131 h 131"/>
                <a:gd name="T42" fmla="*/ 48 w 96"/>
                <a:gd name="T43" fmla="*/ 131 h 131"/>
                <a:gd name="T44" fmla="*/ 48 w 96"/>
                <a:gd name="T45" fmla="*/ 131 h 131"/>
                <a:gd name="T46" fmla="*/ 48 w 96"/>
                <a:gd name="T47" fmla="*/ 131 h 131"/>
                <a:gd name="T48" fmla="*/ 48 w 96"/>
                <a:gd name="T49" fmla="*/ 131 h 131"/>
                <a:gd name="T50" fmla="*/ 49 w 96"/>
                <a:gd name="T51" fmla="*/ 131 h 131"/>
                <a:gd name="T52" fmla="*/ 49 w 96"/>
                <a:gd name="T53" fmla="*/ 131 h 131"/>
                <a:gd name="T54" fmla="*/ 49 w 96"/>
                <a:gd name="T55" fmla="*/ 130 h 131"/>
                <a:gd name="T56" fmla="*/ 50 w 96"/>
                <a:gd name="T57" fmla="*/ 130 h 131"/>
                <a:gd name="T58" fmla="*/ 50 w 96"/>
                <a:gd name="T59" fmla="*/ 130 h 131"/>
                <a:gd name="T60" fmla="*/ 51 w 96"/>
                <a:gd name="T61" fmla="*/ 129 h 131"/>
                <a:gd name="T62" fmla="*/ 51 w 96"/>
                <a:gd name="T63" fmla="*/ 129 h 131"/>
                <a:gd name="T64" fmla="*/ 51 w 96"/>
                <a:gd name="T65" fmla="*/ 129 h 131"/>
                <a:gd name="T66" fmla="*/ 51 w 96"/>
                <a:gd name="T67" fmla="*/ 129 h 131"/>
                <a:gd name="T68" fmla="*/ 54 w 96"/>
                <a:gd name="T69" fmla="*/ 126 h 131"/>
                <a:gd name="T70" fmla="*/ 54 w 96"/>
                <a:gd name="T71" fmla="*/ 126 h 131"/>
                <a:gd name="T72" fmla="*/ 57 w 96"/>
                <a:gd name="T73" fmla="*/ 124 h 131"/>
                <a:gd name="T74" fmla="*/ 57 w 96"/>
                <a:gd name="T75" fmla="*/ 123 h 131"/>
                <a:gd name="T76" fmla="*/ 57 w 96"/>
                <a:gd name="T77" fmla="*/ 123 h 131"/>
                <a:gd name="T78" fmla="*/ 96 w 96"/>
                <a:gd name="T79" fmla="*/ 50 h 131"/>
                <a:gd name="T80" fmla="*/ 48 w 96"/>
                <a:gd name="T81" fmla="*/ 0 h 131"/>
                <a:gd name="T82" fmla="*/ 0 w 96"/>
                <a:gd name="T83" fmla="*/ 50 h 131"/>
                <a:gd name="T84" fmla="*/ 39 w 96"/>
                <a:gd name="T85" fmla="*/ 123 h 131"/>
                <a:gd name="T86" fmla="*/ 22 w 96"/>
                <a:gd name="T87" fmla="*/ 49 h 131"/>
                <a:gd name="T88" fmla="*/ 48 w 96"/>
                <a:gd name="T89" fmla="*/ 23 h 131"/>
                <a:gd name="T90" fmla="*/ 74 w 96"/>
                <a:gd name="T91" fmla="*/ 49 h 131"/>
                <a:gd name="T92" fmla="*/ 48 w 96"/>
                <a:gd name="T93" fmla="*/ 75 h 131"/>
                <a:gd name="T94" fmla="*/ 22 w 96"/>
                <a:gd name="T95" fmla="*/ 4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" h="131"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0" y="125"/>
                    <a:pt x="40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6"/>
                    <a:pt x="42" y="126"/>
                    <a:pt x="42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3" y="127"/>
                    <a:pt x="43" y="127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9"/>
                    <a:pt x="44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7" y="130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0"/>
                    <a:pt x="49" y="130"/>
                  </a:cubicBezTo>
                  <a:cubicBezTo>
                    <a:pt x="49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2" y="128"/>
                    <a:pt x="53" y="127"/>
                    <a:pt x="5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5"/>
                    <a:pt x="57" y="124"/>
                  </a:cubicBezTo>
                  <a:cubicBezTo>
                    <a:pt x="57" y="124"/>
                    <a:pt x="57" y="124"/>
                    <a:pt x="57" y="123"/>
                  </a:cubicBezTo>
                  <a:cubicBezTo>
                    <a:pt x="57" y="123"/>
                    <a:pt x="57" y="123"/>
                    <a:pt x="57" y="123"/>
                  </a:cubicBezTo>
                  <a:cubicBezTo>
                    <a:pt x="70" y="109"/>
                    <a:pt x="96" y="79"/>
                    <a:pt x="96" y="50"/>
                  </a:cubicBezTo>
                  <a:cubicBezTo>
                    <a:pt x="96" y="22"/>
                    <a:pt x="73" y="0"/>
                    <a:pt x="48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9"/>
                    <a:pt x="25" y="109"/>
                    <a:pt x="39" y="123"/>
                  </a:cubicBezTo>
                  <a:close/>
                  <a:moveTo>
                    <a:pt x="22" y="49"/>
                  </a:moveTo>
                  <a:cubicBezTo>
                    <a:pt x="22" y="35"/>
                    <a:pt x="34" y="23"/>
                    <a:pt x="48" y="23"/>
                  </a:cubicBezTo>
                  <a:cubicBezTo>
                    <a:pt x="62" y="23"/>
                    <a:pt x="74" y="35"/>
                    <a:pt x="74" y="49"/>
                  </a:cubicBezTo>
                  <a:cubicBezTo>
                    <a:pt x="74" y="63"/>
                    <a:pt x="62" y="75"/>
                    <a:pt x="48" y="75"/>
                  </a:cubicBezTo>
                  <a:cubicBezTo>
                    <a:pt x="34" y="75"/>
                    <a:pt x="22" y="63"/>
                    <a:pt x="22" y="49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5953" cap="flat">
              <a:noFill/>
              <a:prstDash val="solid"/>
              <a:miter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7" name="TextBox 946">
              <a:extLst>
                <a:ext uri="{FF2B5EF4-FFF2-40B4-BE49-F238E27FC236}">
                  <a16:creationId xmlns:a16="http://schemas.microsoft.com/office/drawing/2014/main" id="{A462FB8B-5A7F-138C-41DA-99361CEF3AC1}"/>
                </a:ext>
              </a:extLst>
            </p:cNvPr>
            <p:cNvSpPr txBox="1"/>
            <p:nvPr/>
          </p:nvSpPr>
          <p:spPr>
            <a:xfrm>
              <a:off x="9070863" y="3992002"/>
              <a:ext cx="261601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11</a:t>
              </a:r>
            </a:p>
          </p:txBody>
        </p:sp>
        <p:sp>
          <p:nvSpPr>
            <p:cNvPr id="948" name="TextBox 947">
              <a:extLst>
                <a:ext uri="{FF2B5EF4-FFF2-40B4-BE49-F238E27FC236}">
                  <a16:creationId xmlns:a16="http://schemas.microsoft.com/office/drawing/2014/main" id="{ABDFE907-60C2-D3C6-4CEE-0FF8CDD236A1}"/>
                </a:ext>
              </a:extLst>
            </p:cNvPr>
            <p:cNvSpPr txBox="1"/>
            <p:nvPr/>
          </p:nvSpPr>
          <p:spPr>
            <a:xfrm>
              <a:off x="7726046" y="3992002"/>
              <a:ext cx="718714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Lithium</a:t>
              </a:r>
            </a:p>
          </p:txBody>
        </p:sp>
      </p:grpSp>
      <p:grpSp>
        <p:nvGrpSpPr>
          <p:cNvPr id="965" name="Group 964">
            <a:extLst>
              <a:ext uri="{FF2B5EF4-FFF2-40B4-BE49-F238E27FC236}">
                <a16:creationId xmlns:a16="http://schemas.microsoft.com/office/drawing/2014/main" id="{2EFB431F-0352-804D-85AF-7903E7642E6C}"/>
              </a:ext>
            </a:extLst>
          </p:cNvPr>
          <p:cNvGrpSpPr/>
          <p:nvPr/>
        </p:nvGrpSpPr>
        <p:grpSpPr>
          <a:xfrm>
            <a:off x="7306819" y="4605690"/>
            <a:ext cx="1983149" cy="352342"/>
            <a:chOff x="7349315" y="4605690"/>
            <a:chExt cx="1983149" cy="352342"/>
          </a:xfrm>
        </p:grpSpPr>
        <p:sp>
          <p:nvSpPr>
            <p:cNvPr id="950" name="Freeform 285">
              <a:extLst>
                <a:ext uri="{FF2B5EF4-FFF2-40B4-BE49-F238E27FC236}">
                  <a16:creationId xmlns:a16="http://schemas.microsoft.com/office/drawing/2014/main" id="{3438D854-B878-86F0-6D83-A3B0F71A9A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9315" y="4605690"/>
              <a:ext cx="256249" cy="352342"/>
            </a:xfrm>
            <a:custGeom>
              <a:avLst/>
              <a:gdLst>
                <a:gd name="T0" fmla="*/ 39 w 96"/>
                <a:gd name="T1" fmla="*/ 123 h 131"/>
                <a:gd name="T2" fmla="*/ 39 w 96"/>
                <a:gd name="T3" fmla="*/ 123 h 131"/>
                <a:gd name="T4" fmla="*/ 40 w 96"/>
                <a:gd name="T5" fmla="*/ 124 h 131"/>
                <a:gd name="T6" fmla="*/ 40 w 96"/>
                <a:gd name="T7" fmla="*/ 125 h 131"/>
                <a:gd name="T8" fmla="*/ 41 w 96"/>
                <a:gd name="T9" fmla="*/ 125 h 131"/>
                <a:gd name="T10" fmla="*/ 41 w 96"/>
                <a:gd name="T11" fmla="*/ 125 h 131"/>
                <a:gd name="T12" fmla="*/ 42 w 96"/>
                <a:gd name="T13" fmla="*/ 126 h 131"/>
                <a:gd name="T14" fmla="*/ 42 w 96"/>
                <a:gd name="T15" fmla="*/ 126 h 131"/>
                <a:gd name="T16" fmla="*/ 44 w 96"/>
                <a:gd name="T17" fmla="*/ 128 h 131"/>
                <a:gd name="T18" fmla="*/ 44 w 96"/>
                <a:gd name="T19" fmla="*/ 128 h 131"/>
                <a:gd name="T20" fmla="*/ 44 w 96"/>
                <a:gd name="T21" fmla="*/ 128 h 131"/>
                <a:gd name="T22" fmla="*/ 44 w 96"/>
                <a:gd name="T23" fmla="*/ 129 h 131"/>
                <a:gd name="T24" fmla="*/ 45 w 96"/>
                <a:gd name="T25" fmla="*/ 129 h 131"/>
                <a:gd name="T26" fmla="*/ 45 w 96"/>
                <a:gd name="T27" fmla="*/ 129 h 131"/>
                <a:gd name="T28" fmla="*/ 46 w 96"/>
                <a:gd name="T29" fmla="*/ 130 h 131"/>
                <a:gd name="T30" fmla="*/ 46 w 96"/>
                <a:gd name="T31" fmla="*/ 130 h 131"/>
                <a:gd name="T32" fmla="*/ 46 w 96"/>
                <a:gd name="T33" fmla="*/ 130 h 131"/>
                <a:gd name="T34" fmla="*/ 47 w 96"/>
                <a:gd name="T35" fmla="*/ 131 h 131"/>
                <a:gd name="T36" fmla="*/ 47 w 96"/>
                <a:gd name="T37" fmla="*/ 131 h 131"/>
                <a:gd name="T38" fmla="*/ 47 w 96"/>
                <a:gd name="T39" fmla="*/ 131 h 131"/>
                <a:gd name="T40" fmla="*/ 48 w 96"/>
                <a:gd name="T41" fmla="*/ 131 h 131"/>
                <a:gd name="T42" fmla="*/ 48 w 96"/>
                <a:gd name="T43" fmla="*/ 131 h 131"/>
                <a:gd name="T44" fmla="*/ 48 w 96"/>
                <a:gd name="T45" fmla="*/ 131 h 131"/>
                <a:gd name="T46" fmla="*/ 48 w 96"/>
                <a:gd name="T47" fmla="*/ 131 h 131"/>
                <a:gd name="T48" fmla="*/ 48 w 96"/>
                <a:gd name="T49" fmla="*/ 131 h 131"/>
                <a:gd name="T50" fmla="*/ 49 w 96"/>
                <a:gd name="T51" fmla="*/ 131 h 131"/>
                <a:gd name="T52" fmla="*/ 49 w 96"/>
                <a:gd name="T53" fmla="*/ 131 h 131"/>
                <a:gd name="T54" fmla="*/ 49 w 96"/>
                <a:gd name="T55" fmla="*/ 130 h 131"/>
                <a:gd name="T56" fmla="*/ 50 w 96"/>
                <a:gd name="T57" fmla="*/ 130 h 131"/>
                <a:gd name="T58" fmla="*/ 50 w 96"/>
                <a:gd name="T59" fmla="*/ 130 h 131"/>
                <a:gd name="T60" fmla="*/ 51 w 96"/>
                <a:gd name="T61" fmla="*/ 129 h 131"/>
                <a:gd name="T62" fmla="*/ 51 w 96"/>
                <a:gd name="T63" fmla="*/ 129 h 131"/>
                <a:gd name="T64" fmla="*/ 51 w 96"/>
                <a:gd name="T65" fmla="*/ 129 h 131"/>
                <a:gd name="T66" fmla="*/ 51 w 96"/>
                <a:gd name="T67" fmla="*/ 129 h 131"/>
                <a:gd name="T68" fmla="*/ 54 w 96"/>
                <a:gd name="T69" fmla="*/ 126 h 131"/>
                <a:gd name="T70" fmla="*/ 54 w 96"/>
                <a:gd name="T71" fmla="*/ 126 h 131"/>
                <a:gd name="T72" fmla="*/ 57 w 96"/>
                <a:gd name="T73" fmla="*/ 124 h 131"/>
                <a:gd name="T74" fmla="*/ 57 w 96"/>
                <a:gd name="T75" fmla="*/ 123 h 131"/>
                <a:gd name="T76" fmla="*/ 57 w 96"/>
                <a:gd name="T77" fmla="*/ 123 h 131"/>
                <a:gd name="T78" fmla="*/ 96 w 96"/>
                <a:gd name="T79" fmla="*/ 50 h 131"/>
                <a:gd name="T80" fmla="*/ 48 w 96"/>
                <a:gd name="T81" fmla="*/ 0 h 131"/>
                <a:gd name="T82" fmla="*/ 0 w 96"/>
                <a:gd name="T83" fmla="*/ 50 h 131"/>
                <a:gd name="T84" fmla="*/ 39 w 96"/>
                <a:gd name="T85" fmla="*/ 123 h 131"/>
                <a:gd name="T86" fmla="*/ 22 w 96"/>
                <a:gd name="T87" fmla="*/ 49 h 131"/>
                <a:gd name="T88" fmla="*/ 48 w 96"/>
                <a:gd name="T89" fmla="*/ 23 h 131"/>
                <a:gd name="T90" fmla="*/ 74 w 96"/>
                <a:gd name="T91" fmla="*/ 49 h 131"/>
                <a:gd name="T92" fmla="*/ 48 w 96"/>
                <a:gd name="T93" fmla="*/ 75 h 131"/>
                <a:gd name="T94" fmla="*/ 22 w 96"/>
                <a:gd name="T95" fmla="*/ 4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" h="131"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0" y="125"/>
                    <a:pt x="40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6"/>
                    <a:pt x="42" y="126"/>
                    <a:pt x="42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3" y="127"/>
                    <a:pt x="43" y="127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9"/>
                    <a:pt x="44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7" y="130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0"/>
                    <a:pt x="49" y="130"/>
                  </a:cubicBezTo>
                  <a:cubicBezTo>
                    <a:pt x="49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2" y="128"/>
                    <a:pt x="53" y="127"/>
                    <a:pt x="5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5"/>
                    <a:pt x="57" y="124"/>
                  </a:cubicBezTo>
                  <a:cubicBezTo>
                    <a:pt x="57" y="124"/>
                    <a:pt x="57" y="124"/>
                    <a:pt x="57" y="123"/>
                  </a:cubicBezTo>
                  <a:cubicBezTo>
                    <a:pt x="57" y="123"/>
                    <a:pt x="57" y="123"/>
                    <a:pt x="57" y="123"/>
                  </a:cubicBezTo>
                  <a:cubicBezTo>
                    <a:pt x="70" y="109"/>
                    <a:pt x="96" y="79"/>
                    <a:pt x="96" y="50"/>
                  </a:cubicBezTo>
                  <a:cubicBezTo>
                    <a:pt x="96" y="22"/>
                    <a:pt x="73" y="0"/>
                    <a:pt x="48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9"/>
                    <a:pt x="25" y="109"/>
                    <a:pt x="39" y="123"/>
                  </a:cubicBezTo>
                  <a:close/>
                  <a:moveTo>
                    <a:pt x="22" y="49"/>
                  </a:moveTo>
                  <a:cubicBezTo>
                    <a:pt x="22" y="35"/>
                    <a:pt x="34" y="23"/>
                    <a:pt x="48" y="23"/>
                  </a:cubicBezTo>
                  <a:cubicBezTo>
                    <a:pt x="62" y="23"/>
                    <a:pt x="74" y="35"/>
                    <a:pt x="74" y="49"/>
                  </a:cubicBezTo>
                  <a:cubicBezTo>
                    <a:pt x="74" y="63"/>
                    <a:pt x="62" y="75"/>
                    <a:pt x="48" y="75"/>
                  </a:cubicBezTo>
                  <a:cubicBezTo>
                    <a:pt x="34" y="75"/>
                    <a:pt x="22" y="63"/>
                    <a:pt x="22" y="49"/>
                  </a:cubicBezTo>
                  <a:close/>
                </a:path>
              </a:pathLst>
            </a:custGeom>
            <a:solidFill>
              <a:schemeClr val="accent4"/>
            </a:solidFill>
            <a:ln w="5953" cap="flat">
              <a:noFill/>
              <a:prstDash val="solid"/>
              <a:miter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1" name="TextBox 950">
              <a:extLst>
                <a:ext uri="{FF2B5EF4-FFF2-40B4-BE49-F238E27FC236}">
                  <a16:creationId xmlns:a16="http://schemas.microsoft.com/office/drawing/2014/main" id="{C78A81C3-3C06-6BAF-3073-69A47510F88C}"/>
                </a:ext>
              </a:extLst>
            </p:cNvPr>
            <p:cNvSpPr txBox="1"/>
            <p:nvPr/>
          </p:nvSpPr>
          <p:spPr>
            <a:xfrm>
              <a:off x="8862216" y="4637788"/>
              <a:ext cx="470248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2600</a:t>
              </a:r>
            </a:p>
          </p:txBody>
        </p:sp>
        <p:sp>
          <p:nvSpPr>
            <p:cNvPr id="952" name="TextBox 951">
              <a:extLst>
                <a:ext uri="{FF2B5EF4-FFF2-40B4-BE49-F238E27FC236}">
                  <a16:creationId xmlns:a16="http://schemas.microsoft.com/office/drawing/2014/main" id="{DE4A117A-0F66-1831-E7B1-BACF07B56033}"/>
                </a:ext>
              </a:extLst>
            </p:cNvPr>
            <p:cNvSpPr txBox="1"/>
            <p:nvPr/>
          </p:nvSpPr>
          <p:spPr>
            <a:xfrm>
              <a:off x="7726046" y="4637788"/>
              <a:ext cx="1045726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Manganese</a:t>
              </a:r>
            </a:p>
          </p:txBody>
        </p:sp>
      </p:grpSp>
      <p:grpSp>
        <p:nvGrpSpPr>
          <p:cNvPr id="964" name="Group 963">
            <a:extLst>
              <a:ext uri="{FF2B5EF4-FFF2-40B4-BE49-F238E27FC236}">
                <a16:creationId xmlns:a16="http://schemas.microsoft.com/office/drawing/2014/main" id="{EC2E2E01-C9EF-5678-B533-DFD016B0E6A1}"/>
              </a:ext>
            </a:extLst>
          </p:cNvPr>
          <p:cNvGrpSpPr/>
          <p:nvPr/>
        </p:nvGrpSpPr>
        <p:grpSpPr>
          <a:xfrm>
            <a:off x="7306819" y="5251476"/>
            <a:ext cx="1983149" cy="352342"/>
            <a:chOff x="7349315" y="5251476"/>
            <a:chExt cx="1983149" cy="352342"/>
          </a:xfrm>
        </p:grpSpPr>
        <p:sp>
          <p:nvSpPr>
            <p:cNvPr id="954" name="Freeform 285">
              <a:extLst>
                <a:ext uri="{FF2B5EF4-FFF2-40B4-BE49-F238E27FC236}">
                  <a16:creationId xmlns:a16="http://schemas.microsoft.com/office/drawing/2014/main" id="{AB8B3A44-76EF-3A7D-EA55-E3D1557DB0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9315" y="5251476"/>
              <a:ext cx="256249" cy="352342"/>
            </a:xfrm>
            <a:custGeom>
              <a:avLst/>
              <a:gdLst>
                <a:gd name="T0" fmla="*/ 39 w 96"/>
                <a:gd name="T1" fmla="*/ 123 h 131"/>
                <a:gd name="T2" fmla="*/ 39 w 96"/>
                <a:gd name="T3" fmla="*/ 123 h 131"/>
                <a:gd name="T4" fmla="*/ 40 w 96"/>
                <a:gd name="T5" fmla="*/ 124 h 131"/>
                <a:gd name="T6" fmla="*/ 40 w 96"/>
                <a:gd name="T7" fmla="*/ 125 h 131"/>
                <a:gd name="T8" fmla="*/ 41 w 96"/>
                <a:gd name="T9" fmla="*/ 125 h 131"/>
                <a:gd name="T10" fmla="*/ 41 w 96"/>
                <a:gd name="T11" fmla="*/ 125 h 131"/>
                <a:gd name="T12" fmla="*/ 42 w 96"/>
                <a:gd name="T13" fmla="*/ 126 h 131"/>
                <a:gd name="T14" fmla="*/ 42 w 96"/>
                <a:gd name="T15" fmla="*/ 126 h 131"/>
                <a:gd name="T16" fmla="*/ 44 w 96"/>
                <a:gd name="T17" fmla="*/ 128 h 131"/>
                <a:gd name="T18" fmla="*/ 44 w 96"/>
                <a:gd name="T19" fmla="*/ 128 h 131"/>
                <a:gd name="T20" fmla="*/ 44 w 96"/>
                <a:gd name="T21" fmla="*/ 128 h 131"/>
                <a:gd name="T22" fmla="*/ 44 w 96"/>
                <a:gd name="T23" fmla="*/ 129 h 131"/>
                <a:gd name="T24" fmla="*/ 45 w 96"/>
                <a:gd name="T25" fmla="*/ 129 h 131"/>
                <a:gd name="T26" fmla="*/ 45 w 96"/>
                <a:gd name="T27" fmla="*/ 129 h 131"/>
                <a:gd name="T28" fmla="*/ 46 w 96"/>
                <a:gd name="T29" fmla="*/ 130 h 131"/>
                <a:gd name="T30" fmla="*/ 46 w 96"/>
                <a:gd name="T31" fmla="*/ 130 h 131"/>
                <a:gd name="T32" fmla="*/ 46 w 96"/>
                <a:gd name="T33" fmla="*/ 130 h 131"/>
                <a:gd name="T34" fmla="*/ 47 w 96"/>
                <a:gd name="T35" fmla="*/ 131 h 131"/>
                <a:gd name="T36" fmla="*/ 47 w 96"/>
                <a:gd name="T37" fmla="*/ 131 h 131"/>
                <a:gd name="T38" fmla="*/ 47 w 96"/>
                <a:gd name="T39" fmla="*/ 131 h 131"/>
                <a:gd name="T40" fmla="*/ 48 w 96"/>
                <a:gd name="T41" fmla="*/ 131 h 131"/>
                <a:gd name="T42" fmla="*/ 48 w 96"/>
                <a:gd name="T43" fmla="*/ 131 h 131"/>
                <a:gd name="T44" fmla="*/ 48 w 96"/>
                <a:gd name="T45" fmla="*/ 131 h 131"/>
                <a:gd name="T46" fmla="*/ 48 w 96"/>
                <a:gd name="T47" fmla="*/ 131 h 131"/>
                <a:gd name="T48" fmla="*/ 48 w 96"/>
                <a:gd name="T49" fmla="*/ 131 h 131"/>
                <a:gd name="T50" fmla="*/ 49 w 96"/>
                <a:gd name="T51" fmla="*/ 131 h 131"/>
                <a:gd name="T52" fmla="*/ 49 w 96"/>
                <a:gd name="T53" fmla="*/ 131 h 131"/>
                <a:gd name="T54" fmla="*/ 49 w 96"/>
                <a:gd name="T55" fmla="*/ 130 h 131"/>
                <a:gd name="T56" fmla="*/ 50 w 96"/>
                <a:gd name="T57" fmla="*/ 130 h 131"/>
                <a:gd name="T58" fmla="*/ 50 w 96"/>
                <a:gd name="T59" fmla="*/ 130 h 131"/>
                <a:gd name="T60" fmla="*/ 51 w 96"/>
                <a:gd name="T61" fmla="*/ 129 h 131"/>
                <a:gd name="T62" fmla="*/ 51 w 96"/>
                <a:gd name="T63" fmla="*/ 129 h 131"/>
                <a:gd name="T64" fmla="*/ 51 w 96"/>
                <a:gd name="T65" fmla="*/ 129 h 131"/>
                <a:gd name="T66" fmla="*/ 51 w 96"/>
                <a:gd name="T67" fmla="*/ 129 h 131"/>
                <a:gd name="T68" fmla="*/ 54 w 96"/>
                <a:gd name="T69" fmla="*/ 126 h 131"/>
                <a:gd name="T70" fmla="*/ 54 w 96"/>
                <a:gd name="T71" fmla="*/ 126 h 131"/>
                <a:gd name="T72" fmla="*/ 57 w 96"/>
                <a:gd name="T73" fmla="*/ 124 h 131"/>
                <a:gd name="T74" fmla="*/ 57 w 96"/>
                <a:gd name="T75" fmla="*/ 123 h 131"/>
                <a:gd name="T76" fmla="*/ 57 w 96"/>
                <a:gd name="T77" fmla="*/ 123 h 131"/>
                <a:gd name="T78" fmla="*/ 96 w 96"/>
                <a:gd name="T79" fmla="*/ 50 h 131"/>
                <a:gd name="T80" fmla="*/ 48 w 96"/>
                <a:gd name="T81" fmla="*/ 0 h 131"/>
                <a:gd name="T82" fmla="*/ 0 w 96"/>
                <a:gd name="T83" fmla="*/ 50 h 131"/>
                <a:gd name="T84" fmla="*/ 39 w 96"/>
                <a:gd name="T85" fmla="*/ 123 h 131"/>
                <a:gd name="T86" fmla="*/ 22 w 96"/>
                <a:gd name="T87" fmla="*/ 49 h 131"/>
                <a:gd name="T88" fmla="*/ 48 w 96"/>
                <a:gd name="T89" fmla="*/ 23 h 131"/>
                <a:gd name="T90" fmla="*/ 74 w 96"/>
                <a:gd name="T91" fmla="*/ 49 h 131"/>
                <a:gd name="T92" fmla="*/ 48 w 96"/>
                <a:gd name="T93" fmla="*/ 75 h 131"/>
                <a:gd name="T94" fmla="*/ 22 w 96"/>
                <a:gd name="T95" fmla="*/ 4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" h="131"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0" y="125"/>
                    <a:pt x="40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6"/>
                    <a:pt x="42" y="126"/>
                    <a:pt x="42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3" y="127"/>
                    <a:pt x="43" y="127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9"/>
                    <a:pt x="44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7" y="130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0"/>
                    <a:pt x="49" y="130"/>
                  </a:cubicBezTo>
                  <a:cubicBezTo>
                    <a:pt x="49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2" y="128"/>
                    <a:pt x="53" y="127"/>
                    <a:pt x="5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5"/>
                    <a:pt x="57" y="124"/>
                  </a:cubicBezTo>
                  <a:cubicBezTo>
                    <a:pt x="57" y="124"/>
                    <a:pt x="57" y="124"/>
                    <a:pt x="57" y="123"/>
                  </a:cubicBezTo>
                  <a:cubicBezTo>
                    <a:pt x="57" y="123"/>
                    <a:pt x="57" y="123"/>
                    <a:pt x="57" y="123"/>
                  </a:cubicBezTo>
                  <a:cubicBezTo>
                    <a:pt x="70" y="109"/>
                    <a:pt x="96" y="79"/>
                    <a:pt x="96" y="50"/>
                  </a:cubicBezTo>
                  <a:cubicBezTo>
                    <a:pt x="96" y="22"/>
                    <a:pt x="73" y="0"/>
                    <a:pt x="48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9"/>
                    <a:pt x="25" y="109"/>
                    <a:pt x="39" y="123"/>
                  </a:cubicBezTo>
                  <a:close/>
                  <a:moveTo>
                    <a:pt x="22" y="49"/>
                  </a:moveTo>
                  <a:cubicBezTo>
                    <a:pt x="22" y="35"/>
                    <a:pt x="34" y="23"/>
                    <a:pt x="48" y="23"/>
                  </a:cubicBezTo>
                  <a:cubicBezTo>
                    <a:pt x="62" y="23"/>
                    <a:pt x="74" y="35"/>
                    <a:pt x="74" y="49"/>
                  </a:cubicBezTo>
                  <a:cubicBezTo>
                    <a:pt x="74" y="63"/>
                    <a:pt x="62" y="75"/>
                    <a:pt x="48" y="75"/>
                  </a:cubicBezTo>
                  <a:cubicBezTo>
                    <a:pt x="34" y="75"/>
                    <a:pt x="22" y="63"/>
                    <a:pt x="22" y="49"/>
                  </a:cubicBezTo>
                  <a:close/>
                </a:path>
              </a:pathLst>
            </a:custGeom>
            <a:solidFill>
              <a:schemeClr val="accent5"/>
            </a:solidFill>
            <a:ln w="5953" cap="flat">
              <a:noFill/>
              <a:prstDash val="solid"/>
              <a:miter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5" name="TextBox 954">
              <a:extLst>
                <a:ext uri="{FF2B5EF4-FFF2-40B4-BE49-F238E27FC236}">
                  <a16:creationId xmlns:a16="http://schemas.microsoft.com/office/drawing/2014/main" id="{80F7398D-53C8-F5ED-A1EB-76488871F1C1}"/>
                </a:ext>
              </a:extLst>
            </p:cNvPr>
            <p:cNvSpPr txBox="1"/>
            <p:nvPr/>
          </p:nvSpPr>
          <p:spPr>
            <a:xfrm>
              <a:off x="9060989" y="5283574"/>
              <a:ext cx="271475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32</a:t>
              </a:r>
            </a:p>
          </p:txBody>
        </p:sp>
        <p:sp>
          <p:nvSpPr>
            <p:cNvPr id="956" name="TextBox 955">
              <a:extLst>
                <a:ext uri="{FF2B5EF4-FFF2-40B4-BE49-F238E27FC236}">
                  <a16:creationId xmlns:a16="http://schemas.microsoft.com/office/drawing/2014/main" id="{544D4AD9-A101-B50D-6577-C43B828771ED}"/>
                </a:ext>
              </a:extLst>
            </p:cNvPr>
            <p:cNvSpPr txBox="1"/>
            <p:nvPr/>
          </p:nvSpPr>
          <p:spPr>
            <a:xfrm>
              <a:off x="7726046" y="5283574"/>
              <a:ext cx="600091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Nickel</a:t>
              </a:r>
            </a:p>
          </p:txBody>
        </p:sp>
      </p:grpSp>
      <p:grpSp>
        <p:nvGrpSpPr>
          <p:cNvPr id="963" name="Group 962">
            <a:extLst>
              <a:ext uri="{FF2B5EF4-FFF2-40B4-BE49-F238E27FC236}">
                <a16:creationId xmlns:a16="http://schemas.microsoft.com/office/drawing/2014/main" id="{A1BC406D-36D7-1F58-3470-C88C5E51505A}"/>
              </a:ext>
            </a:extLst>
          </p:cNvPr>
          <p:cNvGrpSpPr/>
          <p:nvPr/>
        </p:nvGrpSpPr>
        <p:grpSpPr>
          <a:xfrm>
            <a:off x="7306819" y="5897259"/>
            <a:ext cx="1983149" cy="352342"/>
            <a:chOff x="7349315" y="5897259"/>
            <a:chExt cx="1983149" cy="352342"/>
          </a:xfrm>
        </p:grpSpPr>
        <p:sp>
          <p:nvSpPr>
            <p:cNvPr id="958" name="Freeform 285">
              <a:extLst>
                <a:ext uri="{FF2B5EF4-FFF2-40B4-BE49-F238E27FC236}">
                  <a16:creationId xmlns:a16="http://schemas.microsoft.com/office/drawing/2014/main" id="{B33EA955-EEFA-0224-1C07-797A489EA1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9315" y="5897259"/>
              <a:ext cx="256249" cy="352342"/>
            </a:xfrm>
            <a:custGeom>
              <a:avLst/>
              <a:gdLst>
                <a:gd name="T0" fmla="*/ 39 w 96"/>
                <a:gd name="T1" fmla="*/ 123 h 131"/>
                <a:gd name="T2" fmla="*/ 39 w 96"/>
                <a:gd name="T3" fmla="*/ 123 h 131"/>
                <a:gd name="T4" fmla="*/ 40 w 96"/>
                <a:gd name="T5" fmla="*/ 124 h 131"/>
                <a:gd name="T6" fmla="*/ 40 w 96"/>
                <a:gd name="T7" fmla="*/ 125 h 131"/>
                <a:gd name="T8" fmla="*/ 41 w 96"/>
                <a:gd name="T9" fmla="*/ 125 h 131"/>
                <a:gd name="T10" fmla="*/ 41 w 96"/>
                <a:gd name="T11" fmla="*/ 125 h 131"/>
                <a:gd name="T12" fmla="*/ 42 w 96"/>
                <a:gd name="T13" fmla="*/ 126 h 131"/>
                <a:gd name="T14" fmla="*/ 42 w 96"/>
                <a:gd name="T15" fmla="*/ 126 h 131"/>
                <a:gd name="T16" fmla="*/ 44 w 96"/>
                <a:gd name="T17" fmla="*/ 128 h 131"/>
                <a:gd name="T18" fmla="*/ 44 w 96"/>
                <a:gd name="T19" fmla="*/ 128 h 131"/>
                <a:gd name="T20" fmla="*/ 44 w 96"/>
                <a:gd name="T21" fmla="*/ 128 h 131"/>
                <a:gd name="T22" fmla="*/ 44 w 96"/>
                <a:gd name="T23" fmla="*/ 129 h 131"/>
                <a:gd name="T24" fmla="*/ 45 w 96"/>
                <a:gd name="T25" fmla="*/ 129 h 131"/>
                <a:gd name="T26" fmla="*/ 45 w 96"/>
                <a:gd name="T27" fmla="*/ 129 h 131"/>
                <a:gd name="T28" fmla="*/ 46 w 96"/>
                <a:gd name="T29" fmla="*/ 130 h 131"/>
                <a:gd name="T30" fmla="*/ 46 w 96"/>
                <a:gd name="T31" fmla="*/ 130 h 131"/>
                <a:gd name="T32" fmla="*/ 46 w 96"/>
                <a:gd name="T33" fmla="*/ 130 h 131"/>
                <a:gd name="T34" fmla="*/ 47 w 96"/>
                <a:gd name="T35" fmla="*/ 131 h 131"/>
                <a:gd name="T36" fmla="*/ 47 w 96"/>
                <a:gd name="T37" fmla="*/ 131 h 131"/>
                <a:gd name="T38" fmla="*/ 47 w 96"/>
                <a:gd name="T39" fmla="*/ 131 h 131"/>
                <a:gd name="T40" fmla="*/ 48 w 96"/>
                <a:gd name="T41" fmla="*/ 131 h 131"/>
                <a:gd name="T42" fmla="*/ 48 w 96"/>
                <a:gd name="T43" fmla="*/ 131 h 131"/>
                <a:gd name="T44" fmla="*/ 48 w 96"/>
                <a:gd name="T45" fmla="*/ 131 h 131"/>
                <a:gd name="T46" fmla="*/ 48 w 96"/>
                <a:gd name="T47" fmla="*/ 131 h 131"/>
                <a:gd name="T48" fmla="*/ 48 w 96"/>
                <a:gd name="T49" fmla="*/ 131 h 131"/>
                <a:gd name="T50" fmla="*/ 49 w 96"/>
                <a:gd name="T51" fmla="*/ 131 h 131"/>
                <a:gd name="T52" fmla="*/ 49 w 96"/>
                <a:gd name="T53" fmla="*/ 131 h 131"/>
                <a:gd name="T54" fmla="*/ 49 w 96"/>
                <a:gd name="T55" fmla="*/ 130 h 131"/>
                <a:gd name="T56" fmla="*/ 50 w 96"/>
                <a:gd name="T57" fmla="*/ 130 h 131"/>
                <a:gd name="T58" fmla="*/ 50 w 96"/>
                <a:gd name="T59" fmla="*/ 130 h 131"/>
                <a:gd name="T60" fmla="*/ 51 w 96"/>
                <a:gd name="T61" fmla="*/ 129 h 131"/>
                <a:gd name="T62" fmla="*/ 51 w 96"/>
                <a:gd name="T63" fmla="*/ 129 h 131"/>
                <a:gd name="T64" fmla="*/ 51 w 96"/>
                <a:gd name="T65" fmla="*/ 129 h 131"/>
                <a:gd name="T66" fmla="*/ 51 w 96"/>
                <a:gd name="T67" fmla="*/ 129 h 131"/>
                <a:gd name="T68" fmla="*/ 54 w 96"/>
                <a:gd name="T69" fmla="*/ 126 h 131"/>
                <a:gd name="T70" fmla="*/ 54 w 96"/>
                <a:gd name="T71" fmla="*/ 126 h 131"/>
                <a:gd name="T72" fmla="*/ 57 w 96"/>
                <a:gd name="T73" fmla="*/ 124 h 131"/>
                <a:gd name="T74" fmla="*/ 57 w 96"/>
                <a:gd name="T75" fmla="*/ 123 h 131"/>
                <a:gd name="T76" fmla="*/ 57 w 96"/>
                <a:gd name="T77" fmla="*/ 123 h 131"/>
                <a:gd name="T78" fmla="*/ 96 w 96"/>
                <a:gd name="T79" fmla="*/ 50 h 131"/>
                <a:gd name="T80" fmla="*/ 48 w 96"/>
                <a:gd name="T81" fmla="*/ 0 h 131"/>
                <a:gd name="T82" fmla="*/ 0 w 96"/>
                <a:gd name="T83" fmla="*/ 50 h 131"/>
                <a:gd name="T84" fmla="*/ 39 w 96"/>
                <a:gd name="T85" fmla="*/ 123 h 131"/>
                <a:gd name="T86" fmla="*/ 22 w 96"/>
                <a:gd name="T87" fmla="*/ 49 h 131"/>
                <a:gd name="T88" fmla="*/ 48 w 96"/>
                <a:gd name="T89" fmla="*/ 23 h 131"/>
                <a:gd name="T90" fmla="*/ 74 w 96"/>
                <a:gd name="T91" fmla="*/ 49 h 131"/>
                <a:gd name="T92" fmla="*/ 48 w 96"/>
                <a:gd name="T93" fmla="*/ 75 h 131"/>
                <a:gd name="T94" fmla="*/ 22 w 96"/>
                <a:gd name="T95" fmla="*/ 4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" h="131"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0" y="125"/>
                    <a:pt x="40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1" y="126"/>
                    <a:pt x="42" y="126"/>
                    <a:pt x="42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3" y="127"/>
                    <a:pt x="43" y="127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9"/>
                    <a:pt x="44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6" y="130"/>
                    <a:pt x="47" y="130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8" y="131"/>
                    <a:pt x="48" y="131"/>
                    <a:pt x="48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1"/>
                    <a:pt x="49" y="131"/>
                  </a:cubicBezTo>
                  <a:cubicBezTo>
                    <a:pt x="49" y="131"/>
                    <a:pt x="49" y="130"/>
                    <a:pt x="49" y="130"/>
                  </a:cubicBezTo>
                  <a:cubicBezTo>
                    <a:pt x="49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50" y="130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52" y="128"/>
                    <a:pt x="53" y="127"/>
                    <a:pt x="5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5" y="126"/>
                    <a:pt x="56" y="125"/>
                    <a:pt x="57" y="124"/>
                  </a:cubicBezTo>
                  <a:cubicBezTo>
                    <a:pt x="57" y="124"/>
                    <a:pt x="57" y="124"/>
                    <a:pt x="57" y="123"/>
                  </a:cubicBezTo>
                  <a:cubicBezTo>
                    <a:pt x="57" y="123"/>
                    <a:pt x="57" y="123"/>
                    <a:pt x="57" y="123"/>
                  </a:cubicBezTo>
                  <a:cubicBezTo>
                    <a:pt x="70" y="109"/>
                    <a:pt x="96" y="79"/>
                    <a:pt x="96" y="50"/>
                  </a:cubicBezTo>
                  <a:cubicBezTo>
                    <a:pt x="96" y="22"/>
                    <a:pt x="73" y="0"/>
                    <a:pt x="48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9"/>
                    <a:pt x="25" y="109"/>
                    <a:pt x="39" y="123"/>
                  </a:cubicBezTo>
                  <a:close/>
                  <a:moveTo>
                    <a:pt x="22" y="49"/>
                  </a:moveTo>
                  <a:cubicBezTo>
                    <a:pt x="22" y="35"/>
                    <a:pt x="34" y="23"/>
                    <a:pt x="48" y="23"/>
                  </a:cubicBezTo>
                  <a:cubicBezTo>
                    <a:pt x="62" y="23"/>
                    <a:pt x="74" y="35"/>
                    <a:pt x="74" y="49"/>
                  </a:cubicBezTo>
                  <a:cubicBezTo>
                    <a:pt x="74" y="63"/>
                    <a:pt x="62" y="75"/>
                    <a:pt x="48" y="75"/>
                  </a:cubicBezTo>
                  <a:cubicBezTo>
                    <a:pt x="34" y="75"/>
                    <a:pt x="22" y="63"/>
                    <a:pt x="22" y="49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5953" cap="flat">
              <a:noFill/>
              <a:prstDash val="solid"/>
              <a:miter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9" name="TextBox 958">
              <a:extLst>
                <a:ext uri="{FF2B5EF4-FFF2-40B4-BE49-F238E27FC236}">
                  <a16:creationId xmlns:a16="http://schemas.microsoft.com/office/drawing/2014/main" id="{E0A3BC86-D2B5-C65E-BA0C-44C4C75A201B}"/>
                </a:ext>
              </a:extLst>
            </p:cNvPr>
            <p:cNvSpPr txBox="1"/>
            <p:nvPr/>
          </p:nvSpPr>
          <p:spPr>
            <a:xfrm>
              <a:off x="8762830" y="5929357"/>
              <a:ext cx="569634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47500</a:t>
              </a:r>
            </a:p>
          </p:txBody>
        </p:sp>
        <p:sp>
          <p:nvSpPr>
            <p:cNvPr id="960" name="TextBox 959">
              <a:extLst>
                <a:ext uri="{FF2B5EF4-FFF2-40B4-BE49-F238E27FC236}">
                  <a16:creationId xmlns:a16="http://schemas.microsoft.com/office/drawing/2014/main" id="{30CA29C6-BC05-A769-908E-EA6D203B951F}"/>
                </a:ext>
              </a:extLst>
            </p:cNvPr>
            <p:cNvSpPr txBox="1"/>
            <p:nvPr/>
          </p:nvSpPr>
          <p:spPr>
            <a:xfrm>
              <a:off x="7726046" y="5929357"/>
              <a:ext cx="986415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Lato" panose="020F0502020204030203" pitchFamily="34" charset="0"/>
                  <a:cs typeface="Arial" panose="020B0604020202020204" pitchFamily="34" charset="0"/>
                </a:rPr>
                <a:t>Phosphate</a:t>
              </a:r>
            </a:p>
          </p:txBody>
        </p:sp>
      </p:grpSp>
      <p:sp>
        <p:nvSpPr>
          <p:cNvPr id="969" name="Rounded Rectangle 968">
            <a:extLst>
              <a:ext uri="{FF2B5EF4-FFF2-40B4-BE49-F238E27FC236}">
                <a16:creationId xmlns:a16="http://schemas.microsoft.com/office/drawing/2014/main" id="{9DEE659E-C38A-7AE8-3234-3ACFE986820B}"/>
              </a:ext>
            </a:extLst>
          </p:cNvPr>
          <p:cNvSpPr/>
          <p:nvPr/>
        </p:nvSpPr>
        <p:spPr>
          <a:xfrm>
            <a:off x="9834015" y="2088862"/>
            <a:ext cx="1900785" cy="219224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70" name="Rounded Rectangle 969">
            <a:extLst>
              <a:ext uri="{FF2B5EF4-FFF2-40B4-BE49-F238E27FC236}">
                <a16:creationId xmlns:a16="http://schemas.microsoft.com/office/drawing/2014/main" id="{D630A9B7-D7D9-A593-A18F-CB92B4F1126F}"/>
              </a:ext>
            </a:extLst>
          </p:cNvPr>
          <p:cNvSpPr/>
          <p:nvPr/>
        </p:nvSpPr>
        <p:spPr>
          <a:xfrm>
            <a:off x="9834015" y="2088862"/>
            <a:ext cx="1190665" cy="219224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5953" cap="flat">
            <a:noFill/>
            <a:prstDash val="solid"/>
            <a:miter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1%</a:t>
            </a:r>
          </a:p>
        </p:txBody>
      </p:sp>
      <p:sp>
        <p:nvSpPr>
          <p:cNvPr id="973" name="Rounded Rectangle 972">
            <a:extLst>
              <a:ext uri="{FF2B5EF4-FFF2-40B4-BE49-F238E27FC236}">
                <a16:creationId xmlns:a16="http://schemas.microsoft.com/office/drawing/2014/main" id="{C6A517F5-A5E9-B320-E065-B8293BE5F8D9}"/>
              </a:ext>
            </a:extLst>
          </p:cNvPr>
          <p:cNvSpPr/>
          <p:nvPr/>
        </p:nvSpPr>
        <p:spPr>
          <a:xfrm>
            <a:off x="9834015" y="2728291"/>
            <a:ext cx="1900785" cy="219224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74" name="Rounded Rectangle 973">
            <a:extLst>
              <a:ext uri="{FF2B5EF4-FFF2-40B4-BE49-F238E27FC236}">
                <a16:creationId xmlns:a16="http://schemas.microsoft.com/office/drawing/2014/main" id="{52ADA026-362D-AD07-D621-17CA30EA13A4}"/>
              </a:ext>
            </a:extLst>
          </p:cNvPr>
          <p:cNvSpPr/>
          <p:nvPr/>
        </p:nvSpPr>
        <p:spPr>
          <a:xfrm>
            <a:off x="9834016" y="2728291"/>
            <a:ext cx="464333" cy="21922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953" cap="flat">
            <a:noFill/>
            <a:prstDash val="solid"/>
            <a:miter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7%</a:t>
            </a:r>
          </a:p>
        </p:txBody>
      </p:sp>
      <p:sp>
        <p:nvSpPr>
          <p:cNvPr id="976" name="Rounded Rectangle 975">
            <a:extLst>
              <a:ext uri="{FF2B5EF4-FFF2-40B4-BE49-F238E27FC236}">
                <a16:creationId xmlns:a16="http://schemas.microsoft.com/office/drawing/2014/main" id="{093B302B-1BC4-DAF5-FDB5-A92CB2B90CBB}"/>
              </a:ext>
            </a:extLst>
          </p:cNvPr>
          <p:cNvSpPr/>
          <p:nvPr/>
        </p:nvSpPr>
        <p:spPr>
          <a:xfrm>
            <a:off x="9834015" y="3367720"/>
            <a:ext cx="1900785" cy="219224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77" name="Rounded Rectangle 976">
            <a:extLst>
              <a:ext uri="{FF2B5EF4-FFF2-40B4-BE49-F238E27FC236}">
                <a16:creationId xmlns:a16="http://schemas.microsoft.com/office/drawing/2014/main" id="{1444FC35-5F1D-434B-3583-F824E69C2426}"/>
              </a:ext>
            </a:extLst>
          </p:cNvPr>
          <p:cNvSpPr/>
          <p:nvPr/>
        </p:nvSpPr>
        <p:spPr>
          <a:xfrm>
            <a:off x="9834015" y="3367720"/>
            <a:ext cx="1612197" cy="21922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5953" cap="flat">
            <a:noFill/>
            <a:prstDash val="solid"/>
            <a:miter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74%</a:t>
            </a:r>
          </a:p>
        </p:txBody>
      </p:sp>
      <p:sp>
        <p:nvSpPr>
          <p:cNvPr id="979" name="Rounded Rectangle 978">
            <a:extLst>
              <a:ext uri="{FF2B5EF4-FFF2-40B4-BE49-F238E27FC236}">
                <a16:creationId xmlns:a16="http://schemas.microsoft.com/office/drawing/2014/main" id="{6ACAC9B8-F6B4-A03B-7502-DF5D938906C4}"/>
              </a:ext>
            </a:extLst>
          </p:cNvPr>
          <p:cNvSpPr/>
          <p:nvPr/>
        </p:nvSpPr>
        <p:spPr>
          <a:xfrm>
            <a:off x="9834015" y="4007149"/>
            <a:ext cx="1900785" cy="219224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80" name="Rounded Rectangle 979">
            <a:extLst>
              <a:ext uri="{FF2B5EF4-FFF2-40B4-BE49-F238E27FC236}">
                <a16:creationId xmlns:a16="http://schemas.microsoft.com/office/drawing/2014/main" id="{234D137C-6CAD-4042-A55F-B889BC2233DD}"/>
              </a:ext>
            </a:extLst>
          </p:cNvPr>
          <p:cNvSpPr/>
          <p:nvPr/>
        </p:nvSpPr>
        <p:spPr>
          <a:xfrm>
            <a:off x="9834016" y="4007149"/>
            <a:ext cx="360571" cy="21922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953" cap="flat">
            <a:noFill/>
            <a:prstDash val="solid"/>
            <a:miter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982" name="Rounded Rectangle 981">
            <a:extLst>
              <a:ext uri="{FF2B5EF4-FFF2-40B4-BE49-F238E27FC236}">
                <a16:creationId xmlns:a16="http://schemas.microsoft.com/office/drawing/2014/main" id="{293B7C72-5BEE-BED9-3F7C-D21A5486685D}"/>
              </a:ext>
            </a:extLst>
          </p:cNvPr>
          <p:cNvSpPr/>
          <p:nvPr/>
        </p:nvSpPr>
        <p:spPr>
          <a:xfrm>
            <a:off x="9834015" y="4646578"/>
            <a:ext cx="1900785" cy="219224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83" name="Rounded Rectangle 982">
            <a:extLst>
              <a:ext uri="{FF2B5EF4-FFF2-40B4-BE49-F238E27FC236}">
                <a16:creationId xmlns:a16="http://schemas.microsoft.com/office/drawing/2014/main" id="{3D69C4AD-51AD-E247-1A77-FD7F69CC57CA}"/>
              </a:ext>
            </a:extLst>
          </p:cNvPr>
          <p:cNvSpPr/>
          <p:nvPr/>
        </p:nvSpPr>
        <p:spPr>
          <a:xfrm>
            <a:off x="9834015" y="4646578"/>
            <a:ext cx="1307397" cy="21922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5953" cap="flat">
            <a:noFill/>
            <a:prstDash val="solid"/>
            <a:miter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4%</a:t>
            </a:r>
          </a:p>
        </p:txBody>
      </p:sp>
      <p:sp>
        <p:nvSpPr>
          <p:cNvPr id="985" name="Rounded Rectangle 984">
            <a:extLst>
              <a:ext uri="{FF2B5EF4-FFF2-40B4-BE49-F238E27FC236}">
                <a16:creationId xmlns:a16="http://schemas.microsoft.com/office/drawing/2014/main" id="{42B28C06-9995-0FD4-9369-ACE4259081E1}"/>
              </a:ext>
            </a:extLst>
          </p:cNvPr>
          <p:cNvSpPr/>
          <p:nvPr/>
        </p:nvSpPr>
        <p:spPr>
          <a:xfrm>
            <a:off x="9834015" y="5286007"/>
            <a:ext cx="1900785" cy="219224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86" name="Rounded Rectangle 985">
            <a:extLst>
              <a:ext uri="{FF2B5EF4-FFF2-40B4-BE49-F238E27FC236}">
                <a16:creationId xmlns:a16="http://schemas.microsoft.com/office/drawing/2014/main" id="{AECF09E3-93CB-EA37-84B3-68EA5945A9AD}"/>
              </a:ext>
            </a:extLst>
          </p:cNvPr>
          <p:cNvSpPr/>
          <p:nvPr/>
        </p:nvSpPr>
        <p:spPr>
          <a:xfrm>
            <a:off x="9834016" y="5286007"/>
            <a:ext cx="464333" cy="21922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5953" cap="flat">
            <a:noFill/>
            <a:prstDash val="solid"/>
            <a:miter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8%</a:t>
            </a:r>
          </a:p>
        </p:txBody>
      </p:sp>
      <p:sp>
        <p:nvSpPr>
          <p:cNvPr id="988" name="Rounded Rectangle 987">
            <a:extLst>
              <a:ext uri="{FF2B5EF4-FFF2-40B4-BE49-F238E27FC236}">
                <a16:creationId xmlns:a16="http://schemas.microsoft.com/office/drawing/2014/main" id="{9D2240E5-6F0E-52F5-9C02-8A2AFD680ADA}"/>
              </a:ext>
            </a:extLst>
          </p:cNvPr>
          <p:cNvSpPr/>
          <p:nvPr/>
        </p:nvSpPr>
        <p:spPr>
          <a:xfrm>
            <a:off x="9834015" y="5925436"/>
            <a:ext cx="1900785" cy="219224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989" name="Rounded Rectangle 988">
            <a:extLst>
              <a:ext uri="{FF2B5EF4-FFF2-40B4-BE49-F238E27FC236}">
                <a16:creationId xmlns:a16="http://schemas.microsoft.com/office/drawing/2014/main" id="{49D85A2B-926F-798D-6350-BEAABB77DB93}"/>
              </a:ext>
            </a:extLst>
          </p:cNvPr>
          <p:cNvSpPr/>
          <p:nvPr/>
        </p:nvSpPr>
        <p:spPr>
          <a:xfrm>
            <a:off x="9834015" y="5925436"/>
            <a:ext cx="1404673" cy="219224"/>
          </a:xfrm>
          <a:prstGeom prst="roundRect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ln w="5953" cap="flat">
            <a:noFill/>
            <a:prstDash val="solid"/>
            <a:miter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5%</a:t>
            </a:r>
          </a:p>
        </p:txBody>
      </p:sp>
      <p:sp>
        <p:nvSpPr>
          <p:cNvPr id="2" name="Rectangle 51">
            <a:extLst>
              <a:ext uri="{FF2B5EF4-FFF2-40B4-BE49-F238E27FC236}">
                <a16:creationId xmlns:a16="http://schemas.microsoft.com/office/drawing/2014/main" id="{666CE75C-1A92-0491-7C42-64619B94CFA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340" y="6353540"/>
            <a:ext cx="7786761" cy="115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/>
          <a:lstStyle/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Source: Hatch, S&amp;P Global</a:t>
            </a:r>
          </a:p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Notes: *Contained Amount as of Feb’2023</a:t>
            </a:r>
          </a:p>
        </p:txBody>
      </p:sp>
      <p:pic>
        <p:nvPicPr>
          <p:cNvPr id="23" name="Graphic 22" descr="Marker with solid fill">
            <a:extLst>
              <a:ext uri="{FF2B5EF4-FFF2-40B4-BE49-F238E27FC236}">
                <a16:creationId xmlns:a16="http://schemas.microsoft.com/office/drawing/2014/main" id="{391B3A28-2680-5D57-71AD-12EFF415B52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68510" y="4478539"/>
            <a:ext cx="169365" cy="170807"/>
          </a:xfrm>
          <a:prstGeom prst="rect">
            <a:avLst/>
          </a:prstGeom>
        </p:spPr>
      </p:pic>
      <p:pic>
        <p:nvPicPr>
          <p:cNvPr id="24" name="Graphic 23" descr="Marker with solid fill">
            <a:extLst>
              <a:ext uri="{FF2B5EF4-FFF2-40B4-BE49-F238E27FC236}">
                <a16:creationId xmlns:a16="http://schemas.microsoft.com/office/drawing/2014/main" id="{1EAD6DE5-CCE2-BBE0-151A-1BEC22FA034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87245" y="4749241"/>
            <a:ext cx="169365" cy="170807"/>
          </a:xfrm>
          <a:prstGeom prst="rect">
            <a:avLst/>
          </a:prstGeom>
        </p:spPr>
      </p:pic>
      <p:pic>
        <p:nvPicPr>
          <p:cNvPr id="25" name="Graphic 24" descr="Marker with solid fill">
            <a:extLst>
              <a:ext uri="{FF2B5EF4-FFF2-40B4-BE49-F238E27FC236}">
                <a16:creationId xmlns:a16="http://schemas.microsoft.com/office/drawing/2014/main" id="{9ED4C4E3-A774-7D72-662D-A8F19F520E1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04846" y="4858286"/>
            <a:ext cx="169365" cy="170807"/>
          </a:xfrm>
          <a:prstGeom prst="rect">
            <a:avLst/>
          </a:prstGeom>
        </p:spPr>
      </p:pic>
      <p:pic>
        <p:nvPicPr>
          <p:cNvPr id="26" name="Graphic 25" descr="Marker with solid fill">
            <a:extLst>
              <a:ext uri="{FF2B5EF4-FFF2-40B4-BE49-F238E27FC236}">
                <a16:creationId xmlns:a16="http://schemas.microsoft.com/office/drawing/2014/main" id="{4901DE14-A0BA-644E-CDFC-0000B54E659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439448" y="5235190"/>
            <a:ext cx="169365" cy="170807"/>
          </a:xfrm>
          <a:prstGeom prst="rect">
            <a:avLst/>
          </a:prstGeom>
        </p:spPr>
      </p:pic>
      <p:pic>
        <p:nvPicPr>
          <p:cNvPr id="27" name="Graphic 26" descr="Marker with solid fill">
            <a:extLst>
              <a:ext uri="{FF2B5EF4-FFF2-40B4-BE49-F238E27FC236}">
                <a16:creationId xmlns:a16="http://schemas.microsoft.com/office/drawing/2014/main" id="{D2C09895-3F66-81CF-991B-DD6DD82056A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967065" y="3458028"/>
            <a:ext cx="169365" cy="170807"/>
          </a:xfrm>
          <a:prstGeom prst="rect">
            <a:avLst/>
          </a:prstGeom>
        </p:spPr>
      </p:pic>
      <p:pic>
        <p:nvPicPr>
          <p:cNvPr id="28" name="Graphic 27" descr="Marker with solid fill">
            <a:extLst>
              <a:ext uri="{FF2B5EF4-FFF2-40B4-BE49-F238E27FC236}">
                <a16:creationId xmlns:a16="http://schemas.microsoft.com/office/drawing/2014/main" id="{5822D0AB-E44B-EB00-62D1-5EE18BF011C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994196" y="2185139"/>
            <a:ext cx="169365" cy="170807"/>
          </a:xfrm>
          <a:prstGeom prst="rect">
            <a:avLst/>
          </a:prstGeom>
        </p:spPr>
      </p:pic>
      <p:pic>
        <p:nvPicPr>
          <p:cNvPr id="29" name="Graphic 28" descr="Marker with solid fill">
            <a:extLst>
              <a:ext uri="{FF2B5EF4-FFF2-40B4-BE49-F238E27FC236}">
                <a16:creationId xmlns:a16="http://schemas.microsoft.com/office/drawing/2014/main" id="{C404DA3B-3E58-E0F0-B9B1-0A539BCEFFA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906839" y="5027796"/>
            <a:ext cx="169365" cy="170807"/>
          </a:xfrm>
          <a:prstGeom prst="rect">
            <a:avLst/>
          </a:prstGeom>
        </p:spPr>
      </p:pic>
      <p:pic>
        <p:nvPicPr>
          <p:cNvPr id="30" name="Graphic 29" descr="Marker with solid fill">
            <a:extLst>
              <a:ext uri="{FF2B5EF4-FFF2-40B4-BE49-F238E27FC236}">
                <a16:creationId xmlns:a16="http://schemas.microsoft.com/office/drawing/2014/main" id="{9F277580-AD34-E6D9-7359-2C83850FAD4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200776" y="5045568"/>
            <a:ext cx="169365" cy="170807"/>
          </a:xfrm>
          <a:prstGeom prst="rect">
            <a:avLst/>
          </a:prstGeom>
        </p:spPr>
      </p:pic>
      <p:pic>
        <p:nvPicPr>
          <p:cNvPr id="902" name="Graphic 901" descr="Marker with solid fill">
            <a:extLst>
              <a:ext uri="{FF2B5EF4-FFF2-40B4-BE49-F238E27FC236}">
                <a16:creationId xmlns:a16="http://schemas.microsoft.com/office/drawing/2014/main" id="{EB73D539-A28F-C908-9471-4722EFF3B1D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296216" y="3495427"/>
            <a:ext cx="169365" cy="170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3801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182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dirty="0"/>
              <a:t>Currently, the continent has established </a:t>
            </a:r>
            <a:r>
              <a:rPr lang="en-US" dirty="0"/>
              <a:t>industrial centers where these metals and minerals are converted into intermediate and final products</a:t>
            </a:r>
            <a:endParaRPr lang="en-ZA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6157C35-1C6B-D105-B221-046B791FF870}"/>
              </a:ext>
            </a:extLst>
          </p:cNvPr>
          <p:cNvGrpSpPr/>
          <p:nvPr/>
        </p:nvGrpSpPr>
        <p:grpSpPr>
          <a:xfrm>
            <a:off x="533378" y="1520082"/>
            <a:ext cx="4216869" cy="4639180"/>
            <a:chOff x="714480" y="1883664"/>
            <a:chExt cx="4296432" cy="472744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10C4EA5E-2871-6E46-93DA-2C3B9F210D07}"/>
                </a:ext>
              </a:extLst>
            </p:cNvPr>
            <p:cNvGrpSpPr/>
            <p:nvPr/>
          </p:nvGrpSpPr>
          <p:grpSpPr>
            <a:xfrm>
              <a:off x="722376" y="1883664"/>
              <a:ext cx="4288536" cy="4727448"/>
              <a:chOff x="3840163" y="1379538"/>
              <a:chExt cx="4505326" cy="4962525"/>
            </a:xfrm>
            <a:solidFill>
              <a:schemeClr val="accent2">
                <a:lumMod val="20000"/>
                <a:lumOff val="80000"/>
              </a:schemeClr>
            </a:solidFill>
          </p:grpSpPr>
          <p:sp>
            <p:nvSpPr>
              <p:cNvPr id="717" name="Freeform 5">
                <a:extLst>
                  <a:ext uri="{FF2B5EF4-FFF2-40B4-BE49-F238E27FC236}">
                    <a16:creationId xmlns:a16="http://schemas.microsoft.com/office/drawing/2014/main" id="{2939CFF0-DE74-4A1C-1DBD-9389CDBE5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676" y="1789113"/>
                <a:ext cx="823913" cy="688975"/>
              </a:xfrm>
              <a:custGeom>
                <a:avLst/>
                <a:gdLst>
                  <a:gd name="T0" fmla="*/ 412 w 519"/>
                  <a:gd name="T1" fmla="*/ 78 h 434"/>
                  <a:gd name="T2" fmla="*/ 388 w 519"/>
                  <a:gd name="T3" fmla="*/ 24 h 434"/>
                  <a:gd name="T4" fmla="*/ 368 w 519"/>
                  <a:gd name="T5" fmla="*/ 16 h 434"/>
                  <a:gd name="T6" fmla="*/ 310 w 519"/>
                  <a:gd name="T7" fmla="*/ 22 h 434"/>
                  <a:gd name="T8" fmla="*/ 299 w 519"/>
                  <a:gd name="T9" fmla="*/ 27 h 434"/>
                  <a:gd name="T10" fmla="*/ 285 w 519"/>
                  <a:gd name="T11" fmla="*/ 18 h 434"/>
                  <a:gd name="T12" fmla="*/ 283 w 519"/>
                  <a:gd name="T13" fmla="*/ 6 h 434"/>
                  <a:gd name="T14" fmla="*/ 255 w 519"/>
                  <a:gd name="T15" fmla="*/ 0 h 434"/>
                  <a:gd name="T16" fmla="*/ 258 w 519"/>
                  <a:gd name="T17" fmla="*/ 8 h 434"/>
                  <a:gd name="T18" fmla="*/ 234 w 519"/>
                  <a:gd name="T19" fmla="*/ 11 h 434"/>
                  <a:gd name="T20" fmla="*/ 241 w 519"/>
                  <a:gd name="T21" fmla="*/ 6 h 434"/>
                  <a:gd name="T22" fmla="*/ 226 w 519"/>
                  <a:gd name="T23" fmla="*/ 4 h 434"/>
                  <a:gd name="T24" fmla="*/ 205 w 519"/>
                  <a:gd name="T25" fmla="*/ 16 h 434"/>
                  <a:gd name="T26" fmla="*/ 184 w 519"/>
                  <a:gd name="T27" fmla="*/ 32 h 434"/>
                  <a:gd name="T28" fmla="*/ 145 w 519"/>
                  <a:gd name="T29" fmla="*/ 22 h 434"/>
                  <a:gd name="T30" fmla="*/ 115 w 519"/>
                  <a:gd name="T31" fmla="*/ 15 h 434"/>
                  <a:gd name="T32" fmla="*/ 85 w 519"/>
                  <a:gd name="T33" fmla="*/ 8 h 434"/>
                  <a:gd name="T34" fmla="*/ 16 w 519"/>
                  <a:gd name="T35" fmla="*/ 0 h 434"/>
                  <a:gd name="T36" fmla="*/ 9 w 519"/>
                  <a:gd name="T37" fmla="*/ 9 h 434"/>
                  <a:gd name="T38" fmla="*/ 10 w 519"/>
                  <a:gd name="T39" fmla="*/ 47 h 434"/>
                  <a:gd name="T40" fmla="*/ 5 w 519"/>
                  <a:gd name="T41" fmla="*/ 86 h 434"/>
                  <a:gd name="T42" fmla="*/ 519 w 519"/>
                  <a:gd name="T43" fmla="*/ 431 h 434"/>
                  <a:gd name="T44" fmla="*/ 501 w 519"/>
                  <a:gd name="T45" fmla="*/ 417 h 434"/>
                  <a:gd name="T46" fmla="*/ 485 w 519"/>
                  <a:gd name="T47" fmla="*/ 399 h 434"/>
                  <a:gd name="T48" fmla="*/ 460 w 519"/>
                  <a:gd name="T49" fmla="*/ 392 h 434"/>
                  <a:gd name="T50" fmla="*/ 453 w 519"/>
                  <a:gd name="T51" fmla="*/ 355 h 434"/>
                  <a:gd name="T52" fmla="*/ 455 w 519"/>
                  <a:gd name="T53" fmla="*/ 348 h 434"/>
                  <a:gd name="T54" fmla="*/ 459 w 519"/>
                  <a:gd name="T55" fmla="*/ 342 h 434"/>
                  <a:gd name="T56" fmla="*/ 450 w 519"/>
                  <a:gd name="T57" fmla="*/ 334 h 434"/>
                  <a:gd name="T58" fmla="*/ 425 w 519"/>
                  <a:gd name="T59" fmla="*/ 293 h 434"/>
                  <a:gd name="T60" fmla="*/ 389 w 519"/>
                  <a:gd name="T61" fmla="*/ 238 h 434"/>
                  <a:gd name="T62" fmla="*/ 384 w 519"/>
                  <a:gd name="T63" fmla="*/ 206 h 434"/>
                  <a:gd name="T64" fmla="*/ 365 w 519"/>
                  <a:gd name="T65" fmla="*/ 181 h 434"/>
                  <a:gd name="T66" fmla="*/ 363 w 519"/>
                  <a:gd name="T67" fmla="*/ 162 h 434"/>
                  <a:gd name="T68" fmla="*/ 322 w 519"/>
                  <a:gd name="T69" fmla="*/ 117 h 434"/>
                  <a:gd name="T70" fmla="*/ 313 w 519"/>
                  <a:gd name="T71" fmla="*/ 91 h 434"/>
                  <a:gd name="T72" fmla="*/ 317 w 519"/>
                  <a:gd name="T73" fmla="*/ 86 h 434"/>
                  <a:gd name="T74" fmla="*/ 327 w 519"/>
                  <a:gd name="T75" fmla="*/ 100 h 434"/>
                  <a:gd name="T76" fmla="*/ 343 w 519"/>
                  <a:gd name="T77" fmla="*/ 126 h 434"/>
                  <a:gd name="T78" fmla="*/ 361 w 519"/>
                  <a:gd name="T79" fmla="*/ 148 h 434"/>
                  <a:gd name="T80" fmla="*/ 393 w 519"/>
                  <a:gd name="T81" fmla="*/ 178 h 434"/>
                  <a:gd name="T82" fmla="*/ 404 w 519"/>
                  <a:gd name="T83" fmla="*/ 153 h 434"/>
                  <a:gd name="T84" fmla="*/ 405 w 519"/>
                  <a:gd name="T85" fmla="*/ 128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19" h="434">
                    <a:moveTo>
                      <a:pt x="414" y="101"/>
                    </a:moveTo>
                    <a:lnTo>
                      <a:pt x="409" y="87"/>
                    </a:lnTo>
                    <a:lnTo>
                      <a:pt x="412" y="78"/>
                    </a:lnTo>
                    <a:lnTo>
                      <a:pt x="404" y="55"/>
                    </a:lnTo>
                    <a:lnTo>
                      <a:pt x="391" y="38"/>
                    </a:lnTo>
                    <a:lnTo>
                      <a:pt x="388" y="24"/>
                    </a:lnTo>
                    <a:lnTo>
                      <a:pt x="379" y="11"/>
                    </a:lnTo>
                    <a:lnTo>
                      <a:pt x="374" y="9"/>
                    </a:lnTo>
                    <a:lnTo>
                      <a:pt x="368" y="16"/>
                    </a:lnTo>
                    <a:lnTo>
                      <a:pt x="358" y="20"/>
                    </a:lnTo>
                    <a:lnTo>
                      <a:pt x="331" y="16"/>
                    </a:lnTo>
                    <a:lnTo>
                      <a:pt x="310" y="22"/>
                    </a:lnTo>
                    <a:lnTo>
                      <a:pt x="296" y="11"/>
                    </a:lnTo>
                    <a:lnTo>
                      <a:pt x="294" y="18"/>
                    </a:lnTo>
                    <a:lnTo>
                      <a:pt x="299" y="27"/>
                    </a:lnTo>
                    <a:lnTo>
                      <a:pt x="299" y="32"/>
                    </a:lnTo>
                    <a:lnTo>
                      <a:pt x="294" y="24"/>
                    </a:lnTo>
                    <a:lnTo>
                      <a:pt x="285" y="18"/>
                    </a:lnTo>
                    <a:lnTo>
                      <a:pt x="283" y="11"/>
                    </a:lnTo>
                    <a:lnTo>
                      <a:pt x="287" y="9"/>
                    </a:lnTo>
                    <a:lnTo>
                      <a:pt x="283" y="6"/>
                    </a:lnTo>
                    <a:lnTo>
                      <a:pt x="276" y="8"/>
                    </a:lnTo>
                    <a:lnTo>
                      <a:pt x="269" y="4"/>
                    </a:lnTo>
                    <a:lnTo>
                      <a:pt x="255" y="0"/>
                    </a:lnTo>
                    <a:lnTo>
                      <a:pt x="251" y="4"/>
                    </a:lnTo>
                    <a:lnTo>
                      <a:pt x="258" y="4"/>
                    </a:lnTo>
                    <a:lnTo>
                      <a:pt x="258" y="8"/>
                    </a:lnTo>
                    <a:lnTo>
                      <a:pt x="251" y="8"/>
                    </a:lnTo>
                    <a:lnTo>
                      <a:pt x="244" y="8"/>
                    </a:lnTo>
                    <a:lnTo>
                      <a:pt x="234" y="11"/>
                    </a:lnTo>
                    <a:lnTo>
                      <a:pt x="232" y="8"/>
                    </a:lnTo>
                    <a:lnTo>
                      <a:pt x="232" y="6"/>
                    </a:lnTo>
                    <a:lnTo>
                      <a:pt x="241" y="6"/>
                    </a:lnTo>
                    <a:lnTo>
                      <a:pt x="246" y="2"/>
                    </a:lnTo>
                    <a:lnTo>
                      <a:pt x="239" y="4"/>
                    </a:lnTo>
                    <a:lnTo>
                      <a:pt x="226" y="4"/>
                    </a:lnTo>
                    <a:lnTo>
                      <a:pt x="221" y="8"/>
                    </a:lnTo>
                    <a:lnTo>
                      <a:pt x="211" y="13"/>
                    </a:lnTo>
                    <a:lnTo>
                      <a:pt x="205" y="16"/>
                    </a:lnTo>
                    <a:lnTo>
                      <a:pt x="195" y="20"/>
                    </a:lnTo>
                    <a:lnTo>
                      <a:pt x="186" y="29"/>
                    </a:lnTo>
                    <a:lnTo>
                      <a:pt x="184" y="32"/>
                    </a:lnTo>
                    <a:lnTo>
                      <a:pt x="170" y="32"/>
                    </a:lnTo>
                    <a:lnTo>
                      <a:pt x="156" y="24"/>
                    </a:lnTo>
                    <a:lnTo>
                      <a:pt x="145" y="22"/>
                    </a:lnTo>
                    <a:lnTo>
                      <a:pt x="131" y="24"/>
                    </a:lnTo>
                    <a:lnTo>
                      <a:pt x="120" y="15"/>
                    </a:lnTo>
                    <a:lnTo>
                      <a:pt x="115" y="15"/>
                    </a:lnTo>
                    <a:lnTo>
                      <a:pt x="110" y="18"/>
                    </a:lnTo>
                    <a:lnTo>
                      <a:pt x="99" y="11"/>
                    </a:lnTo>
                    <a:lnTo>
                      <a:pt x="85" y="8"/>
                    </a:lnTo>
                    <a:lnTo>
                      <a:pt x="53" y="6"/>
                    </a:lnTo>
                    <a:lnTo>
                      <a:pt x="37" y="0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9" y="9"/>
                    </a:lnTo>
                    <a:lnTo>
                      <a:pt x="5" y="27"/>
                    </a:lnTo>
                    <a:lnTo>
                      <a:pt x="10" y="38"/>
                    </a:lnTo>
                    <a:lnTo>
                      <a:pt x="10" y="47"/>
                    </a:lnTo>
                    <a:lnTo>
                      <a:pt x="5" y="61"/>
                    </a:lnTo>
                    <a:lnTo>
                      <a:pt x="0" y="73"/>
                    </a:lnTo>
                    <a:lnTo>
                      <a:pt x="5" y="86"/>
                    </a:lnTo>
                    <a:lnTo>
                      <a:pt x="9" y="107"/>
                    </a:lnTo>
                    <a:lnTo>
                      <a:pt x="23" y="434"/>
                    </a:lnTo>
                    <a:lnTo>
                      <a:pt x="519" y="431"/>
                    </a:lnTo>
                    <a:lnTo>
                      <a:pt x="519" y="429"/>
                    </a:lnTo>
                    <a:lnTo>
                      <a:pt x="512" y="427"/>
                    </a:lnTo>
                    <a:lnTo>
                      <a:pt x="501" y="417"/>
                    </a:lnTo>
                    <a:lnTo>
                      <a:pt x="499" y="411"/>
                    </a:lnTo>
                    <a:lnTo>
                      <a:pt x="490" y="410"/>
                    </a:lnTo>
                    <a:lnTo>
                      <a:pt x="485" y="399"/>
                    </a:lnTo>
                    <a:lnTo>
                      <a:pt x="480" y="401"/>
                    </a:lnTo>
                    <a:lnTo>
                      <a:pt x="473" y="401"/>
                    </a:lnTo>
                    <a:lnTo>
                      <a:pt x="460" y="392"/>
                    </a:lnTo>
                    <a:lnTo>
                      <a:pt x="453" y="371"/>
                    </a:lnTo>
                    <a:lnTo>
                      <a:pt x="455" y="365"/>
                    </a:lnTo>
                    <a:lnTo>
                      <a:pt x="453" y="355"/>
                    </a:lnTo>
                    <a:lnTo>
                      <a:pt x="451" y="349"/>
                    </a:lnTo>
                    <a:lnTo>
                      <a:pt x="451" y="346"/>
                    </a:lnTo>
                    <a:lnTo>
                      <a:pt x="455" y="348"/>
                    </a:lnTo>
                    <a:lnTo>
                      <a:pt x="467" y="349"/>
                    </a:lnTo>
                    <a:lnTo>
                      <a:pt x="462" y="344"/>
                    </a:lnTo>
                    <a:lnTo>
                      <a:pt x="459" y="342"/>
                    </a:lnTo>
                    <a:lnTo>
                      <a:pt x="451" y="332"/>
                    </a:lnTo>
                    <a:lnTo>
                      <a:pt x="450" y="330"/>
                    </a:lnTo>
                    <a:lnTo>
                      <a:pt x="450" y="334"/>
                    </a:lnTo>
                    <a:lnTo>
                      <a:pt x="444" y="328"/>
                    </a:lnTo>
                    <a:lnTo>
                      <a:pt x="441" y="316"/>
                    </a:lnTo>
                    <a:lnTo>
                      <a:pt x="425" y="293"/>
                    </a:lnTo>
                    <a:lnTo>
                      <a:pt x="418" y="287"/>
                    </a:lnTo>
                    <a:lnTo>
                      <a:pt x="416" y="277"/>
                    </a:lnTo>
                    <a:lnTo>
                      <a:pt x="389" y="238"/>
                    </a:lnTo>
                    <a:lnTo>
                      <a:pt x="389" y="229"/>
                    </a:lnTo>
                    <a:lnTo>
                      <a:pt x="386" y="222"/>
                    </a:lnTo>
                    <a:lnTo>
                      <a:pt x="384" y="206"/>
                    </a:lnTo>
                    <a:lnTo>
                      <a:pt x="379" y="201"/>
                    </a:lnTo>
                    <a:lnTo>
                      <a:pt x="379" y="197"/>
                    </a:lnTo>
                    <a:lnTo>
                      <a:pt x="365" y="181"/>
                    </a:lnTo>
                    <a:lnTo>
                      <a:pt x="365" y="176"/>
                    </a:lnTo>
                    <a:lnTo>
                      <a:pt x="366" y="169"/>
                    </a:lnTo>
                    <a:lnTo>
                      <a:pt x="363" y="162"/>
                    </a:lnTo>
                    <a:lnTo>
                      <a:pt x="338" y="142"/>
                    </a:lnTo>
                    <a:lnTo>
                      <a:pt x="336" y="135"/>
                    </a:lnTo>
                    <a:lnTo>
                      <a:pt x="322" y="117"/>
                    </a:lnTo>
                    <a:lnTo>
                      <a:pt x="322" y="109"/>
                    </a:lnTo>
                    <a:lnTo>
                      <a:pt x="313" y="96"/>
                    </a:lnTo>
                    <a:lnTo>
                      <a:pt x="313" y="91"/>
                    </a:lnTo>
                    <a:lnTo>
                      <a:pt x="313" y="86"/>
                    </a:lnTo>
                    <a:lnTo>
                      <a:pt x="315" y="82"/>
                    </a:lnTo>
                    <a:lnTo>
                      <a:pt x="317" y="86"/>
                    </a:lnTo>
                    <a:lnTo>
                      <a:pt x="320" y="86"/>
                    </a:lnTo>
                    <a:lnTo>
                      <a:pt x="324" y="96"/>
                    </a:lnTo>
                    <a:lnTo>
                      <a:pt x="327" y="100"/>
                    </a:lnTo>
                    <a:lnTo>
                      <a:pt x="327" y="105"/>
                    </a:lnTo>
                    <a:lnTo>
                      <a:pt x="343" y="119"/>
                    </a:lnTo>
                    <a:lnTo>
                      <a:pt x="343" y="126"/>
                    </a:lnTo>
                    <a:lnTo>
                      <a:pt x="349" y="135"/>
                    </a:lnTo>
                    <a:lnTo>
                      <a:pt x="359" y="140"/>
                    </a:lnTo>
                    <a:lnTo>
                      <a:pt x="361" y="148"/>
                    </a:lnTo>
                    <a:lnTo>
                      <a:pt x="381" y="169"/>
                    </a:lnTo>
                    <a:lnTo>
                      <a:pt x="393" y="174"/>
                    </a:lnTo>
                    <a:lnTo>
                      <a:pt x="393" y="178"/>
                    </a:lnTo>
                    <a:lnTo>
                      <a:pt x="395" y="172"/>
                    </a:lnTo>
                    <a:lnTo>
                      <a:pt x="400" y="167"/>
                    </a:lnTo>
                    <a:lnTo>
                      <a:pt x="404" y="153"/>
                    </a:lnTo>
                    <a:lnTo>
                      <a:pt x="400" y="149"/>
                    </a:lnTo>
                    <a:lnTo>
                      <a:pt x="405" y="137"/>
                    </a:lnTo>
                    <a:lnTo>
                      <a:pt x="405" y="128"/>
                    </a:lnTo>
                    <a:lnTo>
                      <a:pt x="412" y="105"/>
                    </a:lnTo>
                    <a:lnTo>
                      <a:pt x="414" y="101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8" name="Freeform 6">
                <a:extLst>
                  <a:ext uri="{FF2B5EF4-FFF2-40B4-BE49-F238E27FC236}">
                    <a16:creationId xmlns:a16="http://schemas.microsoft.com/office/drawing/2014/main" id="{D58C7520-929E-14E0-04FF-FAD37EF6C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626" y="2473326"/>
                <a:ext cx="1087438" cy="1247775"/>
              </a:xfrm>
              <a:custGeom>
                <a:avLst/>
                <a:gdLst>
                  <a:gd name="T0" fmla="*/ 611 w 685"/>
                  <a:gd name="T1" fmla="*/ 11 h 786"/>
                  <a:gd name="T2" fmla="*/ 616 w 685"/>
                  <a:gd name="T3" fmla="*/ 30 h 786"/>
                  <a:gd name="T4" fmla="*/ 618 w 685"/>
                  <a:gd name="T5" fmla="*/ 37 h 786"/>
                  <a:gd name="T6" fmla="*/ 627 w 685"/>
                  <a:gd name="T7" fmla="*/ 106 h 786"/>
                  <a:gd name="T8" fmla="*/ 664 w 685"/>
                  <a:gd name="T9" fmla="*/ 159 h 786"/>
                  <a:gd name="T10" fmla="*/ 680 w 685"/>
                  <a:gd name="T11" fmla="*/ 179 h 786"/>
                  <a:gd name="T12" fmla="*/ 648 w 685"/>
                  <a:gd name="T13" fmla="*/ 193 h 786"/>
                  <a:gd name="T14" fmla="*/ 630 w 685"/>
                  <a:gd name="T15" fmla="*/ 207 h 786"/>
                  <a:gd name="T16" fmla="*/ 627 w 685"/>
                  <a:gd name="T17" fmla="*/ 236 h 786"/>
                  <a:gd name="T18" fmla="*/ 609 w 685"/>
                  <a:gd name="T19" fmla="*/ 289 h 786"/>
                  <a:gd name="T20" fmla="*/ 613 w 685"/>
                  <a:gd name="T21" fmla="*/ 331 h 786"/>
                  <a:gd name="T22" fmla="*/ 590 w 685"/>
                  <a:gd name="T23" fmla="*/ 393 h 786"/>
                  <a:gd name="T24" fmla="*/ 567 w 685"/>
                  <a:gd name="T25" fmla="*/ 425 h 786"/>
                  <a:gd name="T26" fmla="*/ 535 w 685"/>
                  <a:gd name="T27" fmla="*/ 476 h 786"/>
                  <a:gd name="T28" fmla="*/ 524 w 685"/>
                  <a:gd name="T29" fmla="*/ 514 h 786"/>
                  <a:gd name="T30" fmla="*/ 508 w 685"/>
                  <a:gd name="T31" fmla="*/ 576 h 786"/>
                  <a:gd name="T32" fmla="*/ 480 w 685"/>
                  <a:gd name="T33" fmla="*/ 577 h 786"/>
                  <a:gd name="T34" fmla="*/ 478 w 685"/>
                  <a:gd name="T35" fmla="*/ 606 h 786"/>
                  <a:gd name="T36" fmla="*/ 512 w 685"/>
                  <a:gd name="T37" fmla="*/ 625 h 786"/>
                  <a:gd name="T38" fmla="*/ 538 w 685"/>
                  <a:gd name="T39" fmla="*/ 650 h 786"/>
                  <a:gd name="T40" fmla="*/ 559 w 685"/>
                  <a:gd name="T41" fmla="*/ 689 h 786"/>
                  <a:gd name="T42" fmla="*/ 526 w 685"/>
                  <a:gd name="T43" fmla="*/ 742 h 786"/>
                  <a:gd name="T44" fmla="*/ 504 w 685"/>
                  <a:gd name="T45" fmla="*/ 762 h 786"/>
                  <a:gd name="T46" fmla="*/ 457 w 685"/>
                  <a:gd name="T47" fmla="*/ 774 h 786"/>
                  <a:gd name="T48" fmla="*/ 435 w 685"/>
                  <a:gd name="T49" fmla="*/ 786 h 786"/>
                  <a:gd name="T50" fmla="*/ 407 w 685"/>
                  <a:gd name="T51" fmla="*/ 776 h 786"/>
                  <a:gd name="T52" fmla="*/ 384 w 685"/>
                  <a:gd name="T53" fmla="*/ 783 h 786"/>
                  <a:gd name="T54" fmla="*/ 368 w 685"/>
                  <a:gd name="T55" fmla="*/ 779 h 786"/>
                  <a:gd name="T56" fmla="*/ 345 w 685"/>
                  <a:gd name="T57" fmla="*/ 755 h 786"/>
                  <a:gd name="T58" fmla="*/ 320 w 685"/>
                  <a:gd name="T59" fmla="*/ 733 h 786"/>
                  <a:gd name="T60" fmla="*/ 299 w 685"/>
                  <a:gd name="T61" fmla="*/ 742 h 786"/>
                  <a:gd name="T62" fmla="*/ 271 w 685"/>
                  <a:gd name="T63" fmla="*/ 751 h 786"/>
                  <a:gd name="T64" fmla="*/ 241 w 685"/>
                  <a:gd name="T65" fmla="*/ 730 h 786"/>
                  <a:gd name="T66" fmla="*/ 226 w 685"/>
                  <a:gd name="T67" fmla="*/ 712 h 786"/>
                  <a:gd name="T68" fmla="*/ 202 w 685"/>
                  <a:gd name="T69" fmla="*/ 684 h 786"/>
                  <a:gd name="T70" fmla="*/ 184 w 685"/>
                  <a:gd name="T71" fmla="*/ 661 h 786"/>
                  <a:gd name="T72" fmla="*/ 157 w 685"/>
                  <a:gd name="T73" fmla="*/ 632 h 786"/>
                  <a:gd name="T74" fmla="*/ 143 w 685"/>
                  <a:gd name="T75" fmla="*/ 618 h 786"/>
                  <a:gd name="T76" fmla="*/ 131 w 685"/>
                  <a:gd name="T77" fmla="*/ 599 h 786"/>
                  <a:gd name="T78" fmla="*/ 99 w 685"/>
                  <a:gd name="T79" fmla="*/ 579 h 786"/>
                  <a:gd name="T80" fmla="*/ 81 w 685"/>
                  <a:gd name="T81" fmla="*/ 567 h 786"/>
                  <a:gd name="T82" fmla="*/ 70 w 685"/>
                  <a:gd name="T83" fmla="*/ 537 h 786"/>
                  <a:gd name="T84" fmla="*/ 49 w 685"/>
                  <a:gd name="T85" fmla="*/ 487 h 786"/>
                  <a:gd name="T86" fmla="*/ 39 w 685"/>
                  <a:gd name="T87" fmla="*/ 464 h 786"/>
                  <a:gd name="T88" fmla="*/ 21 w 685"/>
                  <a:gd name="T89" fmla="*/ 434 h 786"/>
                  <a:gd name="T90" fmla="*/ 19 w 685"/>
                  <a:gd name="T91" fmla="*/ 404 h 786"/>
                  <a:gd name="T92" fmla="*/ 0 w 685"/>
                  <a:gd name="T93" fmla="*/ 390 h 786"/>
                  <a:gd name="T94" fmla="*/ 10 w 685"/>
                  <a:gd name="T95" fmla="*/ 351 h 786"/>
                  <a:gd name="T96" fmla="*/ 24 w 685"/>
                  <a:gd name="T97" fmla="*/ 319 h 786"/>
                  <a:gd name="T98" fmla="*/ 44 w 685"/>
                  <a:gd name="T99" fmla="*/ 276 h 786"/>
                  <a:gd name="T100" fmla="*/ 83 w 685"/>
                  <a:gd name="T101" fmla="*/ 267 h 786"/>
                  <a:gd name="T102" fmla="*/ 115 w 685"/>
                  <a:gd name="T103" fmla="*/ 3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85" h="786">
                    <a:moveTo>
                      <a:pt x="115" y="3"/>
                    </a:moveTo>
                    <a:lnTo>
                      <a:pt x="611" y="0"/>
                    </a:lnTo>
                    <a:lnTo>
                      <a:pt x="609" y="3"/>
                    </a:lnTo>
                    <a:lnTo>
                      <a:pt x="609" y="7"/>
                    </a:lnTo>
                    <a:lnTo>
                      <a:pt x="611" y="11"/>
                    </a:lnTo>
                    <a:lnTo>
                      <a:pt x="609" y="12"/>
                    </a:lnTo>
                    <a:lnTo>
                      <a:pt x="611" y="14"/>
                    </a:lnTo>
                    <a:lnTo>
                      <a:pt x="611" y="16"/>
                    </a:lnTo>
                    <a:lnTo>
                      <a:pt x="613" y="18"/>
                    </a:lnTo>
                    <a:lnTo>
                      <a:pt x="616" y="30"/>
                    </a:lnTo>
                    <a:lnTo>
                      <a:pt x="623" y="39"/>
                    </a:lnTo>
                    <a:lnTo>
                      <a:pt x="623" y="42"/>
                    </a:lnTo>
                    <a:lnTo>
                      <a:pt x="621" y="42"/>
                    </a:lnTo>
                    <a:lnTo>
                      <a:pt x="620" y="41"/>
                    </a:lnTo>
                    <a:lnTo>
                      <a:pt x="618" y="37"/>
                    </a:lnTo>
                    <a:lnTo>
                      <a:pt x="616" y="37"/>
                    </a:lnTo>
                    <a:lnTo>
                      <a:pt x="616" y="46"/>
                    </a:lnTo>
                    <a:lnTo>
                      <a:pt x="627" y="74"/>
                    </a:lnTo>
                    <a:lnTo>
                      <a:pt x="629" y="92"/>
                    </a:lnTo>
                    <a:lnTo>
                      <a:pt x="627" y="106"/>
                    </a:lnTo>
                    <a:lnTo>
                      <a:pt x="632" y="124"/>
                    </a:lnTo>
                    <a:lnTo>
                      <a:pt x="639" y="138"/>
                    </a:lnTo>
                    <a:lnTo>
                      <a:pt x="646" y="140"/>
                    </a:lnTo>
                    <a:lnTo>
                      <a:pt x="664" y="152"/>
                    </a:lnTo>
                    <a:lnTo>
                      <a:pt x="664" y="159"/>
                    </a:lnTo>
                    <a:lnTo>
                      <a:pt x="673" y="161"/>
                    </a:lnTo>
                    <a:lnTo>
                      <a:pt x="682" y="165"/>
                    </a:lnTo>
                    <a:lnTo>
                      <a:pt x="682" y="170"/>
                    </a:lnTo>
                    <a:lnTo>
                      <a:pt x="685" y="170"/>
                    </a:lnTo>
                    <a:lnTo>
                      <a:pt x="680" y="179"/>
                    </a:lnTo>
                    <a:lnTo>
                      <a:pt x="673" y="182"/>
                    </a:lnTo>
                    <a:lnTo>
                      <a:pt x="666" y="184"/>
                    </a:lnTo>
                    <a:lnTo>
                      <a:pt x="662" y="189"/>
                    </a:lnTo>
                    <a:lnTo>
                      <a:pt x="653" y="189"/>
                    </a:lnTo>
                    <a:lnTo>
                      <a:pt x="648" y="193"/>
                    </a:lnTo>
                    <a:lnTo>
                      <a:pt x="641" y="195"/>
                    </a:lnTo>
                    <a:lnTo>
                      <a:pt x="639" y="198"/>
                    </a:lnTo>
                    <a:lnTo>
                      <a:pt x="641" y="204"/>
                    </a:lnTo>
                    <a:lnTo>
                      <a:pt x="641" y="207"/>
                    </a:lnTo>
                    <a:lnTo>
                      <a:pt x="630" y="207"/>
                    </a:lnTo>
                    <a:lnTo>
                      <a:pt x="625" y="211"/>
                    </a:lnTo>
                    <a:lnTo>
                      <a:pt x="625" y="220"/>
                    </a:lnTo>
                    <a:lnTo>
                      <a:pt x="621" y="228"/>
                    </a:lnTo>
                    <a:lnTo>
                      <a:pt x="625" y="232"/>
                    </a:lnTo>
                    <a:lnTo>
                      <a:pt x="627" y="236"/>
                    </a:lnTo>
                    <a:lnTo>
                      <a:pt x="623" y="239"/>
                    </a:lnTo>
                    <a:lnTo>
                      <a:pt x="620" y="251"/>
                    </a:lnTo>
                    <a:lnTo>
                      <a:pt x="616" y="273"/>
                    </a:lnTo>
                    <a:lnTo>
                      <a:pt x="609" y="283"/>
                    </a:lnTo>
                    <a:lnTo>
                      <a:pt x="609" y="289"/>
                    </a:lnTo>
                    <a:lnTo>
                      <a:pt x="604" y="294"/>
                    </a:lnTo>
                    <a:lnTo>
                      <a:pt x="604" y="305"/>
                    </a:lnTo>
                    <a:lnTo>
                      <a:pt x="609" y="322"/>
                    </a:lnTo>
                    <a:lnTo>
                      <a:pt x="611" y="329"/>
                    </a:lnTo>
                    <a:lnTo>
                      <a:pt x="613" y="331"/>
                    </a:lnTo>
                    <a:lnTo>
                      <a:pt x="611" y="335"/>
                    </a:lnTo>
                    <a:lnTo>
                      <a:pt x="605" y="347"/>
                    </a:lnTo>
                    <a:lnTo>
                      <a:pt x="605" y="361"/>
                    </a:lnTo>
                    <a:lnTo>
                      <a:pt x="595" y="379"/>
                    </a:lnTo>
                    <a:lnTo>
                      <a:pt x="590" y="393"/>
                    </a:lnTo>
                    <a:lnTo>
                      <a:pt x="586" y="393"/>
                    </a:lnTo>
                    <a:lnTo>
                      <a:pt x="579" y="395"/>
                    </a:lnTo>
                    <a:lnTo>
                      <a:pt x="577" y="402"/>
                    </a:lnTo>
                    <a:lnTo>
                      <a:pt x="567" y="418"/>
                    </a:lnTo>
                    <a:lnTo>
                      <a:pt x="567" y="425"/>
                    </a:lnTo>
                    <a:lnTo>
                      <a:pt x="556" y="432"/>
                    </a:lnTo>
                    <a:lnTo>
                      <a:pt x="551" y="446"/>
                    </a:lnTo>
                    <a:lnTo>
                      <a:pt x="542" y="476"/>
                    </a:lnTo>
                    <a:lnTo>
                      <a:pt x="538" y="475"/>
                    </a:lnTo>
                    <a:lnTo>
                      <a:pt x="535" y="476"/>
                    </a:lnTo>
                    <a:lnTo>
                      <a:pt x="533" y="482"/>
                    </a:lnTo>
                    <a:lnTo>
                      <a:pt x="524" y="492"/>
                    </a:lnTo>
                    <a:lnTo>
                      <a:pt x="520" y="501"/>
                    </a:lnTo>
                    <a:lnTo>
                      <a:pt x="524" y="505"/>
                    </a:lnTo>
                    <a:lnTo>
                      <a:pt x="524" y="514"/>
                    </a:lnTo>
                    <a:lnTo>
                      <a:pt x="517" y="524"/>
                    </a:lnTo>
                    <a:lnTo>
                      <a:pt x="513" y="537"/>
                    </a:lnTo>
                    <a:lnTo>
                      <a:pt x="515" y="553"/>
                    </a:lnTo>
                    <a:lnTo>
                      <a:pt x="513" y="572"/>
                    </a:lnTo>
                    <a:lnTo>
                      <a:pt x="508" y="576"/>
                    </a:lnTo>
                    <a:lnTo>
                      <a:pt x="504" y="581"/>
                    </a:lnTo>
                    <a:lnTo>
                      <a:pt x="501" y="579"/>
                    </a:lnTo>
                    <a:lnTo>
                      <a:pt x="496" y="577"/>
                    </a:lnTo>
                    <a:lnTo>
                      <a:pt x="489" y="579"/>
                    </a:lnTo>
                    <a:lnTo>
                      <a:pt x="480" y="577"/>
                    </a:lnTo>
                    <a:lnTo>
                      <a:pt x="478" y="586"/>
                    </a:lnTo>
                    <a:lnTo>
                      <a:pt x="474" y="588"/>
                    </a:lnTo>
                    <a:lnTo>
                      <a:pt x="467" y="597"/>
                    </a:lnTo>
                    <a:lnTo>
                      <a:pt x="471" y="602"/>
                    </a:lnTo>
                    <a:lnTo>
                      <a:pt x="478" y="606"/>
                    </a:lnTo>
                    <a:lnTo>
                      <a:pt x="496" y="606"/>
                    </a:lnTo>
                    <a:lnTo>
                      <a:pt x="499" y="609"/>
                    </a:lnTo>
                    <a:lnTo>
                      <a:pt x="506" y="618"/>
                    </a:lnTo>
                    <a:lnTo>
                      <a:pt x="508" y="623"/>
                    </a:lnTo>
                    <a:lnTo>
                      <a:pt x="512" y="625"/>
                    </a:lnTo>
                    <a:lnTo>
                      <a:pt x="519" y="639"/>
                    </a:lnTo>
                    <a:lnTo>
                      <a:pt x="528" y="643"/>
                    </a:lnTo>
                    <a:lnTo>
                      <a:pt x="526" y="646"/>
                    </a:lnTo>
                    <a:lnTo>
                      <a:pt x="529" y="650"/>
                    </a:lnTo>
                    <a:lnTo>
                      <a:pt x="538" y="650"/>
                    </a:lnTo>
                    <a:lnTo>
                      <a:pt x="542" y="655"/>
                    </a:lnTo>
                    <a:lnTo>
                      <a:pt x="545" y="662"/>
                    </a:lnTo>
                    <a:lnTo>
                      <a:pt x="552" y="670"/>
                    </a:lnTo>
                    <a:lnTo>
                      <a:pt x="554" y="685"/>
                    </a:lnTo>
                    <a:lnTo>
                      <a:pt x="559" y="689"/>
                    </a:lnTo>
                    <a:lnTo>
                      <a:pt x="561" y="705"/>
                    </a:lnTo>
                    <a:lnTo>
                      <a:pt x="547" y="719"/>
                    </a:lnTo>
                    <a:lnTo>
                      <a:pt x="536" y="735"/>
                    </a:lnTo>
                    <a:lnTo>
                      <a:pt x="533" y="733"/>
                    </a:lnTo>
                    <a:lnTo>
                      <a:pt x="526" y="742"/>
                    </a:lnTo>
                    <a:lnTo>
                      <a:pt x="522" y="747"/>
                    </a:lnTo>
                    <a:lnTo>
                      <a:pt x="519" y="747"/>
                    </a:lnTo>
                    <a:lnTo>
                      <a:pt x="513" y="755"/>
                    </a:lnTo>
                    <a:lnTo>
                      <a:pt x="513" y="755"/>
                    </a:lnTo>
                    <a:lnTo>
                      <a:pt x="504" y="762"/>
                    </a:lnTo>
                    <a:lnTo>
                      <a:pt x="499" y="767"/>
                    </a:lnTo>
                    <a:lnTo>
                      <a:pt x="490" y="772"/>
                    </a:lnTo>
                    <a:lnTo>
                      <a:pt x="480" y="769"/>
                    </a:lnTo>
                    <a:lnTo>
                      <a:pt x="466" y="770"/>
                    </a:lnTo>
                    <a:lnTo>
                      <a:pt x="457" y="774"/>
                    </a:lnTo>
                    <a:lnTo>
                      <a:pt x="450" y="774"/>
                    </a:lnTo>
                    <a:lnTo>
                      <a:pt x="446" y="776"/>
                    </a:lnTo>
                    <a:lnTo>
                      <a:pt x="441" y="774"/>
                    </a:lnTo>
                    <a:lnTo>
                      <a:pt x="435" y="779"/>
                    </a:lnTo>
                    <a:lnTo>
                      <a:pt x="435" y="786"/>
                    </a:lnTo>
                    <a:lnTo>
                      <a:pt x="432" y="786"/>
                    </a:lnTo>
                    <a:lnTo>
                      <a:pt x="421" y="783"/>
                    </a:lnTo>
                    <a:lnTo>
                      <a:pt x="421" y="776"/>
                    </a:lnTo>
                    <a:lnTo>
                      <a:pt x="414" y="774"/>
                    </a:lnTo>
                    <a:lnTo>
                      <a:pt x="407" y="776"/>
                    </a:lnTo>
                    <a:lnTo>
                      <a:pt x="396" y="772"/>
                    </a:lnTo>
                    <a:lnTo>
                      <a:pt x="388" y="769"/>
                    </a:lnTo>
                    <a:lnTo>
                      <a:pt x="382" y="774"/>
                    </a:lnTo>
                    <a:lnTo>
                      <a:pt x="382" y="779"/>
                    </a:lnTo>
                    <a:lnTo>
                      <a:pt x="384" y="783"/>
                    </a:lnTo>
                    <a:lnTo>
                      <a:pt x="384" y="785"/>
                    </a:lnTo>
                    <a:lnTo>
                      <a:pt x="380" y="783"/>
                    </a:lnTo>
                    <a:lnTo>
                      <a:pt x="370" y="783"/>
                    </a:lnTo>
                    <a:lnTo>
                      <a:pt x="368" y="783"/>
                    </a:lnTo>
                    <a:lnTo>
                      <a:pt x="368" y="779"/>
                    </a:lnTo>
                    <a:lnTo>
                      <a:pt x="366" y="772"/>
                    </a:lnTo>
                    <a:lnTo>
                      <a:pt x="363" y="769"/>
                    </a:lnTo>
                    <a:lnTo>
                      <a:pt x="361" y="762"/>
                    </a:lnTo>
                    <a:lnTo>
                      <a:pt x="356" y="758"/>
                    </a:lnTo>
                    <a:lnTo>
                      <a:pt x="345" y="755"/>
                    </a:lnTo>
                    <a:lnTo>
                      <a:pt x="343" y="751"/>
                    </a:lnTo>
                    <a:lnTo>
                      <a:pt x="338" y="746"/>
                    </a:lnTo>
                    <a:lnTo>
                      <a:pt x="333" y="735"/>
                    </a:lnTo>
                    <a:lnTo>
                      <a:pt x="329" y="733"/>
                    </a:lnTo>
                    <a:lnTo>
                      <a:pt x="320" y="733"/>
                    </a:lnTo>
                    <a:lnTo>
                      <a:pt x="317" y="739"/>
                    </a:lnTo>
                    <a:lnTo>
                      <a:pt x="313" y="742"/>
                    </a:lnTo>
                    <a:lnTo>
                      <a:pt x="304" y="746"/>
                    </a:lnTo>
                    <a:lnTo>
                      <a:pt x="301" y="746"/>
                    </a:lnTo>
                    <a:lnTo>
                      <a:pt x="299" y="742"/>
                    </a:lnTo>
                    <a:lnTo>
                      <a:pt x="294" y="742"/>
                    </a:lnTo>
                    <a:lnTo>
                      <a:pt x="283" y="742"/>
                    </a:lnTo>
                    <a:lnTo>
                      <a:pt x="280" y="746"/>
                    </a:lnTo>
                    <a:lnTo>
                      <a:pt x="276" y="751"/>
                    </a:lnTo>
                    <a:lnTo>
                      <a:pt x="271" y="751"/>
                    </a:lnTo>
                    <a:lnTo>
                      <a:pt x="264" y="749"/>
                    </a:lnTo>
                    <a:lnTo>
                      <a:pt x="255" y="742"/>
                    </a:lnTo>
                    <a:lnTo>
                      <a:pt x="249" y="737"/>
                    </a:lnTo>
                    <a:lnTo>
                      <a:pt x="244" y="735"/>
                    </a:lnTo>
                    <a:lnTo>
                      <a:pt x="241" y="730"/>
                    </a:lnTo>
                    <a:lnTo>
                      <a:pt x="239" y="723"/>
                    </a:lnTo>
                    <a:lnTo>
                      <a:pt x="237" y="723"/>
                    </a:lnTo>
                    <a:lnTo>
                      <a:pt x="237" y="721"/>
                    </a:lnTo>
                    <a:lnTo>
                      <a:pt x="235" y="716"/>
                    </a:lnTo>
                    <a:lnTo>
                      <a:pt x="226" y="712"/>
                    </a:lnTo>
                    <a:lnTo>
                      <a:pt x="223" y="708"/>
                    </a:lnTo>
                    <a:lnTo>
                      <a:pt x="221" y="696"/>
                    </a:lnTo>
                    <a:lnTo>
                      <a:pt x="223" y="691"/>
                    </a:lnTo>
                    <a:lnTo>
                      <a:pt x="216" y="687"/>
                    </a:lnTo>
                    <a:lnTo>
                      <a:pt x="202" y="684"/>
                    </a:lnTo>
                    <a:lnTo>
                      <a:pt x="198" y="678"/>
                    </a:lnTo>
                    <a:lnTo>
                      <a:pt x="198" y="671"/>
                    </a:lnTo>
                    <a:lnTo>
                      <a:pt x="196" y="668"/>
                    </a:lnTo>
                    <a:lnTo>
                      <a:pt x="187" y="666"/>
                    </a:lnTo>
                    <a:lnTo>
                      <a:pt x="184" y="661"/>
                    </a:lnTo>
                    <a:lnTo>
                      <a:pt x="184" y="648"/>
                    </a:lnTo>
                    <a:lnTo>
                      <a:pt x="180" y="643"/>
                    </a:lnTo>
                    <a:lnTo>
                      <a:pt x="166" y="636"/>
                    </a:lnTo>
                    <a:lnTo>
                      <a:pt x="163" y="636"/>
                    </a:lnTo>
                    <a:lnTo>
                      <a:pt x="157" y="632"/>
                    </a:lnTo>
                    <a:lnTo>
                      <a:pt x="154" y="634"/>
                    </a:lnTo>
                    <a:lnTo>
                      <a:pt x="147" y="632"/>
                    </a:lnTo>
                    <a:lnTo>
                      <a:pt x="138" y="625"/>
                    </a:lnTo>
                    <a:lnTo>
                      <a:pt x="141" y="622"/>
                    </a:lnTo>
                    <a:lnTo>
                      <a:pt x="143" y="618"/>
                    </a:lnTo>
                    <a:lnTo>
                      <a:pt x="148" y="615"/>
                    </a:lnTo>
                    <a:lnTo>
                      <a:pt x="150" y="608"/>
                    </a:lnTo>
                    <a:lnTo>
                      <a:pt x="147" y="604"/>
                    </a:lnTo>
                    <a:lnTo>
                      <a:pt x="140" y="602"/>
                    </a:lnTo>
                    <a:lnTo>
                      <a:pt x="131" y="599"/>
                    </a:lnTo>
                    <a:lnTo>
                      <a:pt x="129" y="593"/>
                    </a:lnTo>
                    <a:lnTo>
                      <a:pt x="122" y="590"/>
                    </a:lnTo>
                    <a:lnTo>
                      <a:pt x="115" y="590"/>
                    </a:lnTo>
                    <a:lnTo>
                      <a:pt x="106" y="584"/>
                    </a:lnTo>
                    <a:lnTo>
                      <a:pt x="99" y="579"/>
                    </a:lnTo>
                    <a:lnTo>
                      <a:pt x="97" y="572"/>
                    </a:lnTo>
                    <a:lnTo>
                      <a:pt x="101" y="567"/>
                    </a:lnTo>
                    <a:lnTo>
                      <a:pt x="97" y="563"/>
                    </a:lnTo>
                    <a:lnTo>
                      <a:pt x="85" y="563"/>
                    </a:lnTo>
                    <a:lnTo>
                      <a:pt x="81" y="567"/>
                    </a:lnTo>
                    <a:lnTo>
                      <a:pt x="70" y="567"/>
                    </a:lnTo>
                    <a:lnTo>
                      <a:pt x="65" y="561"/>
                    </a:lnTo>
                    <a:lnTo>
                      <a:pt x="65" y="549"/>
                    </a:lnTo>
                    <a:lnTo>
                      <a:pt x="67" y="540"/>
                    </a:lnTo>
                    <a:lnTo>
                      <a:pt x="70" y="537"/>
                    </a:lnTo>
                    <a:lnTo>
                      <a:pt x="72" y="528"/>
                    </a:lnTo>
                    <a:lnTo>
                      <a:pt x="69" y="522"/>
                    </a:lnTo>
                    <a:lnTo>
                      <a:pt x="62" y="507"/>
                    </a:lnTo>
                    <a:lnTo>
                      <a:pt x="51" y="491"/>
                    </a:lnTo>
                    <a:lnTo>
                      <a:pt x="49" y="487"/>
                    </a:lnTo>
                    <a:lnTo>
                      <a:pt x="40" y="480"/>
                    </a:lnTo>
                    <a:lnTo>
                      <a:pt x="42" y="476"/>
                    </a:lnTo>
                    <a:lnTo>
                      <a:pt x="42" y="471"/>
                    </a:lnTo>
                    <a:lnTo>
                      <a:pt x="39" y="466"/>
                    </a:lnTo>
                    <a:lnTo>
                      <a:pt x="39" y="464"/>
                    </a:lnTo>
                    <a:lnTo>
                      <a:pt x="39" y="459"/>
                    </a:lnTo>
                    <a:lnTo>
                      <a:pt x="42" y="453"/>
                    </a:lnTo>
                    <a:lnTo>
                      <a:pt x="39" y="446"/>
                    </a:lnTo>
                    <a:lnTo>
                      <a:pt x="23" y="443"/>
                    </a:lnTo>
                    <a:lnTo>
                      <a:pt x="21" y="434"/>
                    </a:lnTo>
                    <a:lnTo>
                      <a:pt x="21" y="423"/>
                    </a:lnTo>
                    <a:lnTo>
                      <a:pt x="17" y="416"/>
                    </a:lnTo>
                    <a:lnTo>
                      <a:pt x="21" y="411"/>
                    </a:lnTo>
                    <a:lnTo>
                      <a:pt x="16" y="407"/>
                    </a:lnTo>
                    <a:lnTo>
                      <a:pt x="19" y="404"/>
                    </a:lnTo>
                    <a:lnTo>
                      <a:pt x="19" y="398"/>
                    </a:lnTo>
                    <a:lnTo>
                      <a:pt x="16" y="397"/>
                    </a:lnTo>
                    <a:lnTo>
                      <a:pt x="5" y="404"/>
                    </a:lnTo>
                    <a:lnTo>
                      <a:pt x="0" y="398"/>
                    </a:lnTo>
                    <a:lnTo>
                      <a:pt x="0" y="390"/>
                    </a:lnTo>
                    <a:lnTo>
                      <a:pt x="12" y="375"/>
                    </a:lnTo>
                    <a:lnTo>
                      <a:pt x="17" y="368"/>
                    </a:lnTo>
                    <a:lnTo>
                      <a:pt x="16" y="361"/>
                    </a:lnTo>
                    <a:lnTo>
                      <a:pt x="8" y="356"/>
                    </a:lnTo>
                    <a:lnTo>
                      <a:pt x="10" y="351"/>
                    </a:lnTo>
                    <a:lnTo>
                      <a:pt x="19" y="345"/>
                    </a:lnTo>
                    <a:lnTo>
                      <a:pt x="23" y="336"/>
                    </a:lnTo>
                    <a:lnTo>
                      <a:pt x="17" y="331"/>
                    </a:lnTo>
                    <a:lnTo>
                      <a:pt x="17" y="326"/>
                    </a:lnTo>
                    <a:lnTo>
                      <a:pt x="24" y="319"/>
                    </a:lnTo>
                    <a:lnTo>
                      <a:pt x="30" y="319"/>
                    </a:lnTo>
                    <a:lnTo>
                      <a:pt x="42" y="301"/>
                    </a:lnTo>
                    <a:lnTo>
                      <a:pt x="47" y="292"/>
                    </a:lnTo>
                    <a:lnTo>
                      <a:pt x="44" y="287"/>
                    </a:lnTo>
                    <a:lnTo>
                      <a:pt x="44" y="276"/>
                    </a:lnTo>
                    <a:lnTo>
                      <a:pt x="51" y="269"/>
                    </a:lnTo>
                    <a:lnTo>
                      <a:pt x="62" y="269"/>
                    </a:lnTo>
                    <a:lnTo>
                      <a:pt x="69" y="274"/>
                    </a:lnTo>
                    <a:lnTo>
                      <a:pt x="76" y="269"/>
                    </a:lnTo>
                    <a:lnTo>
                      <a:pt x="83" y="267"/>
                    </a:lnTo>
                    <a:lnTo>
                      <a:pt x="79" y="103"/>
                    </a:lnTo>
                    <a:lnTo>
                      <a:pt x="79" y="103"/>
                    </a:lnTo>
                    <a:lnTo>
                      <a:pt x="79" y="88"/>
                    </a:lnTo>
                    <a:lnTo>
                      <a:pt x="118" y="85"/>
                    </a:lnTo>
                    <a:lnTo>
                      <a:pt x="115" y="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9" name="Freeform 7">
                <a:extLst>
                  <a:ext uri="{FF2B5EF4-FFF2-40B4-BE49-F238E27FC236}">
                    <a16:creationId xmlns:a16="http://schemas.microsoft.com/office/drawing/2014/main" id="{839A9551-4663-91CF-AD38-234CC2220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8988" y="2957513"/>
                <a:ext cx="1004888" cy="762000"/>
              </a:xfrm>
              <a:custGeom>
                <a:avLst/>
                <a:gdLst>
                  <a:gd name="T0" fmla="*/ 87 w 633"/>
                  <a:gd name="T1" fmla="*/ 380 h 480"/>
                  <a:gd name="T2" fmla="*/ 75 w 633"/>
                  <a:gd name="T3" fmla="*/ 350 h 480"/>
                  <a:gd name="T4" fmla="*/ 59 w 633"/>
                  <a:gd name="T5" fmla="*/ 341 h 480"/>
                  <a:gd name="T6" fmla="*/ 45 w 633"/>
                  <a:gd name="T7" fmla="*/ 320 h 480"/>
                  <a:gd name="T8" fmla="*/ 32 w 633"/>
                  <a:gd name="T9" fmla="*/ 304 h 480"/>
                  <a:gd name="T10" fmla="*/ 4 w 633"/>
                  <a:gd name="T11" fmla="*/ 297 h 480"/>
                  <a:gd name="T12" fmla="*/ 11 w 633"/>
                  <a:gd name="T13" fmla="*/ 281 h 480"/>
                  <a:gd name="T14" fmla="*/ 29 w 633"/>
                  <a:gd name="T15" fmla="*/ 272 h 480"/>
                  <a:gd name="T16" fmla="*/ 41 w 633"/>
                  <a:gd name="T17" fmla="*/ 271 h 480"/>
                  <a:gd name="T18" fmla="*/ 46 w 633"/>
                  <a:gd name="T19" fmla="*/ 232 h 480"/>
                  <a:gd name="T20" fmla="*/ 57 w 633"/>
                  <a:gd name="T21" fmla="*/ 200 h 480"/>
                  <a:gd name="T22" fmla="*/ 66 w 633"/>
                  <a:gd name="T23" fmla="*/ 177 h 480"/>
                  <a:gd name="T24" fmla="*/ 75 w 633"/>
                  <a:gd name="T25" fmla="*/ 171 h 480"/>
                  <a:gd name="T26" fmla="*/ 100 w 633"/>
                  <a:gd name="T27" fmla="*/ 120 h 480"/>
                  <a:gd name="T28" fmla="*/ 112 w 633"/>
                  <a:gd name="T29" fmla="*/ 90 h 480"/>
                  <a:gd name="T30" fmla="*/ 128 w 633"/>
                  <a:gd name="T31" fmla="*/ 74 h 480"/>
                  <a:gd name="T32" fmla="*/ 144 w 633"/>
                  <a:gd name="T33" fmla="*/ 30 h 480"/>
                  <a:gd name="T34" fmla="*/ 160 w 633"/>
                  <a:gd name="T35" fmla="*/ 28 h 480"/>
                  <a:gd name="T36" fmla="*/ 181 w 633"/>
                  <a:gd name="T37" fmla="*/ 0 h 480"/>
                  <a:gd name="T38" fmla="*/ 204 w 633"/>
                  <a:gd name="T39" fmla="*/ 12 h 480"/>
                  <a:gd name="T40" fmla="*/ 227 w 633"/>
                  <a:gd name="T41" fmla="*/ 5 h 480"/>
                  <a:gd name="T42" fmla="*/ 243 w 633"/>
                  <a:gd name="T43" fmla="*/ 7 h 480"/>
                  <a:gd name="T44" fmla="*/ 264 w 633"/>
                  <a:gd name="T45" fmla="*/ 14 h 480"/>
                  <a:gd name="T46" fmla="*/ 287 w 633"/>
                  <a:gd name="T47" fmla="*/ 24 h 480"/>
                  <a:gd name="T48" fmla="*/ 316 w 633"/>
                  <a:gd name="T49" fmla="*/ 46 h 480"/>
                  <a:gd name="T50" fmla="*/ 328 w 633"/>
                  <a:gd name="T51" fmla="*/ 53 h 480"/>
                  <a:gd name="T52" fmla="*/ 356 w 633"/>
                  <a:gd name="T53" fmla="*/ 72 h 480"/>
                  <a:gd name="T54" fmla="*/ 369 w 633"/>
                  <a:gd name="T55" fmla="*/ 97 h 480"/>
                  <a:gd name="T56" fmla="*/ 378 w 633"/>
                  <a:gd name="T57" fmla="*/ 115 h 480"/>
                  <a:gd name="T58" fmla="*/ 374 w 633"/>
                  <a:gd name="T59" fmla="*/ 141 h 480"/>
                  <a:gd name="T60" fmla="*/ 362 w 633"/>
                  <a:gd name="T61" fmla="*/ 166 h 480"/>
                  <a:gd name="T62" fmla="*/ 392 w 633"/>
                  <a:gd name="T63" fmla="*/ 164 h 480"/>
                  <a:gd name="T64" fmla="*/ 408 w 633"/>
                  <a:gd name="T65" fmla="*/ 171 h 480"/>
                  <a:gd name="T66" fmla="*/ 429 w 633"/>
                  <a:gd name="T67" fmla="*/ 214 h 480"/>
                  <a:gd name="T68" fmla="*/ 447 w 633"/>
                  <a:gd name="T69" fmla="*/ 242 h 480"/>
                  <a:gd name="T70" fmla="*/ 633 w 633"/>
                  <a:gd name="T71" fmla="*/ 288 h 480"/>
                  <a:gd name="T72" fmla="*/ 452 w 633"/>
                  <a:gd name="T73" fmla="*/ 416 h 480"/>
                  <a:gd name="T74" fmla="*/ 427 w 633"/>
                  <a:gd name="T75" fmla="*/ 428 h 480"/>
                  <a:gd name="T76" fmla="*/ 404 w 633"/>
                  <a:gd name="T77" fmla="*/ 446 h 480"/>
                  <a:gd name="T78" fmla="*/ 376 w 633"/>
                  <a:gd name="T79" fmla="*/ 460 h 480"/>
                  <a:gd name="T80" fmla="*/ 348 w 633"/>
                  <a:gd name="T81" fmla="*/ 464 h 480"/>
                  <a:gd name="T82" fmla="*/ 330 w 633"/>
                  <a:gd name="T83" fmla="*/ 448 h 480"/>
                  <a:gd name="T84" fmla="*/ 300 w 633"/>
                  <a:gd name="T85" fmla="*/ 453 h 480"/>
                  <a:gd name="T86" fmla="*/ 277 w 633"/>
                  <a:gd name="T87" fmla="*/ 478 h 480"/>
                  <a:gd name="T88" fmla="*/ 255 w 633"/>
                  <a:gd name="T89" fmla="*/ 476 h 480"/>
                  <a:gd name="T90" fmla="*/ 220 w 633"/>
                  <a:gd name="T91" fmla="*/ 474 h 480"/>
                  <a:gd name="T92" fmla="*/ 197 w 633"/>
                  <a:gd name="T93" fmla="*/ 457 h 480"/>
                  <a:gd name="T94" fmla="*/ 151 w 633"/>
                  <a:gd name="T95" fmla="*/ 437 h 480"/>
                  <a:gd name="T96" fmla="*/ 124 w 633"/>
                  <a:gd name="T97" fmla="*/ 435 h 480"/>
                  <a:gd name="T98" fmla="*/ 110 w 633"/>
                  <a:gd name="T99" fmla="*/ 402 h 480"/>
                  <a:gd name="T100" fmla="*/ 94 w 633"/>
                  <a:gd name="T101" fmla="*/ 40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33" h="480">
                    <a:moveTo>
                      <a:pt x="94" y="400"/>
                    </a:moveTo>
                    <a:lnTo>
                      <a:pt x="92" y="384"/>
                    </a:lnTo>
                    <a:lnTo>
                      <a:pt x="87" y="380"/>
                    </a:lnTo>
                    <a:lnTo>
                      <a:pt x="85" y="365"/>
                    </a:lnTo>
                    <a:lnTo>
                      <a:pt x="78" y="357"/>
                    </a:lnTo>
                    <a:lnTo>
                      <a:pt x="75" y="350"/>
                    </a:lnTo>
                    <a:lnTo>
                      <a:pt x="71" y="345"/>
                    </a:lnTo>
                    <a:lnTo>
                      <a:pt x="62" y="345"/>
                    </a:lnTo>
                    <a:lnTo>
                      <a:pt x="59" y="341"/>
                    </a:lnTo>
                    <a:lnTo>
                      <a:pt x="61" y="338"/>
                    </a:lnTo>
                    <a:lnTo>
                      <a:pt x="52" y="334"/>
                    </a:lnTo>
                    <a:lnTo>
                      <a:pt x="45" y="320"/>
                    </a:lnTo>
                    <a:lnTo>
                      <a:pt x="41" y="318"/>
                    </a:lnTo>
                    <a:lnTo>
                      <a:pt x="39" y="313"/>
                    </a:lnTo>
                    <a:lnTo>
                      <a:pt x="32" y="304"/>
                    </a:lnTo>
                    <a:lnTo>
                      <a:pt x="29" y="301"/>
                    </a:lnTo>
                    <a:lnTo>
                      <a:pt x="11" y="301"/>
                    </a:lnTo>
                    <a:lnTo>
                      <a:pt x="4" y="297"/>
                    </a:lnTo>
                    <a:lnTo>
                      <a:pt x="0" y="292"/>
                    </a:lnTo>
                    <a:lnTo>
                      <a:pt x="7" y="283"/>
                    </a:lnTo>
                    <a:lnTo>
                      <a:pt x="11" y="281"/>
                    </a:lnTo>
                    <a:lnTo>
                      <a:pt x="13" y="272"/>
                    </a:lnTo>
                    <a:lnTo>
                      <a:pt x="22" y="274"/>
                    </a:lnTo>
                    <a:lnTo>
                      <a:pt x="29" y="272"/>
                    </a:lnTo>
                    <a:lnTo>
                      <a:pt x="34" y="274"/>
                    </a:lnTo>
                    <a:lnTo>
                      <a:pt x="37" y="276"/>
                    </a:lnTo>
                    <a:lnTo>
                      <a:pt x="41" y="271"/>
                    </a:lnTo>
                    <a:lnTo>
                      <a:pt x="46" y="267"/>
                    </a:lnTo>
                    <a:lnTo>
                      <a:pt x="48" y="248"/>
                    </a:lnTo>
                    <a:lnTo>
                      <a:pt x="46" y="232"/>
                    </a:lnTo>
                    <a:lnTo>
                      <a:pt x="50" y="219"/>
                    </a:lnTo>
                    <a:lnTo>
                      <a:pt x="57" y="209"/>
                    </a:lnTo>
                    <a:lnTo>
                      <a:pt x="57" y="200"/>
                    </a:lnTo>
                    <a:lnTo>
                      <a:pt x="53" y="196"/>
                    </a:lnTo>
                    <a:lnTo>
                      <a:pt x="57" y="187"/>
                    </a:lnTo>
                    <a:lnTo>
                      <a:pt x="66" y="177"/>
                    </a:lnTo>
                    <a:lnTo>
                      <a:pt x="68" y="171"/>
                    </a:lnTo>
                    <a:lnTo>
                      <a:pt x="71" y="170"/>
                    </a:lnTo>
                    <a:lnTo>
                      <a:pt x="75" y="171"/>
                    </a:lnTo>
                    <a:lnTo>
                      <a:pt x="84" y="141"/>
                    </a:lnTo>
                    <a:lnTo>
                      <a:pt x="89" y="127"/>
                    </a:lnTo>
                    <a:lnTo>
                      <a:pt x="100" y="120"/>
                    </a:lnTo>
                    <a:lnTo>
                      <a:pt x="100" y="113"/>
                    </a:lnTo>
                    <a:lnTo>
                      <a:pt x="110" y="97"/>
                    </a:lnTo>
                    <a:lnTo>
                      <a:pt x="112" y="90"/>
                    </a:lnTo>
                    <a:lnTo>
                      <a:pt x="119" y="88"/>
                    </a:lnTo>
                    <a:lnTo>
                      <a:pt x="123" y="88"/>
                    </a:lnTo>
                    <a:lnTo>
                      <a:pt x="128" y="74"/>
                    </a:lnTo>
                    <a:lnTo>
                      <a:pt x="138" y="56"/>
                    </a:lnTo>
                    <a:lnTo>
                      <a:pt x="138" y="42"/>
                    </a:lnTo>
                    <a:lnTo>
                      <a:pt x="144" y="30"/>
                    </a:lnTo>
                    <a:lnTo>
                      <a:pt x="146" y="26"/>
                    </a:lnTo>
                    <a:lnTo>
                      <a:pt x="151" y="28"/>
                    </a:lnTo>
                    <a:lnTo>
                      <a:pt x="160" y="28"/>
                    </a:lnTo>
                    <a:lnTo>
                      <a:pt x="163" y="24"/>
                    </a:lnTo>
                    <a:lnTo>
                      <a:pt x="169" y="23"/>
                    </a:lnTo>
                    <a:lnTo>
                      <a:pt x="181" y="0"/>
                    </a:lnTo>
                    <a:lnTo>
                      <a:pt x="185" y="3"/>
                    </a:lnTo>
                    <a:lnTo>
                      <a:pt x="188" y="7"/>
                    </a:lnTo>
                    <a:lnTo>
                      <a:pt x="204" y="12"/>
                    </a:lnTo>
                    <a:lnTo>
                      <a:pt x="211" y="12"/>
                    </a:lnTo>
                    <a:lnTo>
                      <a:pt x="218" y="7"/>
                    </a:lnTo>
                    <a:lnTo>
                      <a:pt x="227" y="5"/>
                    </a:lnTo>
                    <a:lnTo>
                      <a:pt x="232" y="10"/>
                    </a:lnTo>
                    <a:lnTo>
                      <a:pt x="236" y="7"/>
                    </a:lnTo>
                    <a:lnTo>
                      <a:pt x="243" y="7"/>
                    </a:lnTo>
                    <a:lnTo>
                      <a:pt x="255" y="17"/>
                    </a:lnTo>
                    <a:lnTo>
                      <a:pt x="257" y="16"/>
                    </a:lnTo>
                    <a:lnTo>
                      <a:pt x="264" y="14"/>
                    </a:lnTo>
                    <a:lnTo>
                      <a:pt x="273" y="16"/>
                    </a:lnTo>
                    <a:lnTo>
                      <a:pt x="280" y="23"/>
                    </a:lnTo>
                    <a:lnTo>
                      <a:pt x="287" y="24"/>
                    </a:lnTo>
                    <a:lnTo>
                      <a:pt x="301" y="37"/>
                    </a:lnTo>
                    <a:lnTo>
                      <a:pt x="305" y="44"/>
                    </a:lnTo>
                    <a:lnTo>
                      <a:pt x="316" y="46"/>
                    </a:lnTo>
                    <a:lnTo>
                      <a:pt x="317" y="47"/>
                    </a:lnTo>
                    <a:lnTo>
                      <a:pt x="324" y="49"/>
                    </a:lnTo>
                    <a:lnTo>
                      <a:pt x="328" y="53"/>
                    </a:lnTo>
                    <a:lnTo>
                      <a:pt x="339" y="60"/>
                    </a:lnTo>
                    <a:lnTo>
                      <a:pt x="349" y="70"/>
                    </a:lnTo>
                    <a:lnTo>
                      <a:pt x="356" y="72"/>
                    </a:lnTo>
                    <a:lnTo>
                      <a:pt x="365" y="83"/>
                    </a:lnTo>
                    <a:lnTo>
                      <a:pt x="367" y="92"/>
                    </a:lnTo>
                    <a:lnTo>
                      <a:pt x="369" y="97"/>
                    </a:lnTo>
                    <a:lnTo>
                      <a:pt x="374" y="97"/>
                    </a:lnTo>
                    <a:lnTo>
                      <a:pt x="386" y="111"/>
                    </a:lnTo>
                    <a:lnTo>
                      <a:pt x="378" y="115"/>
                    </a:lnTo>
                    <a:lnTo>
                      <a:pt x="376" y="124"/>
                    </a:lnTo>
                    <a:lnTo>
                      <a:pt x="372" y="131"/>
                    </a:lnTo>
                    <a:lnTo>
                      <a:pt x="374" y="141"/>
                    </a:lnTo>
                    <a:lnTo>
                      <a:pt x="369" y="150"/>
                    </a:lnTo>
                    <a:lnTo>
                      <a:pt x="369" y="157"/>
                    </a:lnTo>
                    <a:lnTo>
                      <a:pt x="362" y="166"/>
                    </a:lnTo>
                    <a:lnTo>
                      <a:pt x="367" y="171"/>
                    </a:lnTo>
                    <a:lnTo>
                      <a:pt x="381" y="171"/>
                    </a:lnTo>
                    <a:lnTo>
                      <a:pt x="392" y="164"/>
                    </a:lnTo>
                    <a:lnTo>
                      <a:pt x="402" y="163"/>
                    </a:lnTo>
                    <a:lnTo>
                      <a:pt x="410" y="166"/>
                    </a:lnTo>
                    <a:lnTo>
                      <a:pt x="408" y="171"/>
                    </a:lnTo>
                    <a:lnTo>
                      <a:pt x="410" y="187"/>
                    </a:lnTo>
                    <a:lnTo>
                      <a:pt x="417" y="209"/>
                    </a:lnTo>
                    <a:lnTo>
                      <a:pt x="429" y="214"/>
                    </a:lnTo>
                    <a:lnTo>
                      <a:pt x="427" y="226"/>
                    </a:lnTo>
                    <a:lnTo>
                      <a:pt x="433" y="239"/>
                    </a:lnTo>
                    <a:lnTo>
                      <a:pt x="447" y="242"/>
                    </a:lnTo>
                    <a:lnTo>
                      <a:pt x="457" y="251"/>
                    </a:lnTo>
                    <a:lnTo>
                      <a:pt x="580" y="288"/>
                    </a:lnTo>
                    <a:lnTo>
                      <a:pt x="633" y="288"/>
                    </a:lnTo>
                    <a:lnTo>
                      <a:pt x="503" y="416"/>
                    </a:lnTo>
                    <a:lnTo>
                      <a:pt x="479" y="416"/>
                    </a:lnTo>
                    <a:lnTo>
                      <a:pt x="452" y="416"/>
                    </a:lnTo>
                    <a:lnTo>
                      <a:pt x="445" y="421"/>
                    </a:lnTo>
                    <a:lnTo>
                      <a:pt x="438" y="421"/>
                    </a:lnTo>
                    <a:lnTo>
                      <a:pt x="427" y="428"/>
                    </a:lnTo>
                    <a:lnTo>
                      <a:pt x="424" y="435"/>
                    </a:lnTo>
                    <a:lnTo>
                      <a:pt x="415" y="441"/>
                    </a:lnTo>
                    <a:lnTo>
                      <a:pt x="404" y="446"/>
                    </a:lnTo>
                    <a:lnTo>
                      <a:pt x="392" y="448"/>
                    </a:lnTo>
                    <a:lnTo>
                      <a:pt x="379" y="455"/>
                    </a:lnTo>
                    <a:lnTo>
                      <a:pt x="376" y="460"/>
                    </a:lnTo>
                    <a:lnTo>
                      <a:pt x="374" y="462"/>
                    </a:lnTo>
                    <a:lnTo>
                      <a:pt x="363" y="460"/>
                    </a:lnTo>
                    <a:lnTo>
                      <a:pt x="348" y="464"/>
                    </a:lnTo>
                    <a:lnTo>
                      <a:pt x="340" y="460"/>
                    </a:lnTo>
                    <a:lnTo>
                      <a:pt x="337" y="451"/>
                    </a:lnTo>
                    <a:lnTo>
                      <a:pt x="330" y="448"/>
                    </a:lnTo>
                    <a:lnTo>
                      <a:pt x="310" y="450"/>
                    </a:lnTo>
                    <a:lnTo>
                      <a:pt x="307" y="453"/>
                    </a:lnTo>
                    <a:lnTo>
                      <a:pt x="300" y="453"/>
                    </a:lnTo>
                    <a:lnTo>
                      <a:pt x="291" y="457"/>
                    </a:lnTo>
                    <a:lnTo>
                      <a:pt x="287" y="462"/>
                    </a:lnTo>
                    <a:lnTo>
                      <a:pt x="277" y="478"/>
                    </a:lnTo>
                    <a:lnTo>
                      <a:pt x="268" y="480"/>
                    </a:lnTo>
                    <a:lnTo>
                      <a:pt x="262" y="480"/>
                    </a:lnTo>
                    <a:lnTo>
                      <a:pt x="255" y="476"/>
                    </a:lnTo>
                    <a:lnTo>
                      <a:pt x="243" y="478"/>
                    </a:lnTo>
                    <a:lnTo>
                      <a:pt x="234" y="474"/>
                    </a:lnTo>
                    <a:lnTo>
                      <a:pt x="220" y="474"/>
                    </a:lnTo>
                    <a:lnTo>
                      <a:pt x="213" y="473"/>
                    </a:lnTo>
                    <a:lnTo>
                      <a:pt x="206" y="464"/>
                    </a:lnTo>
                    <a:lnTo>
                      <a:pt x="197" y="457"/>
                    </a:lnTo>
                    <a:lnTo>
                      <a:pt x="179" y="441"/>
                    </a:lnTo>
                    <a:lnTo>
                      <a:pt x="172" y="435"/>
                    </a:lnTo>
                    <a:lnTo>
                      <a:pt x="151" y="437"/>
                    </a:lnTo>
                    <a:lnTo>
                      <a:pt x="140" y="434"/>
                    </a:lnTo>
                    <a:lnTo>
                      <a:pt x="131" y="437"/>
                    </a:lnTo>
                    <a:lnTo>
                      <a:pt x="124" y="435"/>
                    </a:lnTo>
                    <a:lnTo>
                      <a:pt x="117" y="428"/>
                    </a:lnTo>
                    <a:lnTo>
                      <a:pt x="117" y="403"/>
                    </a:lnTo>
                    <a:lnTo>
                      <a:pt x="110" y="402"/>
                    </a:lnTo>
                    <a:lnTo>
                      <a:pt x="101" y="403"/>
                    </a:lnTo>
                    <a:lnTo>
                      <a:pt x="98" y="396"/>
                    </a:lnTo>
                    <a:lnTo>
                      <a:pt x="94" y="4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0" name="Freeform 8">
                <a:extLst>
                  <a:ext uri="{FF2B5EF4-FFF2-40B4-BE49-F238E27FC236}">
                    <a16:creationId xmlns:a16="http://schemas.microsoft.com/office/drawing/2014/main" id="{EEB57437-82A1-266B-9BC9-D70A5EA37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6476" y="2743201"/>
                <a:ext cx="438150" cy="390525"/>
              </a:xfrm>
              <a:custGeom>
                <a:avLst/>
                <a:gdLst>
                  <a:gd name="T0" fmla="*/ 237 w 276"/>
                  <a:gd name="T1" fmla="*/ 232 h 246"/>
                  <a:gd name="T2" fmla="*/ 230 w 276"/>
                  <a:gd name="T3" fmla="*/ 227 h 246"/>
                  <a:gd name="T4" fmla="*/ 219 w 276"/>
                  <a:gd name="T5" fmla="*/ 207 h 246"/>
                  <a:gd name="T6" fmla="*/ 202 w 276"/>
                  <a:gd name="T7" fmla="*/ 195 h 246"/>
                  <a:gd name="T8" fmla="*/ 187 w 276"/>
                  <a:gd name="T9" fmla="*/ 184 h 246"/>
                  <a:gd name="T10" fmla="*/ 179 w 276"/>
                  <a:gd name="T11" fmla="*/ 181 h 246"/>
                  <a:gd name="T12" fmla="*/ 164 w 276"/>
                  <a:gd name="T13" fmla="*/ 172 h 246"/>
                  <a:gd name="T14" fmla="*/ 143 w 276"/>
                  <a:gd name="T15" fmla="*/ 158 h 246"/>
                  <a:gd name="T16" fmla="*/ 127 w 276"/>
                  <a:gd name="T17" fmla="*/ 149 h 246"/>
                  <a:gd name="T18" fmla="*/ 118 w 276"/>
                  <a:gd name="T19" fmla="*/ 152 h 246"/>
                  <a:gd name="T20" fmla="*/ 99 w 276"/>
                  <a:gd name="T21" fmla="*/ 142 h 246"/>
                  <a:gd name="T22" fmla="*/ 90 w 276"/>
                  <a:gd name="T23" fmla="*/ 140 h 246"/>
                  <a:gd name="T24" fmla="*/ 74 w 276"/>
                  <a:gd name="T25" fmla="*/ 147 h 246"/>
                  <a:gd name="T26" fmla="*/ 51 w 276"/>
                  <a:gd name="T27" fmla="*/ 142 h 246"/>
                  <a:gd name="T28" fmla="*/ 44 w 276"/>
                  <a:gd name="T29" fmla="*/ 135 h 246"/>
                  <a:gd name="T30" fmla="*/ 26 w 276"/>
                  <a:gd name="T31" fmla="*/ 159 h 246"/>
                  <a:gd name="T32" fmla="*/ 14 w 276"/>
                  <a:gd name="T33" fmla="*/ 163 h 246"/>
                  <a:gd name="T34" fmla="*/ 5 w 276"/>
                  <a:gd name="T35" fmla="*/ 152 h 246"/>
                  <a:gd name="T36" fmla="*/ 0 w 276"/>
                  <a:gd name="T37" fmla="*/ 124 h 246"/>
                  <a:gd name="T38" fmla="*/ 5 w 276"/>
                  <a:gd name="T39" fmla="*/ 113 h 246"/>
                  <a:gd name="T40" fmla="*/ 16 w 276"/>
                  <a:gd name="T41" fmla="*/ 81 h 246"/>
                  <a:gd name="T42" fmla="*/ 23 w 276"/>
                  <a:gd name="T43" fmla="*/ 66 h 246"/>
                  <a:gd name="T44" fmla="*/ 17 w 276"/>
                  <a:gd name="T45" fmla="*/ 58 h 246"/>
                  <a:gd name="T46" fmla="*/ 21 w 276"/>
                  <a:gd name="T47" fmla="*/ 41 h 246"/>
                  <a:gd name="T48" fmla="*/ 37 w 276"/>
                  <a:gd name="T49" fmla="*/ 37 h 246"/>
                  <a:gd name="T50" fmla="*/ 35 w 276"/>
                  <a:gd name="T51" fmla="*/ 28 h 246"/>
                  <a:gd name="T52" fmla="*/ 44 w 276"/>
                  <a:gd name="T53" fmla="*/ 23 h 246"/>
                  <a:gd name="T54" fmla="*/ 58 w 276"/>
                  <a:gd name="T55" fmla="*/ 19 h 246"/>
                  <a:gd name="T56" fmla="*/ 69 w 276"/>
                  <a:gd name="T57" fmla="*/ 12 h 246"/>
                  <a:gd name="T58" fmla="*/ 81 w 276"/>
                  <a:gd name="T59" fmla="*/ 0 h 246"/>
                  <a:gd name="T60" fmla="*/ 92 w 276"/>
                  <a:gd name="T61" fmla="*/ 11 h 246"/>
                  <a:gd name="T62" fmla="*/ 115 w 276"/>
                  <a:gd name="T63" fmla="*/ 87 h 246"/>
                  <a:gd name="T64" fmla="*/ 120 w 276"/>
                  <a:gd name="T65" fmla="*/ 97 h 246"/>
                  <a:gd name="T66" fmla="*/ 125 w 276"/>
                  <a:gd name="T67" fmla="*/ 104 h 246"/>
                  <a:gd name="T68" fmla="*/ 131 w 276"/>
                  <a:gd name="T69" fmla="*/ 126 h 246"/>
                  <a:gd name="T70" fmla="*/ 138 w 276"/>
                  <a:gd name="T71" fmla="*/ 115 h 246"/>
                  <a:gd name="T72" fmla="*/ 136 w 276"/>
                  <a:gd name="T73" fmla="*/ 108 h 246"/>
                  <a:gd name="T74" fmla="*/ 147 w 276"/>
                  <a:gd name="T75" fmla="*/ 117 h 246"/>
                  <a:gd name="T76" fmla="*/ 150 w 276"/>
                  <a:gd name="T77" fmla="*/ 131 h 246"/>
                  <a:gd name="T78" fmla="*/ 159 w 276"/>
                  <a:gd name="T79" fmla="*/ 133 h 246"/>
                  <a:gd name="T80" fmla="*/ 168 w 276"/>
                  <a:gd name="T81" fmla="*/ 133 h 246"/>
                  <a:gd name="T82" fmla="*/ 180 w 276"/>
                  <a:gd name="T83" fmla="*/ 140 h 246"/>
                  <a:gd name="T84" fmla="*/ 196 w 276"/>
                  <a:gd name="T85" fmla="*/ 147 h 246"/>
                  <a:gd name="T86" fmla="*/ 214 w 276"/>
                  <a:gd name="T87" fmla="*/ 168 h 246"/>
                  <a:gd name="T88" fmla="*/ 228 w 276"/>
                  <a:gd name="T89" fmla="*/ 181 h 246"/>
                  <a:gd name="T90" fmla="*/ 237 w 276"/>
                  <a:gd name="T91" fmla="*/ 190 h 246"/>
                  <a:gd name="T92" fmla="*/ 241 w 276"/>
                  <a:gd name="T93" fmla="*/ 190 h 246"/>
                  <a:gd name="T94" fmla="*/ 253 w 276"/>
                  <a:gd name="T95" fmla="*/ 209 h 246"/>
                  <a:gd name="T96" fmla="*/ 257 w 276"/>
                  <a:gd name="T97" fmla="*/ 220 h 246"/>
                  <a:gd name="T98" fmla="*/ 265 w 276"/>
                  <a:gd name="T99" fmla="*/ 227 h 246"/>
                  <a:gd name="T100" fmla="*/ 273 w 276"/>
                  <a:gd name="T101" fmla="*/ 227 h 246"/>
                  <a:gd name="T102" fmla="*/ 276 w 276"/>
                  <a:gd name="T103" fmla="*/ 230 h 246"/>
                  <a:gd name="T104" fmla="*/ 262 w 276"/>
                  <a:gd name="T105" fmla="*/ 241 h 246"/>
                  <a:gd name="T106" fmla="*/ 249 w 276"/>
                  <a:gd name="T107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76" h="246">
                    <a:moveTo>
                      <a:pt x="249" y="246"/>
                    </a:moveTo>
                    <a:lnTo>
                      <a:pt x="237" y="232"/>
                    </a:lnTo>
                    <a:lnTo>
                      <a:pt x="232" y="232"/>
                    </a:lnTo>
                    <a:lnTo>
                      <a:pt x="230" y="227"/>
                    </a:lnTo>
                    <a:lnTo>
                      <a:pt x="228" y="218"/>
                    </a:lnTo>
                    <a:lnTo>
                      <a:pt x="219" y="207"/>
                    </a:lnTo>
                    <a:lnTo>
                      <a:pt x="212" y="205"/>
                    </a:lnTo>
                    <a:lnTo>
                      <a:pt x="202" y="195"/>
                    </a:lnTo>
                    <a:lnTo>
                      <a:pt x="191" y="188"/>
                    </a:lnTo>
                    <a:lnTo>
                      <a:pt x="187" y="184"/>
                    </a:lnTo>
                    <a:lnTo>
                      <a:pt x="180" y="182"/>
                    </a:lnTo>
                    <a:lnTo>
                      <a:pt x="179" y="181"/>
                    </a:lnTo>
                    <a:lnTo>
                      <a:pt x="168" y="179"/>
                    </a:lnTo>
                    <a:lnTo>
                      <a:pt x="164" y="172"/>
                    </a:lnTo>
                    <a:lnTo>
                      <a:pt x="150" y="159"/>
                    </a:lnTo>
                    <a:lnTo>
                      <a:pt x="143" y="158"/>
                    </a:lnTo>
                    <a:lnTo>
                      <a:pt x="136" y="151"/>
                    </a:lnTo>
                    <a:lnTo>
                      <a:pt x="127" y="149"/>
                    </a:lnTo>
                    <a:lnTo>
                      <a:pt x="120" y="151"/>
                    </a:lnTo>
                    <a:lnTo>
                      <a:pt x="118" y="152"/>
                    </a:lnTo>
                    <a:lnTo>
                      <a:pt x="106" y="142"/>
                    </a:lnTo>
                    <a:lnTo>
                      <a:pt x="99" y="142"/>
                    </a:lnTo>
                    <a:lnTo>
                      <a:pt x="95" y="145"/>
                    </a:lnTo>
                    <a:lnTo>
                      <a:pt x="90" y="140"/>
                    </a:lnTo>
                    <a:lnTo>
                      <a:pt x="81" y="142"/>
                    </a:lnTo>
                    <a:lnTo>
                      <a:pt x="74" y="147"/>
                    </a:lnTo>
                    <a:lnTo>
                      <a:pt x="67" y="147"/>
                    </a:lnTo>
                    <a:lnTo>
                      <a:pt x="51" y="142"/>
                    </a:lnTo>
                    <a:lnTo>
                      <a:pt x="48" y="138"/>
                    </a:lnTo>
                    <a:lnTo>
                      <a:pt x="44" y="135"/>
                    </a:lnTo>
                    <a:lnTo>
                      <a:pt x="32" y="158"/>
                    </a:lnTo>
                    <a:lnTo>
                      <a:pt x="26" y="159"/>
                    </a:lnTo>
                    <a:lnTo>
                      <a:pt x="23" y="163"/>
                    </a:lnTo>
                    <a:lnTo>
                      <a:pt x="14" y="163"/>
                    </a:lnTo>
                    <a:lnTo>
                      <a:pt x="7" y="159"/>
                    </a:lnTo>
                    <a:lnTo>
                      <a:pt x="5" y="152"/>
                    </a:lnTo>
                    <a:lnTo>
                      <a:pt x="0" y="135"/>
                    </a:lnTo>
                    <a:lnTo>
                      <a:pt x="0" y="124"/>
                    </a:lnTo>
                    <a:lnTo>
                      <a:pt x="5" y="119"/>
                    </a:lnTo>
                    <a:lnTo>
                      <a:pt x="5" y="113"/>
                    </a:lnTo>
                    <a:lnTo>
                      <a:pt x="12" y="103"/>
                    </a:lnTo>
                    <a:lnTo>
                      <a:pt x="16" y="81"/>
                    </a:lnTo>
                    <a:lnTo>
                      <a:pt x="19" y="69"/>
                    </a:lnTo>
                    <a:lnTo>
                      <a:pt x="23" y="66"/>
                    </a:lnTo>
                    <a:lnTo>
                      <a:pt x="21" y="62"/>
                    </a:lnTo>
                    <a:lnTo>
                      <a:pt x="17" y="58"/>
                    </a:lnTo>
                    <a:lnTo>
                      <a:pt x="21" y="50"/>
                    </a:lnTo>
                    <a:lnTo>
                      <a:pt x="21" y="41"/>
                    </a:lnTo>
                    <a:lnTo>
                      <a:pt x="26" y="37"/>
                    </a:lnTo>
                    <a:lnTo>
                      <a:pt x="37" y="37"/>
                    </a:lnTo>
                    <a:lnTo>
                      <a:pt x="37" y="34"/>
                    </a:lnTo>
                    <a:lnTo>
                      <a:pt x="35" y="28"/>
                    </a:lnTo>
                    <a:lnTo>
                      <a:pt x="37" y="25"/>
                    </a:lnTo>
                    <a:lnTo>
                      <a:pt x="44" y="23"/>
                    </a:lnTo>
                    <a:lnTo>
                      <a:pt x="49" y="19"/>
                    </a:lnTo>
                    <a:lnTo>
                      <a:pt x="58" y="19"/>
                    </a:lnTo>
                    <a:lnTo>
                      <a:pt x="62" y="14"/>
                    </a:lnTo>
                    <a:lnTo>
                      <a:pt x="69" y="12"/>
                    </a:lnTo>
                    <a:lnTo>
                      <a:pt x="76" y="9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92" y="11"/>
                    </a:lnTo>
                    <a:lnTo>
                      <a:pt x="108" y="57"/>
                    </a:lnTo>
                    <a:lnTo>
                      <a:pt x="115" y="87"/>
                    </a:lnTo>
                    <a:lnTo>
                      <a:pt x="117" y="87"/>
                    </a:lnTo>
                    <a:lnTo>
                      <a:pt x="120" y="97"/>
                    </a:lnTo>
                    <a:lnTo>
                      <a:pt x="120" y="103"/>
                    </a:lnTo>
                    <a:lnTo>
                      <a:pt x="125" y="104"/>
                    </a:lnTo>
                    <a:lnTo>
                      <a:pt x="129" y="113"/>
                    </a:lnTo>
                    <a:lnTo>
                      <a:pt x="131" y="126"/>
                    </a:lnTo>
                    <a:lnTo>
                      <a:pt x="138" y="128"/>
                    </a:lnTo>
                    <a:lnTo>
                      <a:pt x="138" y="115"/>
                    </a:lnTo>
                    <a:lnTo>
                      <a:pt x="136" y="115"/>
                    </a:lnTo>
                    <a:lnTo>
                      <a:pt x="136" y="108"/>
                    </a:lnTo>
                    <a:lnTo>
                      <a:pt x="140" y="106"/>
                    </a:lnTo>
                    <a:lnTo>
                      <a:pt x="147" y="117"/>
                    </a:lnTo>
                    <a:lnTo>
                      <a:pt x="143" y="120"/>
                    </a:lnTo>
                    <a:lnTo>
                      <a:pt x="150" y="131"/>
                    </a:lnTo>
                    <a:lnTo>
                      <a:pt x="156" y="135"/>
                    </a:lnTo>
                    <a:lnTo>
                      <a:pt x="159" y="133"/>
                    </a:lnTo>
                    <a:lnTo>
                      <a:pt x="166" y="131"/>
                    </a:lnTo>
                    <a:lnTo>
                      <a:pt x="168" y="133"/>
                    </a:lnTo>
                    <a:lnTo>
                      <a:pt x="173" y="131"/>
                    </a:lnTo>
                    <a:lnTo>
                      <a:pt x="180" y="140"/>
                    </a:lnTo>
                    <a:lnTo>
                      <a:pt x="186" y="145"/>
                    </a:lnTo>
                    <a:lnTo>
                      <a:pt x="196" y="147"/>
                    </a:lnTo>
                    <a:lnTo>
                      <a:pt x="200" y="152"/>
                    </a:lnTo>
                    <a:lnTo>
                      <a:pt x="214" y="168"/>
                    </a:lnTo>
                    <a:lnTo>
                      <a:pt x="219" y="177"/>
                    </a:lnTo>
                    <a:lnTo>
                      <a:pt x="228" y="181"/>
                    </a:lnTo>
                    <a:lnTo>
                      <a:pt x="234" y="190"/>
                    </a:lnTo>
                    <a:lnTo>
                      <a:pt x="237" y="190"/>
                    </a:lnTo>
                    <a:lnTo>
                      <a:pt x="237" y="186"/>
                    </a:lnTo>
                    <a:lnTo>
                      <a:pt x="241" y="190"/>
                    </a:lnTo>
                    <a:lnTo>
                      <a:pt x="248" y="207"/>
                    </a:lnTo>
                    <a:lnTo>
                      <a:pt x="253" y="209"/>
                    </a:lnTo>
                    <a:lnTo>
                      <a:pt x="258" y="216"/>
                    </a:lnTo>
                    <a:lnTo>
                      <a:pt x="257" y="220"/>
                    </a:lnTo>
                    <a:lnTo>
                      <a:pt x="260" y="227"/>
                    </a:lnTo>
                    <a:lnTo>
                      <a:pt x="265" y="227"/>
                    </a:lnTo>
                    <a:lnTo>
                      <a:pt x="269" y="228"/>
                    </a:lnTo>
                    <a:lnTo>
                      <a:pt x="273" y="227"/>
                    </a:lnTo>
                    <a:lnTo>
                      <a:pt x="274" y="228"/>
                    </a:lnTo>
                    <a:lnTo>
                      <a:pt x="276" y="230"/>
                    </a:lnTo>
                    <a:lnTo>
                      <a:pt x="269" y="237"/>
                    </a:lnTo>
                    <a:lnTo>
                      <a:pt x="262" y="241"/>
                    </a:lnTo>
                    <a:lnTo>
                      <a:pt x="258" y="244"/>
                    </a:lnTo>
                    <a:lnTo>
                      <a:pt x="249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1" name="Freeform 9">
                <a:extLst>
                  <a:ext uri="{FF2B5EF4-FFF2-40B4-BE49-F238E27FC236}">
                    <a16:creationId xmlns:a16="http://schemas.microsoft.com/office/drawing/2014/main" id="{24768AF6-2BF5-9762-C918-4995EEC087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3663" y="3108326"/>
                <a:ext cx="100013" cy="120650"/>
              </a:xfrm>
              <a:custGeom>
                <a:avLst/>
                <a:gdLst>
                  <a:gd name="T0" fmla="*/ 48 w 63"/>
                  <a:gd name="T1" fmla="*/ 71 h 76"/>
                  <a:gd name="T2" fmla="*/ 40 w 63"/>
                  <a:gd name="T3" fmla="*/ 68 h 76"/>
                  <a:gd name="T4" fmla="*/ 30 w 63"/>
                  <a:gd name="T5" fmla="*/ 69 h 76"/>
                  <a:gd name="T6" fmla="*/ 19 w 63"/>
                  <a:gd name="T7" fmla="*/ 76 h 76"/>
                  <a:gd name="T8" fmla="*/ 5 w 63"/>
                  <a:gd name="T9" fmla="*/ 76 h 76"/>
                  <a:gd name="T10" fmla="*/ 0 w 63"/>
                  <a:gd name="T11" fmla="*/ 71 h 76"/>
                  <a:gd name="T12" fmla="*/ 7 w 63"/>
                  <a:gd name="T13" fmla="*/ 62 h 76"/>
                  <a:gd name="T14" fmla="*/ 7 w 63"/>
                  <a:gd name="T15" fmla="*/ 55 h 76"/>
                  <a:gd name="T16" fmla="*/ 12 w 63"/>
                  <a:gd name="T17" fmla="*/ 46 h 76"/>
                  <a:gd name="T18" fmla="*/ 10 w 63"/>
                  <a:gd name="T19" fmla="*/ 36 h 76"/>
                  <a:gd name="T20" fmla="*/ 14 w 63"/>
                  <a:gd name="T21" fmla="*/ 29 h 76"/>
                  <a:gd name="T22" fmla="*/ 16 w 63"/>
                  <a:gd name="T23" fmla="*/ 20 h 76"/>
                  <a:gd name="T24" fmla="*/ 33 w 63"/>
                  <a:gd name="T25" fmla="*/ 14 h 76"/>
                  <a:gd name="T26" fmla="*/ 37 w 63"/>
                  <a:gd name="T27" fmla="*/ 11 h 76"/>
                  <a:gd name="T28" fmla="*/ 44 w 63"/>
                  <a:gd name="T29" fmla="*/ 7 h 76"/>
                  <a:gd name="T30" fmla="*/ 51 w 63"/>
                  <a:gd name="T31" fmla="*/ 0 h 76"/>
                  <a:gd name="T32" fmla="*/ 51 w 63"/>
                  <a:gd name="T33" fmla="*/ 0 h 76"/>
                  <a:gd name="T34" fmla="*/ 51 w 63"/>
                  <a:gd name="T35" fmla="*/ 4 h 76"/>
                  <a:gd name="T36" fmla="*/ 60 w 63"/>
                  <a:gd name="T37" fmla="*/ 13 h 76"/>
                  <a:gd name="T38" fmla="*/ 63 w 63"/>
                  <a:gd name="T39" fmla="*/ 13 h 76"/>
                  <a:gd name="T40" fmla="*/ 62 w 63"/>
                  <a:gd name="T41" fmla="*/ 16 h 76"/>
                  <a:gd name="T42" fmla="*/ 63 w 63"/>
                  <a:gd name="T43" fmla="*/ 29 h 76"/>
                  <a:gd name="T44" fmla="*/ 60 w 63"/>
                  <a:gd name="T45" fmla="*/ 30 h 76"/>
                  <a:gd name="T46" fmla="*/ 51 w 63"/>
                  <a:gd name="T47" fmla="*/ 39 h 76"/>
                  <a:gd name="T48" fmla="*/ 46 w 63"/>
                  <a:gd name="T49" fmla="*/ 39 h 76"/>
                  <a:gd name="T50" fmla="*/ 42 w 63"/>
                  <a:gd name="T51" fmla="*/ 46 h 76"/>
                  <a:gd name="T52" fmla="*/ 33 w 63"/>
                  <a:gd name="T53" fmla="*/ 46 h 76"/>
                  <a:gd name="T54" fmla="*/ 37 w 63"/>
                  <a:gd name="T55" fmla="*/ 52 h 76"/>
                  <a:gd name="T56" fmla="*/ 40 w 63"/>
                  <a:gd name="T57" fmla="*/ 52 h 76"/>
                  <a:gd name="T58" fmla="*/ 46 w 63"/>
                  <a:gd name="T59" fmla="*/ 50 h 76"/>
                  <a:gd name="T60" fmla="*/ 56 w 63"/>
                  <a:gd name="T61" fmla="*/ 50 h 76"/>
                  <a:gd name="T62" fmla="*/ 58 w 63"/>
                  <a:gd name="T63" fmla="*/ 52 h 76"/>
                  <a:gd name="T64" fmla="*/ 49 w 63"/>
                  <a:gd name="T65" fmla="*/ 69 h 76"/>
                  <a:gd name="T66" fmla="*/ 48 w 63"/>
                  <a:gd name="T67" fmla="*/ 7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3" h="76">
                    <a:moveTo>
                      <a:pt x="48" y="71"/>
                    </a:moveTo>
                    <a:lnTo>
                      <a:pt x="40" y="68"/>
                    </a:lnTo>
                    <a:lnTo>
                      <a:pt x="30" y="69"/>
                    </a:lnTo>
                    <a:lnTo>
                      <a:pt x="19" y="76"/>
                    </a:lnTo>
                    <a:lnTo>
                      <a:pt x="5" y="76"/>
                    </a:lnTo>
                    <a:lnTo>
                      <a:pt x="0" y="71"/>
                    </a:lnTo>
                    <a:lnTo>
                      <a:pt x="7" y="62"/>
                    </a:lnTo>
                    <a:lnTo>
                      <a:pt x="7" y="55"/>
                    </a:lnTo>
                    <a:lnTo>
                      <a:pt x="12" y="46"/>
                    </a:lnTo>
                    <a:lnTo>
                      <a:pt x="10" y="36"/>
                    </a:lnTo>
                    <a:lnTo>
                      <a:pt x="14" y="29"/>
                    </a:lnTo>
                    <a:lnTo>
                      <a:pt x="16" y="20"/>
                    </a:lnTo>
                    <a:lnTo>
                      <a:pt x="33" y="14"/>
                    </a:lnTo>
                    <a:lnTo>
                      <a:pt x="37" y="11"/>
                    </a:lnTo>
                    <a:lnTo>
                      <a:pt x="44" y="7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1" y="4"/>
                    </a:lnTo>
                    <a:lnTo>
                      <a:pt x="60" y="13"/>
                    </a:lnTo>
                    <a:lnTo>
                      <a:pt x="63" y="13"/>
                    </a:lnTo>
                    <a:lnTo>
                      <a:pt x="62" y="16"/>
                    </a:lnTo>
                    <a:lnTo>
                      <a:pt x="63" y="29"/>
                    </a:lnTo>
                    <a:lnTo>
                      <a:pt x="60" y="30"/>
                    </a:lnTo>
                    <a:lnTo>
                      <a:pt x="51" y="39"/>
                    </a:lnTo>
                    <a:lnTo>
                      <a:pt x="46" y="39"/>
                    </a:lnTo>
                    <a:lnTo>
                      <a:pt x="42" y="46"/>
                    </a:lnTo>
                    <a:lnTo>
                      <a:pt x="33" y="46"/>
                    </a:lnTo>
                    <a:lnTo>
                      <a:pt x="37" y="52"/>
                    </a:lnTo>
                    <a:lnTo>
                      <a:pt x="40" y="52"/>
                    </a:lnTo>
                    <a:lnTo>
                      <a:pt x="46" y="50"/>
                    </a:lnTo>
                    <a:lnTo>
                      <a:pt x="56" y="50"/>
                    </a:lnTo>
                    <a:lnTo>
                      <a:pt x="58" y="52"/>
                    </a:lnTo>
                    <a:lnTo>
                      <a:pt x="49" y="69"/>
                    </a:lnTo>
                    <a:lnTo>
                      <a:pt x="48" y="71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2" name="Freeform 10">
                <a:extLst>
                  <a:ext uri="{FF2B5EF4-FFF2-40B4-BE49-F238E27FC236}">
                    <a16:creationId xmlns:a16="http://schemas.microsoft.com/office/drawing/2014/main" id="{DEE35AC6-B705-4A8F-AB34-F8BF6DA82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0801" y="3155951"/>
                <a:ext cx="674688" cy="895350"/>
              </a:xfrm>
              <a:custGeom>
                <a:avLst/>
                <a:gdLst>
                  <a:gd name="T0" fmla="*/ 44 w 425"/>
                  <a:gd name="T1" fmla="*/ 330 h 564"/>
                  <a:gd name="T2" fmla="*/ 80 w 425"/>
                  <a:gd name="T3" fmla="*/ 316 h 564"/>
                  <a:gd name="T4" fmla="*/ 103 w 425"/>
                  <a:gd name="T5" fmla="*/ 296 h 564"/>
                  <a:gd name="T6" fmla="*/ 144 w 425"/>
                  <a:gd name="T7" fmla="*/ 291 h 564"/>
                  <a:gd name="T8" fmla="*/ 245 w 425"/>
                  <a:gd name="T9" fmla="*/ 163 h 564"/>
                  <a:gd name="T10" fmla="*/ 98 w 425"/>
                  <a:gd name="T11" fmla="*/ 114 h 564"/>
                  <a:gd name="T12" fmla="*/ 82 w 425"/>
                  <a:gd name="T13" fmla="*/ 84 h 564"/>
                  <a:gd name="T14" fmla="*/ 76 w 425"/>
                  <a:gd name="T15" fmla="*/ 39 h 564"/>
                  <a:gd name="T16" fmla="*/ 90 w 425"/>
                  <a:gd name="T17" fmla="*/ 27 h 564"/>
                  <a:gd name="T18" fmla="*/ 122 w 425"/>
                  <a:gd name="T19" fmla="*/ 62 h 564"/>
                  <a:gd name="T20" fmla="*/ 156 w 425"/>
                  <a:gd name="T21" fmla="*/ 73 h 564"/>
                  <a:gd name="T22" fmla="*/ 177 w 425"/>
                  <a:gd name="T23" fmla="*/ 62 h 564"/>
                  <a:gd name="T24" fmla="*/ 197 w 425"/>
                  <a:gd name="T25" fmla="*/ 54 h 564"/>
                  <a:gd name="T26" fmla="*/ 220 w 425"/>
                  <a:gd name="T27" fmla="*/ 55 h 564"/>
                  <a:gd name="T28" fmla="*/ 266 w 425"/>
                  <a:gd name="T29" fmla="*/ 36 h 564"/>
                  <a:gd name="T30" fmla="*/ 291 w 425"/>
                  <a:gd name="T31" fmla="*/ 38 h 564"/>
                  <a:gd name="T32" fmla="*/ 319 w 425"/>
                  <a:gd name="T33" fmla="*/ 34 h 564"/>
                  <a:gd name="T34" fmla="*/ 353 w 425"/>
                  <a:gd name="T35" fmla="*/ 23 h 564"/>
                  <a:gd name="T36" fmla="*/ 369 w 425"/>
                  <a:gd name="T37" fmla="*/ 22 h 564"/>
                  <a:gd name="T38" fmla="*/ 390 w 425"/>
                  <a:gd name="T39" fmla="*/ 15 h 564"/>
                  <a:gd name="T40" fmla="*/ 397 w 425"/>
                  <a:gd name="T41" fmla="*/ 2 h 564"/>
                  <a:gd name="T42" fmla="*/ 406 w 425"/>
                  <a:gd name="T43" fmla="*/ 4 h 564"/>
                  <a:gd name="T44" fmla="*/ 423 w 425"/>
                  <a:gd name="T45" fmla="*/ 9 h 564"/>
                  <a:gd name="T46" fmla="*/ 415 w 425"/>
                  <a:gd name="T47" fmla="*/ 29 h 564"/>
                  <a:gd name="T48" fmla="*/ 420 w 425"/>
                  <a:gd name="T49" fmla="*/ 36 h 564"/>
                  <a:gd name="T50" fmla="*/ 413 w 425"/>
                  <a:gd name="T51" fmla="*/ 52 h 564"/>
                  <a:gd name="T52" fmla="*/ 415 w 425"/>
                  <a:gd name="T53" fmla="*/ 69 h 564"/>
                  <a:gd name="T54" fmla="*/ 422 w 425"/>
                  <a:gd name="T55" fmla="*/ 68 h 564"/>
                  <a:gd name="T56" fmla="*/ 422 w 425"/>
                  <a:gd name="T57" fmla="*/ 73 h 564"/>
                  <a:gd name="T58" fmla="*/ 406 w 425"/>
                  <a:gd name="T59" fmla="*/ 84 h 564"/>
                  <a:gd name="T60" fmla="*/ 406 w 425"/>
                  <a:gd name="T61" fmla="*/ 103 h 564"/>
                  <a:gd name="T62" fmla="*/ 381 w 425"/>
                  <a:gd name="T63" fmla="*/ 154 h 564"/>
                  <a:gd name="T64" fmla="*/ 363 w 425"/>
                  <a:gd name="T65" fmla="*/ 172 h 564"/>
                  <a:gd name="T66" fmla="*/ 361 w 425"/>
                  <a:gd name="T67" fmla="*/ 186 h 564"/>
                  <a:gd name="T68" fmla="*/ 323 w 425"/>
                  <a:gd name="T69" fmla="*/ 266 h 564"/>
                  <a:gd name="T70" fmla="*/ 291 w 425"/>
                  <a:gd name="T71" fmla="*/ 319 h 564"/>
                  <a:gd name="T72" fmla="*/ 209 w 425"/>
                  <a:gd name="T73" fmla="*/ 399 h 564"/>
                  <a:gd name="T74" fmla="*/ 165 w 425"/>
                  <a:gd name="T75" fmla="*/ 427 h 564"/>
                  <a:gd name="T76" fmla="*/ 115 w 425"/>
                  <a:gd name="T77" fmla="*/ 470 h 564"/>
                  <a:gd name="T78" fmla="*/ 85 w 425"/>
                  <a:gd name="T79" fmla="*/ 503 h 564"/>
                  <a:gd name="T80" fmla="*/ 64 w 425"/>
                  <a:gd name="T81" fmla="*/ 523 h 564"/>
                  <a:gd name="T82" fmla="*/ 0 w 425"/>
                  <a:gd name="T83" fmla="*/ 537 h 564"/>
                  <a:gd name="T84" fmla="*/ 39 w 425"/>
                  <a:gd name="T85" fmla="*/ 337 h 5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5" h="564">
                    <a:moveTo>
                      <a:pt x="39" y="337"/>
                    </a:moveTo>
                    <a:lnTo>
                      <a:pt x="41" y="335"/>
                    </a:lnTo>
                    <a:lnTo>
                      <a:pt x="44" y="330"/>
                    </a:lnTo>
                    <a:lnTo>
                      <a:pt x="57" y="323"/>
                    </a:lnTo>
                    <a:lnTo>
                      <a:pt x="69" y="321"/>
                    </a:lnTo>
                    <a:lnTo>
                      <a:pt x="80" y="316"/>
                    </a:lnTo>
                    <a:lnTo>
                      <a:pt x="89" y="310"/>
                    </a:lnTo>
                    <a:lnTo>
                      <a:pt x="92" y="303"/>
                    </a:lnTo>
                    <a:lnTo>
                      <a:pt x="103" y="296"/>
                    </a:lnTo>
                    <a:lnTo>
                      <a:pt x="110" y="296"/>
                    </a:lnTo>
                    <a:lnTo>
                      <a:pt x="117" y="291"/>
                    </a:lnTo>
                    <a:lnTo>
                      <a:pt x="144" y="291"/>
                    </a:lnTo>
                    <a:lnTo>
                      <a:pt x="168" y="291"/>
                    </a:lnTo>
                    <a:lnTo>
                      <a:pt x="298" y="163"/>
                    </a:lnTo>
                    <a:lnTo>
                      <a:pt x="245" y="163"/>
                    </a:lnTo>
                    <a:lnTo>
                      <a:pt x="122" y="126"/>
                    </a:lnTo>
                    <a:lnTo>
                      <a:pt x="112" y="117"/>
                    </a:lnTo>
                    <a:lnTo>
                      <a:pt x="98" y="114"/>
                    </a:lnTo>
                    <a:lnTo>
                      <a:pt x="92" y="101"/>
                    </a:lnTo>
                    <a:lnTo>
                      <a:pt x="94" y="89"/>
                    </a:lnTo>
                    <a:lnTo>
                      <a:pt x="82" y="84"/>
                    </a:lnTo>
                    <a:lnTo>
                      <a:pt x="75" y="62"/>
                    </a:lnTo>
                    <a:lnTo>
                      <a:pt x="73" y="46"/>
                    </a:lnTo>
                    <a:lnTo>
                      <a:pt x="76" y="39"/>
                    </a:lnTo>
                    <a:lnTo>
                      <a:pt x="85" y="22"/>
                    </a:lnTo>
                    <a:lnTo>
                      <a:pt x="89" y="27"/>
                    </a:lnTo>
                    <a:lnTo>
                      <a:pt x="90" y="27"/>
                    </a:lnTo>
                    <a:lnTo>
                      <a:pt x="115" y="55"/>
                    </a:lnTo>
                    <a:lnTo>
                      <a:pt x="119" y="62"/>
                    </a:lnTo>
                    <a:lnTo>
                      <a:pt x="122" y="62"/>
                    </a:lnTo>
                    <a:lnTo>
                      <a:pt x="133" y="71"/>
                    </a:lnTo>
                    <a:lnTo>
                      <a:pt x="144" y="75"/>
                    </a:lnTo>
                    <a:lnTo>
                      <a:pt x="156" y="73"/>
                    </a:lnTo>
                    <a:lnTo>
                      <a:pt x="160" y="68"/>
                    </a:lnTo>
                    <a:lnTo>
                      <a:pt x="170" y="62"/>
                    </a:lnTo>
                    <a:lnTo>
                      <a:pt x="177" y="62"/>
                    </a:lnTo>
                    <a:lnTo>
                      <a:pt x="190" y="50"/>
                    </a:lnTo>
                    <a:lnTo>
                      <a:pt x="195" y="50"/>
                    </a:lnTo>
                    <a:lnTo>
                      <a:pt x="197" y="54"/>
                    </a:lnTo>
                    <a:lnTo>
                      <a:pt x="209" y="52"/>
                    </a:lnTo>
                    <a:lnTo>
                      <a:pt x="213" y="52"/>
                    </a:lnTo>
                    <a:lnTo>
                      <a:pt x="220" y="55"/>
                    </a:lnTo>
                    <a:lnTo>
                      <a:pt x="232" y="54"/>
                    </a:lnTo>
                    <a:lnTo>
                      <a:pt x="257" y="38"/>
                    </a:lnTo>
                    <a:lnTo>
                      <a:pt x="266" y="36"/>
                    </a:lnTo>
                    <a:lnTo>
                      <a:pt x="275" y="39"/>
                    </a:lnTo>
                    <a:lnTo>
                      <a:pt x="280" y="38"/>
                    </a:lnTo>
                    <a:lnTo>
                      <a:pt x="291" y="38"/>
                    </a:lnTo>
                    <a:lnTo>
                      <a:pt x="303" y="32"/>
                    </a:lnTo>
                    <a:lnTo>
                      <a:pt x="315" y="32"/>
                    </a:lnTo>
                    <a:lnTo>
                      <a:pt x="319" y="34"/>
                    </a:lnTo>
                    <a:lnTo>
                      <a:pt x="324" y="34"/>
                    </a:lnTo>
                    <a:lnTo>
                      <a:pt x="344" y="30"/>
                    </a:lnTo>
                    <a:lnTo>
                      <a:pt x="353" y="23"/>
                    </a:lnTo>
                    <a:lnTo>
                      <a:pt x="363" y="22"/>
                    </a:lnTo>
                    <a:lnTo>
                      <a:pt x="367" y="25"/>
                    </a:lnTo>
                    <a:lnTo>
                      <a:pt x="369" y="22"/>
                    </a:lnTo>
                    <a:lnTo>
                      <a:pt x="381" y="20"/>
                    </a:lnTo>
                    <a:lnTo>
                      <a:pt x="388" y="13"/>
                    </a:lnTo>
                    <a:lnTo>
                      <a:pt x="390" y="15"/>
                    </a:lnTo>
                    <a:lnTo>
                      <a:pt x="393" y="9"/>
                    </a:lnTo>
                    <a:lnTo>
                      <a:pt x="392" y="7"/>
                    </a:lnTo>
                    <a:lnTo>
                      <a:pt x="397" y="2"/>
                    </a:lnTo>
                    <a:lnTo>
                      <a:pt x="400" y="2"/>
                    </a:lnTo>
                    <a:lnTo>
                      <a:pt x="400" y="0"/>
                    </a:lnTo>
                    <a:lnTo>
                      <a:pt x="406" y="4"/>
                    </a:lnTo>
                    <a:lnTo>
                      <a:pt x="416" y="7"/>
                    </a:lnTo>
                    <a:lnTo>
                      <a:pt x="420" y="7"/>
                    </a:lnTo>
                    <a:lnTo>
                      <a:pt x="423" y="9"/>
                    </a:lnTo>
                    <a:lnTo>
                      <a:pt x="418" y="15"/>
                    </a:lnTo>
                    <a:lnTo>
                      <a:pt x="416" y="22"/>
                    </a:lnTo>
                    <a:lnTo>
                      <a:pt x="415" y="29"/>
                    </a:lnTo>
                    <a:lnTo>
                      <a:pt x="413" y="32"/>
                    </a:lnTo>
                    <a:lnTo>
                      <a:pt x="415" y="36"/>
                    </a:lnTo>
                    <a:lnTo>
                      <a:pt x="420" y="36"/>
                    </a:lnTo>
                    <a:lnTo>
                      <a:pt x="420" y="39"/>
                    </a:lnTo>
                    <a:lnTo>
                      <a:pt x="416" y="43"/>
                    </a:lnTo>
                    <a:lnTo>
                      <a:pt x="413" y="52"/>
                    </a:lnTo>
                    <a:lnTo>
                      <a:pt x="416" y="57"/>
                    </a:lnTo>
                    <a:lnTo>
                      <a:pt x="418" y="64"/>
                    </a:lnTo>
                    <a:lnTo>
                      <a:pt x="415" y="69"/>
                    </a:lnTo>
                    <a:lnTo>
                      <a:pt x="420" y="69"/>
                    </a:lnTo>
                    <a:lnTo>
                      <a:pt x="420" y="68"/>
                    </a:lnTo>
                    <a:lnTo>
                      <a:pt x="422" y="68"/>
                    </a:lnTo>
                    <a:lnTo>
                      <a:pt x="425" y="73"/>
                    </a:lnTo>
                    <a:lnTo>
                      <a:pt x="422" y="75"/>
                    </a:lnTo>
                    <a:lnTo>
                      <a:pt x="422" y="73"/>
                    </a:lnTo>
                    <a:lnTo>
                      <a:pt x="416" y="73"/>
                    </a:lnTo>
                    <a:lnTo>
                      <a:pt x="413" y="73"/>
                    </a:lnTo>
                    <a:lnTo>
                      <a:pt x="406" y="84"/>
                    </a:lnTo>
                    <a:lnTo>
                      <a:pt x="409" y="89"/>
                    </a:lnTo>
                    <a:lnTo>
                      <a:pt x="408" y="100"/>
                    </a:lnTo>
                    <a:lnTo>
                      <a:pt x="406" y="103"/>
                    </a:lnTo>
                    <a:lnTo>
                      <a:pt x="406" y="114"/>
                    </a:lnTo>
                    <a:lnTo>
                      <a:pt x="392" y="135"/>
                    </a:lnTo>
                    <a:lnTo>
                      <a:pt x="381" y="154"/>
                    </a:lnTo>
                    <a:lnTo>
                      <a:pt x="376" y="162"/>
                    </a:lnTo>
                    <a:lnTo>
                      <a:pt x="372" y="162"/>
                    </a:lnTo>
                    <a:lnTo>
                      <a:pt x="363" y="172"/>
                    </a:lnTo>
                    <a:lnTo>
                      <a:pt x="363" y="176"/>
                    </a:lnTo>
                    <a:lnTo>
                      <a:pt x="367" y="183"/>
                    </a:lnTo>
                    <a:lnTo>
                      <a:pt x="361" y="186"/>
                    </a:lnTo>
                    <a:lnTo>
                      <a:pt x="338" y="231"/>
                    </a:lnTo>
                    <a:lnTo>
                      <a:pt x="337" y="245"/>
                    </a:lnTo>
                    <a:lnTo>
                      <a:pt x="323" y="266"/>
                    </a:lnTo>
                    <a:lnTo>
                      <a:pt x="321" y="273"/>
                    </a:lnTo>
                    <a:lnTo>
                      <a:pt x="292" y="310"/>
                    </a:lnTo>
                    <a:lnTo>
                      <a:pt x="291" y="319"/>
                    </a:lnTo>
                    <a:lnTo>
                      <a:pt x="278" y="332"/>
                    </a:lnTo>
                    <a:lnTo>
                      <a:pt x="255" y="358"/>
                    </a:lnTo>
                    <a:lnTo>
                      <a:pt x="209" y="399"/>
                    </a:lnTo>
                    <a:lnTo>
                      <a:pt x="190" y="417"/>
                    </a:lnTo>
                    <a:lnTo>
                      <a:pt x="177" y="418"/>
                    </a:lnTo>
                    <a:lnTo>
                      <a:pt x="165" y="427"/>
                    </a:lnTo>
                    <a:lnTo>
                      <a:pt x="151" y="438"/>
                    </a:lnTo>
                    <a:lnTo>
                      <a:pt x="122" y="468"/>
                    </a:lnTo>
                    <a:lnTo>
                      <a:pt x="115" y="470"/>
                    </a:lnTo>
                    <a:lnTo>
                      <a:pt x="92" y="496"/>
                    </a:lnTo>
                    <a:lnTo>
                      <a:pt x="89" y="496"/>
                    </a:lnTo>
                    <a:lnTo>
                      <a:pt x="85" y="503"/>
                    </a:lnTo>
                    <a:lnTo>
                      <a:pt x="76" y="505"/>
                    </a:lnTo>
                    <a:lnTo>
                      <a:pt x="67" y="514"/>
                    </a:lnTo>
                    <a:lnTo>
                      <a:pt x="64" y="523"/>
                    </a:lnTo>
                    <a:lnTo>
                      <a:pt x="30" y="560"/>
                    </a:lnTo>
                    <a:lnTo>
                      <a:pt x="30" y="564"/>
                    </a:lnTo>
                    <a:lnTo>
                      <a:pt x="0" y="537"/>
                    </a:lnTo>
                    <a:lnTo>
                      <a:pt x="2" y="372"/>
                    </a:lnTo>
                    <a:lnTo>
                      <a:pt x="39" y="337"/>
                    </a:lnTo>
                    <a:lnTo>
                      <a:pt x="39" y="33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3" name="Freeform 11">
                <a:extLst>
                  <a:ext uri="{FF2B5EF4-FFF2-40B4-BE49-F238E27FC236}">
                    <a16:creationId xmlns:a16="http://schemas.microsoft.com/office/drawing/2014/main" id="{1EE13535-6693-3703-212D-21AE674B40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0563" y="3586163"/>
                <a:ext cx="692150" cy="669925"/>
              </a:xfrm>
              <a:custGeom>
                <a:avLst/>
                <a:gdLst>
                  <a:gd name="T0" fmla="*/ 114 w 436"/>
                  <a:gd name="T1" fmla="*/ 46 h 422"/>
                  <a:gd name="T2" fmla="*/ 121 w 436"/>
                  <a:gd name="T3" fmla="*/ 41 h 422"/>
                  <a:gd name="T4" fmla="*/ 131 w 436"/>
                  <a:gd name="T5" fmla="*/ 34 h 422"/>
                  <a:gd name="T6" fmla="*/ 160 w 436"/>
                  <a:gd name="T7" fmla="*/ 0 h 422"/>
                  <a:gd name="T8" fmla="*/ 172 w 436"/>
                  <a:gd name="T9" fmla="*/ 6 h 422"/>
                  <a:gd name="T10" fmla="*/ 179 w 436"/>
                  <a:gd name="T11" fmla="*/ 32 h 422"/>
                  <a:gd name="T12" fmla="*/ 193 w 436"/>
                  <a:gd name="T13" fmla="*/ 41 h 422"/>
                  <a:gd name="T14" fmla="*/ 213 w 436"/>
                  <a:gd name="T15" fmla="*/ 41 h 422"/>
                  <a:gd name="T16" fmla="*/ 241 w 436"/>
                  <a:gd name="T17" fmla="*/ 45 h 422"/>
                  <a:gd name="T18" fmla="*/ 268 w 436"/>
                  <a:gd name="T19" fmla="*/ 68 h 422"/>
                  <a:gd name="T20" fmla="*/ 282 w 436"/>
                  <a:gd name="T21" fmla="*/ 78 h 422"/>
                  <a:gd name="T22" fmla="*/ 305 w 436"/>
                  <a:gd name="T23" fmla="*/ 82 h 422"/>
                  <a:gd name="T24" fmla="*/ 324 w 436"/>
                  <a:gd name="T25" fmla="*/ 84 h 422"/>
                  <a:gd name="T26" fmla="*/ 339 w 436"/>
                  <a:gd name="T27" fmla="*/ 82 h 422"/>
                  <a:gd name="T28" fmla="*/ 353 w 436"/>
                  <a:gd name="T29" fmla="*/ 61 h 422"/>
                  <a:gd name="T30" fmla="*/ 369 w 436"/>
                  <a:gd name="T31" fmla="*/ 57 h 422"/>
                  <a:gd name="T32" fmla="*/ 392 w 436"/>
                  <a:gd name="T33" fmla="*/ 52 h 422"/>
                  <a:gd name="T34" fmla="*/ 402 w 436"/>
                  <a:gd name="T35" fmla="*/ 64 h 422"/>
                  <a:gd name="T36" fmla="*/ 425 w 436"/>
                  <a:gd name="T37" fmla="*/ 64 h 422"/>
                  <a:gd name="T38" fmla="*/ 399 w 436"/>
                  <a:gd name="T39" fmla="*/ 101 h 422"/>
                  <a:gd name="T40" fmla="*/ 427 w 436"/>
                  <a:gd name="T41" fmla="*/ 293 h 422"/>
                  <a:gd name="T42" fmla="*/ 413 w 436"/>
                  <a:gd name="T43" fmla="*/ 310 h 422"/>
                  <a:gd name="T44" fmla="*/ 404 w 436"/>
                  <a:gd name="T45" fmla="*/ 317 h 422"/>
                  <a:gd name="T46" fmla="*/ 392 w 436"/>
                  <a:gd name="T47" fmla="*/ 326 h 422"/>
                  <a:gd name="T48" fmla="*/ 372 w 436"/>
                  <a:gd name="T49" fmla="*/ 337 h 422"/>
                  <a:gd name="T50" fmla="*/ 367 w 436"/>
                  <a:gd name="T51" fmla="*/ 342 h 422"/>
                  <a:gd name="T52" fmla="*/ 360 w 436"/>
                  <a:gd name="T53" fmla="*/ 353 h 422"/>
                  <a:gd name="T54" fmla="*/ 356 w 436"/>
                  <a:gd name="T55" fmla="*/ 365 h 422"/>
                  <a:gd name="T56" fmla="*/ 349 w 436"/>
                  <a:gd name="T57" fmla="*/ 383 h 422"/>
                  <a:gd name="T58" fmla="*/ 328 w 436"/>
                  <a:gd name="T59" fmla="*/ 418 h 422"/>
                  <a:gd name="T60" fmla="*/ 316 w 436"/>
                  <a:gd name="T61" fmla="*/ 422 h 422"/>
                  <a:gd name="T62" fmla="*/ 261 w 436"/>
                  <a:gd name="T63" fmla="*/ 381 h 422"/>
                  <a:gd name="T64" fmla="*/ 262 w 436"/>
                  <a:gd name="T65" fmla="*/ 372 h 422"/>
                  <a:gd name="T66" fmla="*/ 101 w 436"/>
                  <a:gd name="T67" fmla="*/ 270 h 422"/>
                  <a:gd name="T68" fmla="*/ 101 w 436"/>
                  <a:gd name="T69" fmla="*/ 231 h 422"/>
                  <a:gd name="T70" fmla="*/ 110 w 436"/>
                  <a:gd name="T71" fmla="*/ 211 h 422"/>
                  <a:gd name="T72" fmla="*/ 123 w 436"/>
                  <a:gd name="T73" fmla="*/ 195 h 422"/>
                  <a:gd name="T74" fmla="*/ 130 w 436"/>
                  <a:gd name="T75" fmla="*/ 183 h 422"/>
                  <a:gd name="T76" fmla="*/ 144 w 436"/>
                  <a:gd name="T77" fmla="*/ 179 h 422"/>
                  <a:gd name="T78" fmla="*/ 147 w 436"/>
                  <a:gd name="T79" fmla="*/ 163 h 422"/>
                  <a:gd name="T80" fmla="*/ 158 w 436"/>
                  <a:gd name="T81" fmla="*/ 144 h 422"/>
                  <a:gd name="T82" fmla="*/ 149 w 436"/>
                  <a:gd name="T83" fmla="*/ 130 h 422"/>
                  <a:gd name="T84" fmla="*/ 147 w 436"/>
                  <a:gd name="T85" fmla="*/ 121 h 422"/>
                  <a:gd name="T86" fmla="*/ 137 w 436"/>
                  <a:gd name="T87" fmla="*/ 107 h 422"/>
                  <a:gd name="T88" fmla="*/ 128 w 436"/>
                  <a:gd name="T89" fmla="*/ 89 h 422"/>
                  <a:gd name="T90" fmla="*/ 119 w 436"/>
                  <a:gd name="T91" fmla="*/ 78 h 422"/>
                  <a:gd name="T92" fmla="*/ 115 w 436"/>
                  <a:gd name="T93" fmla="*/ 69 h 422"/>
                  <a:gd name="T94" fmla="*/ 108 w 436"/>
                  <a:gd name="T95" fmla="*/ 54 h 422"/>
                  <a:gd name="T96" fmla="*/ 108 w 436"/>
                  <a:gd name="T97" fmla="*/ 54 h 422"/>
                  <a:gd name="T98" fmla="*/ 0 w 436"/>
                  <a:gd name="T99" fmla="*/ 275 h 422"/>
                  <a:gd name="T100" fmla="*/ 32 w 436"/>
                  <a:gd name="T101" fmla="*/ 273 h 422"/>
                  <a:gd name="T102" fmla="*/ 0 w 436"/>
                  <a:gd name="T103" fmla="*/ 275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36" h="422">
                    <a:moveTo>
                      <a:pt x="108" y="54"/>
                    </a:moveTo>
                    <a:lnTo>
                      <a:pt x="114" y="46"/>
                    </a:lnTo>
                    <a:lnTo>
                      <a:pt x="117" y="46"/>
                    </a:lnTo>
                    <a:lnTo>
                      <a:pt x="121" y="41"/>
                    </a:lnTo>
                    <a:lnTo>
                      <a:pt x="128" y="32"/>
                    </a:lnTo>
                    <a:lnTo>
                      <a:pt x="131" y="34"/>
                    </a:lnTo>
                    <a:lnTo>
                      <a:pt x="142" y="18"/>
                    </a:lnTo>
                    <a:lnTo>
                      <a:pt x="160" y="0"/>
                    </a:lnTo>
                    <a:lnTo>
                      <a:pt x="163" y="7"/>
                    </a:lnTo>
                    <a:lnTo>
                      <a:pt x="172" y="6"/>
                    </a:lnTo>
                    <a:lnTo>
                      <a:pt x="179" y="7"/>
                    </a:lnTo>
                    <a:lnTo>
                      <a:pt x="179" y="32"/>
                    </a:lnTo>
                    <a:lnTo>
                      <a:pt x="186" y="39"/>
                    </a:lnTo>
                    <a:lnTo>
                      <a:pt x="193" y="41"/>
                    </a:lnTo>
                    <a:lnTo>
                      <a:pt x="202" y="38"/>
                    </a:lnTo>
                    <a:lnTo>
                      <a:pt x="213" y="41"/>
                    </a:lnTo>
                    <a:lnTo>
                      <a:pt x="234" y="39"/>
                    </a:lnTo>
                    <a:lnTo>
                      <a:pt x="241" y="45"/>
                    </a:lnTo>
                    <a:lnTo>
                      <a:pt x="259" y="61"/>
                    </a:lnTo>
                    <a:lnTo>
                      <a:pt x="268" y="68"/>
                    </a:lnTo>
                    <a:lnTo>
                      <a:pt x="275" y="77"/>
                    </a:lnTo>
                    <a:lnTo>
                      <a:pt x="282" y="78"/>
                    </a:lnTo>
                    <a:lnTo>
                      <a:pt x="296" y="78"/>
                    </a:lnTo>
                    <a:lnTo>
                      <a:pt x="305" y="82"/>
                    </a:lnTo>
                    <a:lnTo>
                      <a:pt x="317" y="80"/>
                    </a:lnTo>
                    <a:lnTo>
                      <a:pt x="324" y="84"/>
                    </a:lnTo>
                    <a:lnTo>
                      <a:pt x="330" y="84"/>
                    </a:lnTo>
                    <a:lnTo>
                      <a:pt x="339" y="82"/>
                    </a:lnTo>
                    <a:lnTo>
                      <a:pt x="349" y="66"/>
                    </a:lnTo>
                    <a:lnTo>
                      <a:pt x="353" y="61"/>
                    </a:lnTo>
                    <a:lnTo>
                      <a:pt x="362" y="57"/>
                    </a:lnTo>
                    <a:lnTo>
                      <a:pt x="369" y="57"/>
                    </a:lnTo>
                    <a:lnTo>
                      <a:pt x="372" y="54"/>
                    </a:lnTo>
                    <a:lnTo>
                      <a:pt x="392" y="52"/>
                    </a:lnTo>
                    <a:lnTo>
                      <a:pt x="399" y="55"/>
                    </a:lnTo>
                    <a:lnTo>
                      <a:pt x="402" y="64"/>
                    </a:lnTo>
                    <a:lnTo>
                      <a:pt x="410" y="68"/>
                    </a:lnTo>
                    <a:lnTo>
                      <a:pt x="425" y="64"/>
                    </a:lnTo>
                    <a:lnTo>
                      <a:pt x="436" y="66"/>
                    </a:lnTo>
                    <a:lnTo>
                      <a:pt x="399" y="101"/>
                    </a:lnTo>
                    <a:lnTo>
                      <a:pt x="397" y="266"/>
                    </a:lnTo>
                    <a:lnTo>
                      <a:pt x="427" y="293"/>
                    </a:lnTo>
                    <a:lnTo>
                      <a:pt x="425" y="294"/>
                    </a:lnTo>
                    <a:lnTo>
                      <a:pt x="413" y="310"/>
                    </a:lnTo>
                    <a:lnTo>
                      <a:pt x="410" y="312"/>
                    </a:lnTo>
                    <a:lnTo>
                      <a:pt x="404" y="317"/>
                    </a:lnTo>
                    <a:lnTo>
                      <a:pt x="406" y="321"/>
                    </a:lnTo>
                    <a:lnTo>
                      <a:pt x="392" y="326"/>
                    </a:lnTo>
                    <a:lnTo>
                      <a:pt x="385" y="337"/>
                    </a:lnTo>
                    <a:lnTo>
                      <a:pt x="372" y="337"/>
                    </a:lnTo>
                    <a:lnTo>
                      <a:pt x="367" y="339"/>
                    </a:lnTo>
                    <a:lnTo>
                      <a:pt x="367" y="342"/>
                    </a:lnTo>
                    <a:lnTo>
                      <a:pt x="362" y="349"/>
                    </a:lnTo>
                    <a:lnTo>
                      <a:pt x="360" y="353"/>
                    </a:lnTo>
                    <a:lnTo>
                      <a:pt x="363" y="355"/>
                    </a:lnTo>
                    <a:lnTo>
                      <a:pt x="356" y="365"/>
                    </a:lnTo>
                    <a:lnTo>
                      <a:pt x="349" y="374"/>
                    </a:lnTo>
                    <a:lnTo>
                      <a:pt x="349" y="383"/>
                    </a:lnTo>
                    <a:lnTo>
                      <a:pt x="344" y="397"/>
                    </a:lnTo>
                    <a:lnTo>
                      <a:pt x="328" y="418"/>
                    </a:lnTo>
                    <a:lnTo>
                      <a:pt x="319" y="422"/>
                    </a:lnTo>
                    <a:lnTo>
                      <a:pt x="316" y="422"/>
                    </a:lnTo>
                    <a:lnTo>
                      <a:pt x="264" y="387"/>
                    </a:lnTo>
                    <a:lnTo>
                      <a:pt x="261" y="381"/>
                    </a:lnTo>
                    <a:lnTo>
                      <a:pt x="259" y="376"/>
                    </a:lnTo>
                    <a:lnTo>
                      <a:pt x="262" y="372"/>
                    </a:lnTo>
                    <a:lnTo>
                      <a:pt x="254" y="358"/>
                    </a:lnTo>
                    <a:lnTo>
                      <a:pt x="101" y="270"/>
                    </a:lnTo>
                    <a:lnTo>
                      <a:pt x="91" y="270"/>
                    </a:lnTo>
                    <a:lnTo>
                      <a:pt x="101" y="231"/>
                    </a:lnTo>
                    <a:lnTo>
                      <a:pt x="103" y="218"/>
                    </a:lnTo>
                    <a:lnTo>
                      <a:pt x="110" y="211"/>
                    </a:lnTo>
                    <a:lnTo>
                      <a:pt x="115" y="201"/>
                    </a:lnTo>
                    <a:lnTo>
                      <a:pt x="123" y="195"/>
                    </a:lnTo>
                    <a:lnTo>
                      <a:pt x="124" y="188"/>
                    </a:lnTo>
                    <a:lnTo>
                      <a:pt x="130" y="183"/>
                    </a:lnTo>
                    <a:lnTo>
                      <a:pt x="130" y="179"/>
                    </a:lnTo>
                    <a:lnTo>
                      <a:pt x="144" y="179"/>
                    </a:lnTo>
                    <a:lnTo>
                      <a:pt x="147" y="170"/>
                    </a:lnTo>
                    <a:lnTo>
                      <a:pt x="147" y="163"/>
                    </a:lnTo>
                    <a:lnTo>
                      <a:pt x="156" y="153"/>
                    </a:lnTo>
                    <a:lnTo>
                      <a:pt x="158" y="144"/>
                    </a:lnTo>
                    <a:lnTo>
                      <a:pt x="154" y="135"/>
                    </a:lnTo>
                    <a:lnTo>
                      <a:pt x="149" y="130"/>
                    </a:lnTo>
                    <a:lnTo>
                      <a:pt x="153" y="124"/>
                    </a:lnTo>
                    <a:lnTo>
                      <a:pt x="147" y="121"/>
                    </a:lnTo>
                    <a:lnTo>
                      <a:pt x="142" y="119"/>
                    </a:lnTo>
                    <a:lnTo>
                      <a:pt x="137" y="107"/>
                    </a:lnTo>
                    <a:lnTo>
                      <a:pt x="128" y="96"/>
                    </a:lnTo>
                    <a:lnTo>
                      <a:pt x="128" y="89"/>
                    </a:lnTo>
                    <a:lnTo>
                      <a:pt x="124" y="80"/>
                    </a:lnTo>
                    <a:lnTo>
                      <a:pt x="119" y="78"/>
                    </a:lnTo>
                    <a:lnTo>
                      <a:pt x="119" y="71"/>
                    </a:lnTo>
                    <a:lnTo>
                      <a:pt x="115" y="69"/>
                    </a:lnTo>
                    <a:lnTo>
                      <a:pt x="114" y="57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close/>
                    <a:moveTo>
                      <a:pt x="0" y="275"/>
                    </a:moveTo>
                    <a:lnTo>
                      <a:pt x="16" y="275"/>
                    </a:lnTo>
                    <a:lnTo>
                      <a:pt x="32" y="273"/>
                    </a:lnTo>
                    <a:lnTo>
                      <a:pt x="2" y="275"/>
                    </a:lnTo>
                    <a:lnTo>
                      <a:pt x="0" y="27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4" name="Freeform 12">
                <a:extLst>
                  <a:ext uri="{FF2B5EF4-FFF2-40B4-BE49-F238E27FC236}">
                    <a16:creationId xmlns:a16="http://schemas.microsoft.com/office/drawing/2014/main" id="{C91CA4DE-028A-E574-BCC7-6FED288EB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5626" y="3671888"/>
                <a:ext cx="385763" cy="373063"/>
              </a:xfrm>
              <a:custGeom>
                <a:avLst/>
                <a:gdLst>
                  <a:gd name="T0" fmla="*/ 188 w 243"/>
                  <a:gd name="T1" fmla="*/ 164 h 235"/>
                  <a:gd name="T2" fmla="*/ 200 w 243"/>
                  <a:gd name="T3" fmla="*/ 147 h 235"/>
                  <a:gd name="T4" fmla="*/ 209 w 243"/>
                  <a:gd name="T5" fmla="*/ 134 h 235"/>
                  <a:gd name="T6" fmla="*/ 215 w 243"/>
                  <a:gd name="T7" fmla="*/ 125 h 235"/>
                  <a:gd name="T8" fmla="*/ 232 w 243"/>
                  <a:gd name="T9" fmla="*/ 116 h 235"/>
                  <a:gd name="T10" fmla="*/ 241 w 243"/>
                  <a:gd name="T11" fmla="*/ 99 h 235"/>
                  <a:gd name="T12" fmla="*/ 239 w 243"/>
                  <a:gd name="T13" fmla="*/ 81 h 235"/>
                  <a:gd name="T14" fmla="*/ 238 w 243"/>
                  <a:gd name="T15" fmla="*/ 70 h 235"/>
                  <a:gd name="T16" fmla="*/ 227 w 243"/>
                  <a:gd name="T17" fmla="*/ 65 h 235"/>
                  <a:gd name="T18" fmla="*/ 213 w 243"/>
                  <a:gd name="T19" fmla="*/ 42 h 235"/>
                  <a:gd name="T20" fmla="*/ 209 w 243"/>
                  <a:gd name="T21" fmla="*/ 26 h 235"/>
                  <a:gd name="T22" fmla="*/ 204 w 243"/>
                  <a:gd name="T23" fmla="*/ 17 h 235"/>
                  <a:gd name="T24" fmla="*/ 199 w 243"/>
                  <a:gd name="T25" fmla="*/ 3 h 235"/>
                  <a:gd name="T26" fmla="*/ 184 w 243"/>
                  <a:gd name="T27" fmla="*/ 7 h 235"/>
                  <a:gd name="T28" fmla="*/ 170 w 243"/>
                  <a:gd name="T29" fmla="*/ 17 h 235"/>
                  <a:gd name="T30" fmla="*/ 146 w 243"/>
                  <a:gd name="T31" fmla="*/ 15 h 235"/>
                  <a:gd name="T32" fmla="*/ 130 w 243"/>
                  <a:gd name="T33" fmla="*/ 19 h 235"/>
                  <a:gd name="T34" fmla="*/ 121 w 243"/>
                  <a:gd name="T35" fmla="*/ 19 h 235"/>
                  <a:gd name="T36" fmla="*/ 115 w 243"/>
                  <a:gd name="T37" fmla="*/ 31 h 235"/>
                  <a:gd name="T38" fmla="*/ 101 w 243"/>
                  <a:gd name="T39" fmla="*/ 28 h 235"/>
                  <a:gd name="T40" fmla="*/ 94 w 243"/>
                  <a:gd name="T41" fmla="*/ 19 h 235"/>
                  <a:gd name="T42" fmla="*/ 76 w 243"/>
                  <a:gd name="T43" fmla="*/ 17 h 235"/>
                  <a:gd name="T44" fmla="*/ 62 w 243"/>
                  <a:gd name="T45" fmla="*/ 19 h 235"/>
                  <a:gd name="T46" fmla="*/ 64 w 243"/>
                  <a:gd name="T47" fmla="*/ 28 h 235"/>
                  <a:gd name="T48" fmla="*/ 64 w 243"/>
                  <a:gd name="T49" fmla="*/ 30 h 235"/>
                  <a:gd name="T50" fmla="*/ 57 w 243"/>
                  <a:gd name="T51" fmla="*/ 44 h 235"/>
                  <a:gd name="T52" fmla="*/ 55 w 243"/>
                  <a:gd name="T53" fmla="*/ 69 h 235"/>
                  <a:gd name="T54" fmla="*/ 59 w 243"/>
                  <a:gd name="T55" fmla="*/ 83 h 235"/>
                  <a:gd name="T56" fmla="*/ 66 w 243"/>
                  <a:gd name="T57" fmla="*/ 95 h 235"/>
                  <a:gd name="T58" fmla="*/ 45 w 243"/>
                  <a:gd name="T59" fmla="*/ 127 h 235"/>
                  <a:gd name="T60" fmla="*/ 27 w 243"/>
                  <a:gd name="T61" fmla="*/ 148 h 235"/>
                  <a:gd name="T62" fmla="*/ 9 w 243"/>
                  <a:gd name="T63" fmla="*/ 182 h 235"/>
                  <a:gd name="T64" fmla="*/ 7 w 243"/>
                  <a:gd name="T65" fmla="*/ 209 h 235"/>
                  <a:gd name="T66" fmla="*/ 2 w 243"/>
                  <a:gd name="T67" fmla="*/ 233 h 235"/>
                  <a:gd name="T68" fmla="*/ 2 w 243"/>
                  <a:gd name="T69" fmla="*/ 235 h 235"/>
                  <a:gd name="T70" fmla="*/ 16 w 243"/>
                  <a:gd name="T71" fmla="*/ 230 h 235"/>
                  <a:gd name="T72" fmla="*/ 25 w 243"/>
                  <a:gd name="T73" fmla="*/ 235 h 235"/>
                  <a:gd name="T74" fmla="*/ 34 w 243"/>
                  <a:gd name="T75" fmla="*/ 232 h 235"/>
                  <a:gd name="T76" fmla="*/ 41 w 243"/>
                  <a:gd name="T77" fmla="*/ 225 h 235"/>
                  <a:gd name="T78" fmla="*/ 45 w 243"/>
                  <a:gd name="T79" fmla="*/ 223 h 235"/>
                  <a:gd name="T80" fmla="*/ 52 w 243"/>
                  <a:gd name="T81" fmla="*/ 221 h 235"/>
                  <a:gd name="T82" fmla="*/ 87 w 243"/>
                  <a:gd name="T83" fmla="*/ 221 h 235"/>
                  <a:gd name="T84" fmla="*/ 176 w 243"/>
                  <a:gd name="T85" fmla="*/ 216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3" h="235">
                    <a:moveTo>
                      <a:pt x="186" y="177"/>
                    </a:moveTo>
                    <a:lnTo>
                      <a:pt x="188" y="164"/>
                    </a:lnTo>
                    <a:lnTo>
                      <a:pt x="195" y="157"/>
                    </a:lnTo>
                    <a:lnTo>
                      <a:pt x="200" y="147"/>
                    </a:lnTo>
                    <a:lnTo>
                      <a:pt x="208" y="141"/>
                    </a:lnTo>
                    <a:lnTo>
                      <a:pt x="209" y="134"/>
                    </a:lnTo>
                    <a:lnTo>
                      <a:pt x="215" y="129"/>
                    </a:lnTo>
                    <a:lnTo>
                      <a:pt x="215" y="125"/>
                    </a:lnTo>
                    <a:lnTo>
                      <a:pt x="229" y="125"/>
                    </a:lnTo>
                    <a:lnTo>
                      <a:pt x="232" y="116"/>
                    </a:lnTo>
                    <a:lnTo>
                      <a:pt x="232" y="109"/>
                    </a:lnTo>
                    <a:lnTo>
                      <a:pt x="241" y="99"/>
                    </a:lnTo>
                    <a:lnTo>
                      <a:pt x="243" y="90"/>
                    </a:lnTo>
                    <a:lnTo>
                      <a:pt x="239" y="81"/>
                    </a:lnTo>
                    <a:lnTo>
                      <a:pt x="234" y="76"/>
                    </a:lnTo>
                    <a:lnTo>
                      <a:pt x="238" y="70"/>
                    </a:lnTo>
                    <a:lnTo>
                      <a:pt x="232" y="67"/>
                    </a:lnTo>
                    <a:lnTo>
                      <a:pt x="227" y="65"/>
                    </a:lnTo>
                    <a:lnTo>
                      <a:pt x="222" y="53"/>
                    </a:lnTo>
                    <a:lnTo>
                      <a:pt x="213" y="42"/>
                    </a:lnTo>
                    <a:lnTo>
                      <a:pt x="213" y="35"/>
                    </a:lnTo>
                    <a:lnTo>
                      <a:pt x="209" y="26"/>
                    </a:lnTo>
                    <a:lnTo>
                      <a:pt x="204" y="24"/>
                    </a:lnTo>
                    <a:lnTo>
                      <a:pt x="204" y="17"/>
                    </a:lnTo>
                    <a:lnTo>
                      <a:pt x="200" y="15"/>
                    </a:lnTo>
                    <a:lnTo>
                      <a:pt x="199" y="3"/>
                    </a:lnTo>
                    <a:lnTo>
                      <a:pt x="193" y="0"/>
                    </a:lnTo>
                    <a:lnTo>
                      <a:pt x="184" y="7"/>
                    </a:lnTo>
                    <a:lnTo>
                      <a:pt x="179" y="12"/>
                    </a:lnTo>
                    <a:lnTo>
                      <a:pt x="170" y="17"/>
                    </a:lnTo>
                    <a:lnTo>
                      <a:pt x="160" y="14"/>
                    </a:lnTo>
                    <a:lnTo>
                      <a:pt x="146" y="15"/>
                    </a:lnTo>
                    <a:lnTo>
                      <a:pt x="137" y="19"/>
                    </a:lnTo>
                    <a:lnTo>
                      <a:pt x="130" y="19"/>
                    </a:lnTo>
                    <a:lnTo>
                      <a:pt x="126" y="21"/>
                    </a:lnTo>
                    <a:lnTo>
                      <a:pt x="121" y="19"/>
                    </a:lnTo>
                    <a:lnTo>
                      <a:pt x="115" y="24"/>
                    </a:lnTo>
                    <a:lnTo>
                      <a:pt x="115" y="31"/>
                    </a:lnTo>
                    <a:lnTo>
                      <a:pt x="112" y="31"/>
                    </a:lnTo>
                    <a:lnTo>
                      <a:pt x="101" y="28"/>
                    </a:lnTo>
                    <a:lnTo>
                      <a:pt x="101" y="21"/>
                    </a:lnTo>
                    <a:lnTo>
                      <a:pt x="94" y="19"/>
                    </a:lnTo>
                    <a:lnTo>
                      <a:pt x="87" y="21"/>
                    </a:lnTo>
                    <a:lnTo>
                      <a:pt x="76" y="17"/>
                    </a:lnTo>
                    <a:lnTo>
                      <a:pt x="68" y="14"/>
                    </a:lnTo>
                    <a:lnTo>
                      <a:pt x="62" y="19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2" y="39"/>
                    </a:lnTo>
                    <a:lnTo>
                      <a:pt x="57" y="44"/>
                    </a:lnTo>
                    <a:lnTo>
                      <a:pt x="57" y="54"/>
                    </a:lnTo>
                    <a:lnTo>
                      <a:pt x="55" y="69"/>
                    </a:lnTo>
                    <a:lnTo>
                      <a:pt x="55" y="79"/>
                    </a:lnTo>
                    <a:lnTo>
                      <a:pt x="59" y="83"/>
                    </a:lnTo>
                    <a:lnTo>
                      <a:pt x="62" y="88"/>
                    </a:lnTo>
                    <a:lnTo>
                      <a:pt x="66" y="95"/>
                    </a:lnTo>
                    <a:lnTo>
                      <a:pt x="66" y="99"/>
                    </a:lnTo>
                    <a:lnTo>
                      <a:pt x="45" y="127"/>
                    </a:lnTo>
                    <a:lnTo>
                      <a:pt x="30" y="143"/>
                    </a:lnTo>
                    <a:lnTo>
                      <a:pt x="27" y="148"/>
                    </a:lnTo>
                    <a:lnTo>
                      <a:pt x="11" y="178"/>
                    </a:lnTo>
                    <a:lnTo>
                      <a:pt x="9" y="182"/>
                    </a:lnTo>
                    <a:lnTo>
                      <a:pt x="7" y="193"/>
                    </a:lnTo>
                    <a:lnTo>
                      <a:pt x="7" y="209"/>
                    </a:lnTo>
                    <a:lnTo>
                      <a:pt x="2" y="223"/>
                    </a:lnTo>
                    <a:lnTo>
                      <a:pt x="2" y="233"/>
                    </a:lnTo>
                    <a:lnTo>
                      <a:pt x="0" y="235"/>
                    </a:lnTo>
                    <a:lnTo>
                      <a:pt x="2" y="235"/>
                    </a:lnTo>
                    <a:lnTo>
                      <a:pt x="9" y="235"/>
                    </a:lnTo>
                    <a:lnTo>
                      <a:pt x="16" y="230"/>
                    </a:lnTo>
                    <a:lnTo>
                      <a:pt x="22" y="232"/>
                    </a:lnTo>
                    <a:lnTo>
                      <a:pt x="25" y="235"/>
                    </a:lnTo>
                    <a:lnTo>
                      <a:pt x="30" y="235"/>
                    </a:lnTo>
                    <a:lnTo>
                      <a:pt x="34" y="232"/>
                    </a:lnTo>
                    <a:lnTo>
                      <a:pt x="34" y="226"/>
                    </a:lnTo>
                    <a:lnTo>
                      <a:pt x="41" y="225"/>
                    </a:lnTo>
                    <a:lnTo>
                      <a:pt x="41" y="226"/>
                    </a:lnTo>
                    <a:lnTo>
                      <a:pt x="45" y="223"/>
                    </a:lnTo>
                    <a:lnTo>
                      <a:pt x="48" y="225"/>
                    </a:lnTo>
                    <a:lnTo>
                      <a:pt x="52" y="221"/>
                    </a:lnTo>
                    <a:lnTo>
                      <a:pt x="85" y="221"/>
                    </a:lnTo>
                    <a:lnTo>
                      <a:pt x="87" y="221"/>
                    </a:lnTo>
                    <a:lnTo>
                      <a:pt x="117" y="219"/>
                    </a:lnTo>
                    <a:lnTo>
                      <a:pt x="176" y="216"/>
                    </a:lnTo>
                    <a:lnTo>
                      <a:pt x="186" y="17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5" name="Freeform 13">
                <a:extLst>
                  <a:ext uri="{FF2B5EF4-FFF2-40B4-BE49-F238E27FC236}">
                    <a16:creationId xmlns:a16="http://schemas.microsoft.com/office/drawing/2014/main" id="{C4555DCF-B578-633A-39C0-20821D66D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1" y="3213101"/>
                <a:ext cx="855663" cy="579438"/>
              </a:xfrm>
              <a:custGeom>
                <a:avLst/>
                <a:gdLst>
                  <a:gd name="T0" fmla="*/ 342 w 539"/>
                  <a:gd name="T1" fmla="*/ 14 h 365"/>
                  <a:gd name="T2" fmla="*/ 371 w 539"/>
                  <a:gd name="T3" fmla="*/ 56 h 365"/>
                  <a:gd name="T4" fmla="*/ 367 w 539"/>
                  <a:gd name="T5" fmla="*/ 83 h 365"/>
                  <a:gd name="T6" fmla="*/ 387 w 539"/>
                  <a:gd name="T7" fmla="*/ 97 h 365"/>
                  <a:gd name="T8" fmla="*/ 401 w 539"/>
                  <a:gd name="T9" fmla="*/ 113 h 365"/>
                  <a:gd name="T10" fmla="*/ 431 w 539"/>
                  <a:gd name="T11" fmla="*/ 127 h 365"/>
                  <a:gd name="T12" fmla="*/ 452 w 539"/>
                  <a:gd name="T13" fmla="*/ 142 h 365"/>
                  <a:gd name="T14" fmla="*/ 440 w 539"/>
                  <a:gd name="T15" fmla="*/ 159 h 365"/>
                  <a:gd name="T16" fmla="*/ 465 w 539"/>
                  <a:gd name="T17" fmla="*/ 170 h 365"/>
                  <a:gd name="T18" fmla="*/ 486 w 539"/>
                  <a:gd name="T19" fmla="*/ 195 h 365"/>
                  <a:gd name="T20" fmla="*/ 500 w 539"/>
                  <a:gd name="T21" fmla="*/ 212 h 365"/>
                  <a:gd name="T22" fmla="*/ 523 w 539"/>
                  <a:gd name="T23" fmla="*/ 230 h 365"/>
                  <a:gd name="T24" fmla="*/ 539 w 539"/>
                  <a:gd name="T25" fmla="*/ 255 h 365"/>
                  <a:gd name="T26" fmla="*/ 521 w 539"/>
                  <a:gd name="T27" fmla="*/ 251 h 365"/>
                  <a:gd name="T28" fmla="*/ 484 w 539"/>
                  <a:gd name="T29" fmla="*/ 251 h 365"/>
                  <a:gd name="T30" fmla="*/ 461 w 539"/>
                  <a:gd name="T31" fmla="*/ 248 h 365"/>
                  <a:gd name="T32" fmla="*/ 452 w 539"/>
                  <a:gd name="T33" fmla="*/ 250 h 365"/>
                  <a:gd name="T34" fmla="*/ 426 w 539"/>
                  <a:gd name="T35" fmla="*/ 260 h 365"/>
                  <a:gd name="T36" fmla="*/ 413 w 539"/>
                  <a:gd name="T37" fmla="*/ 257 h 365"/>
                  <a:gd name="T38" fmla="*/ 383 w 539"/>
                  <a:gd name="T39" fmla="*/ 264 h 365"/>
                  <a:gd name="T40" fmla="*/ 351 w 539"/>
                  <a:gd name="T41" fmla="*/ 267 h 365"/>
                  <a:gd name="T42" fmla="*/ 323 w 539"/>
                  <a:gd name="T43" fmla="*/ 280 h 365"/>
                  <a:gd name="T44" fmla="*/ 318 w 539"/>
                  <a:gd name="T45" fmla="*/ 294 h 365"/>
                  <a:gd name="T46" fmla="*/ 291 w 539"/>
                  <a:gd name="T47" fmla="*/ 287 h 365"/>
                  <a:gd name="T48" fmla="*/ 261 w 539"/>
                  <a:gd name="T49" fmla="*/ 281 h 365"/>
                  <a:gd name="T50" fmla="*/ 233 w 539"/>
                  <a:gd name="T51" fmla="*/ 269 h 365"/>
                  <a:gd name="T52" fmla="*/ 206 w 539"/>
                  <a:gd name="T53" fmla="*/ 253 h 365"/>
                  <a:gd name="T54" fmla="*/ 186 w 539"/>
                  <a:gd name="T55" fmla="*/ 262 h 365"/>
                  <a:gd name="T56" fmla="*/ 178 w 539"/>
                  <a:gd name="T57" fmla="*/ 280 h 365"/>
                  <a:gd name="T58" fmla="*/ 176 w 539"/>
                  <a:gd name="T59" fmla="*/ 296 h 365"/>
                  <a:gd name="T60" fmla="*/ 165 w 539"/>
                  <a:gd name="T61" fmla="*/ 313 h 365"/>
                  <a:gd name="T62" fmla="*/ 146 w 539"/>
                  <a:gd name="T63" fmla="*/ 308 h 365"/>
                  <a:gd name="T64" fmla="*/ 110 w 539"/>
                  <a:gd name="T65" fmla="*/ 317 h 365"/>
                  <a:gd name="T66" fmla="*/ 71 w 539"/>
                  <a:gd name="T67" fmla="*/ 365 h 365"/>
                  <a:gd name="T68" fmla="*/ 66 w 539"/>
                  <a:gd name="T69" fmla="*/ 345 h 365"/>
                  <a:gd name="T70" fmla="*/ 32 w 539"/>
                  <a:gd name="T71" fmla="*/ 303 h 365"/>
                  <a:gd name="T72" fmla="*/ 8 w 539"/>
                  <a:gd name="T73" fmla="*/ 278 h 365"/>
                  <a:gd name="T74" fmla="*/ 4 w 539"/>
                  <a:gd name="T75" fmla="*/ 230 h 365"/>
                  <a:gd name="T76" fmla="*/ 9 w 539"/>
                  <a:gd name="T77" fmla="*/ 204 h 365"/>
                  <a:gd name="T78" fmla="*/ 32 w 539"/>
                  <a:gd name="T79" fmla="*/ 159 h 365"/>
                  <a:gd name="T80" fmla="*/ 50 w 539"/>
                  <a:gd name="T81" fmla="*/ 149 h 365"/>
                  <a:gd name="T82" fmla="*/ 78 w 539"/>
                  <a:gd name="T83" fmla="*/ 156 h 365"/>
                  <a:gd name="T84" fmla="*/ 93 w 539"/>
                  <a:gd name="T85" fmla="*/ 136 h 365"/>
                  <a:gd name="T86" fmla="*/ 117 w 539"/>
                  <a:gd name="T87" fmla="*/ 142 h 365"/>
                  <a:gd name="T88" fmla="*/ 174 w 539"/>
                  <a:gd name="T89" fmla="*/ 124 h 365"/>
                  <a:gd name="T90" fmla="*/ 185 w 539"/>
                  <a:gd name="T91" fmla="*/ 104 h 365"/>
                  <a:gd name="T92" fmla="*/ 192 w 539"/>
                  <a:gd name="T93" fmla="*/ 87 h 365"/>
                  <a:gd name="T94" fmla="*/ 229 w 539"/>
                  <a:gd name="T95" fmla="*/ 88 h 365"/>
                  <a:gd name="T96" fmla="*/ 263 w 539"/>
                  <a:gd name="T97" fmla="*/ 71 h 365"/>
                  <a:gd name="T98" fmla="*/ 268 w 539"/>
                  <a:gd name="T99" fmla="*/ 48 h 365"/>
                  <a:gd name="T100" fmla="*/ 289 w 539"/>
                  <a:gd name="T101" fmla="*/ 30 h 365"/>
                  <a:gd name="T102" fmla="*/ 305 w 539"/>
                  <a:gd name="T103" fmla="*/ 10 h 365"/>
                  <a:gd name="T104" fmla="*/ 339 w 539"/>
                  <a:gd name="T105" fmla="*/ 3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39" h="365">
                    <a:moveTo>
                      <a:pt x="341" y="0"/>
                    </a:moveTo>
                    <a:lnTo>
                      <a:pt x="344" y="5"/>
                    </a:lnTo>
                    <a:lnTo>
                      <a:pt x="344" y="10"/>
                    </a:lnTo>
                    <a:lnTo>
                      <a:pt x="342" y="14"/>
                    </a:lnTo>
                    <a:lnTo>
                      <a:pt x="351" y="21"/>
                    </a:lnTo>
                    <a:lnTo>
                      <a:pt x="353" y="25"/>
                    </a:lnTo>
                    <a:lnTo>
                      <a:pt x="364" y="41"/>
                    </a:lnTo>
                    <a:lnTo>
                      <a:pt x="371" y="56"/>
                    </a:lnTo>
                    <a:lnTo>
                      <a:pt x="374" y="62"/>
                    </a:lnTo>
                    <a:lnTo>
                      <a:pt x="372" y="71"/>
                    </a:lnTo>
                    <a:lnTo>
                      <a:pt x="369" y="74"/>
                    </a:lnTo>
                    <a:lnTo>
                      <a:pt x="367" y="83"/>
                    </a:lnTo>
                    <a:lnTo>
                      <a:pt x="367" y="95"/>
                    </a:lnTo>
                    <a:lnTo>
                      <a:pt x="372" y="101"/>
                    </a:lnTo>
                    <a:lnTo>
                      <a:pt x="383" y="101"/>
                    </a:lnTo>
                    <a:lnTo>
                      <a:pt x="387" y="97"/>
                    </a:lnTo>
                    <a:lnTo>
                      <a:pt x="399" y="97"/>
                    </a:lnTo>
                    <a:lnTo>
                      <a:pt x="403" y="101"/>
                    </a:lnTo>
                    <a:lnTo>
                      <a:pt x="399" y="106"/>
                    </a:lnTo>
                    <a:lnTo>
                      <a:pt x="401" y="113"/>
                    </a:lnTo>
                    <a:lnTo>
                      <a:pt x="408" y="118"/>
                    </a:lnTo>
                    <a:lnTo>
                      <a:pt x="417" y="124"/>
                    </a:lnTo>
                    <a:lnTo>
                      <a:pt x="424" y="124"/>
                    </a:lnTo>
                    <a:lnTo>
                      <a:pt x="431" y="127"/>
                    </a:lnTo>
                    <a:lnTo>
                      <a:pt x="433" y="133"/>
                    </a:lnTo>
                    <a:lnTo>
                      <a:pt x="442" y="136"/>
                    </a:lnTo>
                    <a:lnTo>
                      <a:pt x="449" y="138"/>
                    </a:lnTo>
                    <a:lnTo>
                      <a:pt x="452" y="142"/>
                    </a:lnTo>
                    <a:lnTo>
                      <a:pt x="450" y="149"/>
                    </a:lnTo>
                    <a:lnTo>
                      <a:pt x="445" y="152"/>
                    </a:lnTo>
                    <a:lnTo>
                      <a:pt x="443" y="156"/>
                    </a:lnTo>
                    <a:lnTo>
                      <a:pt x="440" y="159"/>
                    </a:lnTo>
                    <a:lnTo>
                      <a:pt x="449" y="166"/>
                    </a:lnTo>
                    <a:lnTo>
                      <a:pt x="456" y="168"/>
                    </a:lnTo>
                    <a:lnTo>
                      <a:pt x="459" y="166"/>
                    </a:lnTo>
                    <a:lnTo>
                      <a:pt x="465" y="170"/>
                    </a:lnTo>
                    <a:lnTo>
                      <a:pt x="468" y="170"/>
                    </a:lnTo>
                    <a:lnTo>
                      <a:pt x="482" y="177"/>
                    </a:lnTo>
                    <a:lnTo>
                      <a:pt x="486" y="182"/>
                    </a:lnTo>
                    <a:lnTo>
                      <a:pt x="486" y="195"/>
                    </a:lnTo>
                    <a:lnTo>
                      <a:pt x="489" y="200"/>
                    </a:lnTo>
                    <a:lnTo>
                      <a:pt x="498" y="202"/>
                    </a:lnTo>
                    <a:lnTo>
                      <a:pt x="500" y="205"/>
                    </a:lnTo>
                    <a:lnTo>
                      <a:pt x="500" y="212"/>
                    </a:lnTo>
                    <a:lnTo>
                      <a:pt x="504" y="218"/>
                    </a:lnTo>
                    <a:lnTo>
                      <a:pt x="518" y="221"/>
                    </a:lnTo>
                    <a:lnTo>
                      <a:pt x="525" y="225"/>
                    </a:lnTo>
                    <a:lnTo>
                      <a:pt x="523" y="230"/>
                    </a:lnTo>
                    <a:lnTo>
                      <a:pt x="525" y="242"/>
                    </a:lnTo>
                    <a:lnTo>
                      <a:pt x="528" y="246"/>
                    </a:lnTo>
                    <a:lnTo>
                      <a:pt x="537" y="250"/>
                    </a:lnTo>
                    <a:lnTo>
                      <a:pt x="539" y="255"/>
                    </a:lnTo>
                    <a:lnTo>
                      <a:pt x="539" y="257"/>
                    </a:lnTo>
                    <a:lnTo>
                      <a:pt x="539" y="257"/>
                    </a:lnTo>
                    <a:lnTo>
                      <a:pt x="530" y="251"/>
                    </a:lnTo>
                    <a:lnTo>
                      <a:pt x="521" y="251"/>
                    </a:lnTo>
                    <a:lnTo>
                      <a:pt x="509" y="257"/>
                    </a:lnTo>
                    <a:lnTo>
                      <a:pt x="505" y="255"/>
                    </a:lnTo>
                    <a:lnTo>
                      <a:pt x="491" y="255"/>
                    </a:lnTo>
                    <a:lnTo>
                      <a:pt x="484" y="251"/>
                    </a:lnTo>
                    <a:lnTo>
                      <a:pt x="479" y="250"/>
                    </a:lnTo>
                    <a:lnTo>
                      <a:pt x="475" y="248"/>
                    </a:lnTo>
                    <a:lnTo>
                      <a:pt x="470" y="248"/>
                    </a:lnTo>
                    <a:lnTo>
                      <a:pt x="461" y="248"/>
                    </a:lnTo>
                    <a:lnTo>
                      <a:pt x="458" y="242"/>
                    </a:lnTo>
                    <a:lnTo>
                      <a:pt x="450" y="244"/>
                    </a:lnTo>
                    <a:lnTo>
                      <a:pt x="450" y="246"/>
                    </a:lnTo>
                    <a:lnTo>
                      <a:pt x="452" y="250"/>
                    </a:lnTo>
                    <a:lnTo>
                      <a:pt x="447" y="258"/>
                    </a:lnTo>
                    <a:lnTo>
                      <a:pt x="442" y="258"/>
                    </a:lnTo>
                    <a:lnTo>
                      <a:pt x="436" y="258"/>
                    </a:lnTo>
                    <a:lnTo>
                      <a:pt x="426" y="260"/>
                    </a:lnTo>
                    <a:lnTo>
                      <a:pt x="420" y="264"/>
                    </a:lnTo>
                    <a:lnTo>
                      <a:pt x="417" y="264"/>
                    </a:lnTo>
                    <a:lnTo>
                      <a:pt x="415" y="258"/>
                    </a:lnTo>
                    <a:lnTo>
                      <a:pt x="413" y="257"/>
                    </a:lnTo>
                    <a:lnTo>
                      <a:pt x="411" y="255"/>
                    </a:lnTo>
                    <a:lnTo>
                      <a:pt x="406" y="255"/>
                    </a:lnTo>
                    <a:lnTo>
                      <a:pt x="388" y="262"/>
                    </a:lnTo>
                    <a:lnTo>
                      <a:pt x="383" y="264"/>
                    </a:lnTo>
                    <a:lnTo>
                      <a:pt x="380" y="267"/>
                    </a:lnTo>
                    <a:lnTo>
                      <a:pt x="362" y="271"/>
                    </a:lnTo>
                    <a:lnTo>
                      <a:pt x="357" y="273"/>
                    </a:lnTo>
                    <a:lnTo>
                      <a:pt x="351" y="267"/>
                    </a:lnTo>
                    <a:lnTo>
                      <a:pt x="344" y="266"/>
                    </a:lnTo>
                    <a:lnTo>
                      <a:pt x="335" y="266"/>
                    </a:lnTo>
                    <a:lnTo>
                      <a:pt x="330" y="273"/>
                    </a:lnTo>
                    <a:lnTo>
                      <a:pt x="323" y="280"/>
                    </a:lnTo>
                    <a:lnTo>
                      <a:pt x="325" y="285"/>
                    </a:lnTo>
                    <a:lnTo>
                      <a:pt x="328" y="289"/>
                    </a:lnTo>
                    <a:lnTo>
                      <a:pt x="326" y="290"/>
                    </a:lnTo>
                    <a:lnTo>
                      <a:pt x="318" y="294"/>
                    </a:lnTo>
                    <a:lnTo>
                      <a:pt x="314" y="290"/>
                    </a:lnTo>
                    <a:lnTo>
                      <a:pt x="303" y="289"/>
                    </a:lnTo>
                    <a:lnTo>
                      <a:pt x="296" y="287"/>
                    </a:lnTo>
                    <a:lnTo>
                      <a:pt x="291" y="287"/>
                    </a:lnTo>
                    <a:lnTo>
                      <a:pt x="286" y="289"/>
                    </a:lnTo>
                    <a:lnTo>
                      <a:pt x="280" y="287"/>
                    </a:lnTo>
                    <a:lnTo>
                      <a:pt x="270" y="287"/>
                    </a:lnTo>
                    <a:lnTo>
                      <a:pt x="261" y="281"/>
                    </a:lnTo>
                    <a:lnTo>
                      <a:pt x="252" y="283"/>
                    </a:lnTo>
                    <a:lnTo>
                      <a:pt x="250" y="280"/>
                    </a:lnTo>
                    <a:lnTo>
                      <a:pt x="238" y="271"/>
                    </a:lnTo>
                    <a:lnTo>
                      <a:pt x="233" y="269"/>
                    </a:lnTo>
                    <a:lnTo>
                      <a:pt x="220" y="258"/>
                    </a:lnTo>
                    <a:lnTo>
                      <a:pt x="215" y="258"/>
                    </a:lnTo>
                    <a:lnTo>
                      <a:pt x="210" y="253"/>
                    </a:lnTo>
                    <a:lnTo>
                      <a:pt x="206" y="253"/>
                    </a:lnTo>
                    <a:lnTo>
                      <a:pt x="204" y="257"/>
                    </a:lnTo>
                    <a:lnTo>
                      <a:pt x="197" y="257"/>
                    </a:lnTo>
                    <a:lnTo>
                      <a:pt x="190" y="262"/>
                    </a:lnTo>
                    <a:lnTo>
                      <a:pt x="186" y="262"/>
                    </a:lnTo>
                    <a:lnTo>
                      <a:pt x="183" y="266"/>
                    </a:lnTo>
                    <a:lnTo>
                      <a:pt x="181" y="271"/>
                    </a:lnTo>
                    <a:lnTo>
                      <a:pt x="178" y="274"/>
                    </a:lnTo>
                    <a:lnTo>
                      <a:pt x="178" y="280"/>
                    </a:lnTo>
                    <a:lnTo>
                      <a:pt x="174" y="283"/>
                    </a:lnTo>
                    <a:lnTo>
                      <a:pt x="169" y="283"/>
                    </a:lnTo>
                    <a:lnTo>
                      <a:pt x="169" y="289"/>
                    </a:lnTo>
                    <a:lnTo>
                      <a:pt x="176" y="296"/>
                    </a:lnTo>
                    <a:lnTo>
                      <a:pt x="172" y="299"/>
                    </a:lnTo>
                    <a:lnTo>
                      <a:pt x="171" y="306"/>
                    </a:lnTo>
                    <a:lnTo>
                      <a:pt x="171" y="313"/>
                    </a:lnTo>
                    <a:lnTo>
                      <a:pt x="165" y="313"/>
                    </a:lnTo>
                    <a:lnTo>
                      <a:pt x="162" y="315"/>
                    </a:lnTo>
                    <a:lnTo>
                      <a:pt x="155" y="312"/>
                    </a:lnTo>
                    <a:lnTo>
                      <a:pt x="151" y="308"/>
                    </a:lnTo>
                    <a:lnTo>
                      <a:pt x="146" y="308"/>
                    </a:lnTo>
                    <a:lnTo>
                      <a:pt x="139" y="308"/>
                    </a:lnTo>
                    <a:lnTo>
                      <a:pt x="135" y="312"/>
                    </a:lnTo>
                    <a:lnTo>
                      <a:pt x="128" y="310"/>
                    </a:lnTo>
                    <a:lnTo>
                      <a:pt x="110" y="317"/>
                    </a:lnTo>
                    <a:lnTo>
                      <a:pt x="107" y="322"/>
                    </a:lnTo>
                    <a:lnTo>
                      <a:pt x="100" y="324"/>
                    </a:lnTo>
                    <a:lnTo>
                      <a:pt x="89" y="333"/>
                    </a:lnTo>
                    <a:lnTo>
                      <a:pt x="71" y="365"/>
                    </a:lnTo>
                    <a:lnTo>
                      <a:pt x="70" y="363"/>
                    </a:lnTo>
                    <a:lnTo>
                      <a:pt x="68" y="361"/>
                    </a:lnTo>
                    <a:lnTo>
                      <a:pt x="68" y="354"/>
                    </a:lnTo>
                    <a:lnTo>
                      <a:pt x="66" y="345"/>
                    </a:lnTo>
                    <a:lnTo>
                      <a:pt x="54" y="335"/>
                    </a:lnTo>
                    <a:lnTo>
                      <a:pt x="48" y="331"/>
                    </a:lnTo>
                    <a:lnTo>
                      <a:pt x="43" y="319"/>
                    </a:lnTo>
                    <a:lnTo>
                      <a:pt x="32" y="303"/>
                    </a:lnTo>
                    <a:lnTo>
                      <a:pt x="31" y="294"/>
                    </a:lnTo>
                    <a:lnTo>
                      <a:pt x="24" y="287"/>
                    </a:lnTo>
                    <a:lnTo>
                      <a:pt x="11" y="281"/>
                    </a:lnTo>
                    <a:lnTo>
                      <a:pt x="8" y="278"/>
                    </a:lnTo>
                    <a:lnTo>
                      <a:pt x="8" y="260"/>
                    </a:lnTo>
                    <a:lnTo>
                      <a:pt x="6" y="251"/>
                    </a:lnTo>
                    <a:lnTo>
                      <a:pt x="2" y="241"/>
                    </a:lnTo>
                    <a:lnTo>
                      <a:pt x="4" y="230"/>
                    </a:lnTo>
                    <a:lnTo>
                      <a:pt x="2" y="219"/>
                    </a:lnTo>
                    <a:lnTo>
                      <a:pt x="0" y="211"/>
                    </a:lnTo>
                    <a:lnTo>
                      <a:pt x="4" y="205"/>
                    </a:lnTo>
                    <a:lnTo>
                      <a:pt x="9" y="204"/>
                    </a:lnTo>
                    <a:lnTo>
                      <a:pt x="16" y="193"/>
                    </a:lnTo>
                    <a:lnTo>
                      <a:pt x="22" y="182"/>
                    </a:lnTo>
                    <a:lnTo>
                      <a:pt x="29" y="168"/>
                    </a:lnTo>
                    <a:lnTo>
                      <a:pt x="32" y="159"/>
                    </a:lnTo>
                    <a:lnTo>
                      <a:pt x="39" y="157"/>
                    </a:lnTo>
                    <a:lnTo>
                      <a:pt x="47" y="147"/>
                    </a:lnTo>
                    <a:lnTo>
                      <a:pt x="47" y="143"/>
                    </a:lnTo>
                    <a:lnTo>
                      <a:pt x="50" y="149"/>
                    </a:lnTo>
                    <a:lnTo>
                      <a:pt x="52" y="157"/>
                    </a:lnTo>
                    <a:lnTo>
                      <a:pt x="61" y="157"/>
                    </a:lnTo>
                    <a:lnTo>
                      <a:pt x="66" y="156"/>
                    </a:lnTo>
                    <a:lnTo>
                      <a:pt x="78" y="156"/>
                    </a:lnTo>
                    <a:lnTo>
                      <a:pt x="84" y="145"/>
                    </a:lnTo>
                    <a:lnTo>
                      <a:pt x="84" y="138"/>
                    </a:lnTo>
                    <a:lnTo>
                      <a:pt x="87" y="133"/>
                    </a:lnTo>
                    <a:lnTo>
                      <a:pt x="93" y="136"/>
                    </a:lnTo>
                    <a:lnTo>
                      <a:pt x="94" y="147"/>
                    </a:lnTo>
                    <a:lnTo>
                      <a:pt x="98" y="150"/>
                    </a:lnTo>
                    <a:lnTo>
                      <a:pt x="107" y="149"/>
                    </a:lnTo>
                    <a:lnTo>
                      <a:pt x="117" y="142"/>
                    </a:lnTo>
                    <a:lnTo>
                      <a:pt x="128" y="136"/>
                    </a:lnTo>
                    <a:lnTo>
                      <a:pt x="139" y="129"/>
                    </a:lnTo>
                    <a:lnTo>
                      <a:pt x="163" y="124"/>
                    </a:lnTo>
                    <a:lnTo>
                      <a:pt x="174" y="124"/>
                    </a:lnTo>
                    <a:lnTo>
                      <a:pt x="179" y="117"/>
                    </a:lnTo>
                    <a:lnTo>
                      <a:pt x="192" y="110"/>
                    </a:lnTo>
                    <a:lnTo>
                      <a:pt x="190" y="104"/>
                    </a:lnTo>
                    <a:lnTo>
                      <a:pt x="185" y="104"/>
                    </a:lnTo>
                    <a:lnTo>
                      <a:pt x="179" y="95"/>
                    </a:lnTo>
                    <a:lnTo>
                      <a:pt x="179" y="88"/>
                    </a:lnTo>
                    <a:lnTo>
                      <a:pt x="185" y="85"/>
                    </a:lnTo>
                    <a:lnTo>
                      <a:pt x="192" y="87"/>
                    </a:lnTo>
                    <a:lnTo>
                      <a:pt x="201" y="85"/>
                    </a:lnTo>
                    <a:lnTo>
                      <a:pt x="208" y="88"/>
                    </a:lnTo>
                    <a:lnTo>
                      <a:pt x="218" y="90"/>
                    </a:lnTo>
                    <a:lnTo>
                      <a:pt x="229" y="88"/>
                    </a:lnTo>
                    <a:lnTo>
                      <a:pt x="245" y="87"/>
                    </a:lnTo>
                    <a:lnTo>
                      <a:pt x="254" y="80"/>
                    </a:lnTo>
                    <a:lnTo>
                      <a:pt x="261" y="76"/>
                    </a:lnTo>
                    <a:lnTo>
                      <a:pt x="263" y="71"/>
                    </a:lnTo>
                    <a:lnTo>
                      <a:pt x="261" y="64"/>
                    </a:lnTo>
                    <a:lnTo>
                      <a:pt x="263" y="56"/>
                    </a:lnTo>
                    <a:lnTo>
                      <a:pt x="268" y="53"/>
                    </a:lnTo>
                    <a:lnTo>
                      <a:pt x="268" y="48"/>
                    </a:lnTo>
                    <a:lnTo>
                      <a:pt x="273" y="41"/>
                    </a:lnTo>
                    <a:lnTo>
                      <a:pt x="277" y="42"/>
                    </a:lnTo>
                    <a:lnTo>
                      <a:pt x="282" y="42"/>
                    </a:lnTo>
                    <a:lnTo>
                      <a:pt x="289" y="30"/>
                    </a:lnTo>
                    <a:lnTo>
                      <a:pt x="295" y="28"/>
                    </a:lnTo>
                    <a:lnTo>
                      <a:pt x="293" y="23"/>
                    </a:lnTo>
                    <a:lnTo>
                      <a:pt x="295" y="16"/>
                    </a:lnTo>
                    <a:lnTo>
                      <a:pt x="305" y="10"/>
                    </a:lnTo>
                    <a:lnTo>
                      <a:pt x="312" y="5"/>
                    </a:lnTo>
                    <a:lnTo>
                      <a:pt x="323" y="5"/>
                    </a:lnTo>
                    <a:lnTo>
                      <a:pt x="328" y="9"/>
                    </a:lnTo>
                    <a:lnTo>
                      <a:pt x="339" y="3"/>
                    </a:lnTo>
                    <a:lnTo>
                      <a:pt x="34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6" name="Freeform 14">
                <a:extLst>
                  <a:ext uri="{FF2B5EF4-FFF2-40B4-BE49-F238E27FC236}">
                    <a16:creationId xmlns:a16="http://schemas.microsoft.com/office/drawing/2014/main" id="{50134A06-88D6-3B30-2814-299018037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4188" y="1689101"/>
                <a:ext cx="1020763" cy="947738"/>
              </a:xfrm>
              <a:custGeom>
                <a:avLst/>
                <a:gdLst>
                  <a:gd name="T0" fmla="*/ 604 w 643"/>
                  <a:gd name="T1" fmla="*/ 582 h 597"/>
                  <a:gd name="T2" fmla="*/ 626 w 643"/>
                  <a:gd name="T3" fmla="*/ 170 h 597"/>
                  <a:gd name="T4" fmla="*/ 617 w 643"/>
                  <a:gd name="T5" fmla="*/ 136 h 597"/>
                  <a:gd name="T6" fmla="*/ 627 w 643"/>
                  <a:gd name="T7" fmla="*/ 110 h 597"/>
                  <a:gd name="T8" fmla="*/ 622 w 643"/>
                  <a:gd name="T9" fmla="*/ 90 h 597"/>
                  <a:gd name="T10" fmla="*/ 629 w 643"/>
                  <a:gd name="T11" fmla="*/ 65 h 597"/>
                  <a:gd name="T12" fmla="*/ 619 w 643"/>
                  <a:gd name="T13" fmla="*/ 48 h 597"/>
                  <a:gd name="T14" fmla="*/ 604 w 643"/>
                  <a:gd name="T15" fmla="*/ 48 h 597"/>
                  <a:gd name="T16" fmla="*/ 571 w 643"/>
                  <a:gd name="T17" fmla="*/ 39 h 597"/>
                  <a:gd name="T18" fmla="*/ 546 w 643"/>
                  <a:gd name="T19" fmla="*/ 33 h 597"/>
                  <a:gd name="T20" fmla="*/ 546 w 643"/>
                  <a:gd name="T21" fmla="*/ 28 h 597"/>
                  <a:gd name="T22" fmla="*/ 526 w 643"/>
                  <a:gd name="T23" fmla="*/ 12 h 597"/>
                  <a:gd name="T24" fmla="*/ 503 w 643"/>
                  <a:gd name="T25" fmla="*/ 9 h 597"/>
                  <a:gd name="T26" fmla="*/ 496 w 643"/>
                  <a:gd name="T27" fmla="*/ 10 h 597"/>
                  <a:gd name="T28" fmla="*/ 484 w 643"/>
                  <a:gd name="T29" fmla="*/ 7 h 597"/>
                  <a:gd name="T30" fmla="*/ 450 w 643"/>
                  <a:gd name="T31" fmla="*/ 16 h 597"/>
                  <a:gd name="T32" fmla="*/ 424 w 643"/>
                  <a:gd name="T33" fmla="*/ 33 h 597"/>
                  <a:gd name="T34" fmla="*/ 415 w 643"/>
                  <a:gd name="T35" fmla="*/ 48 h 597"/>
                  <a:gd name="T36" fmla="*/ 422 w 643"/>
                  <a:gd name="T37" fmla="*/ 81 h 597"/>
                  <a:gd name="T38" fmla="*/ 424 w 643"/>
                  <a:gd name="T39" fmla="*/ 108 h 597"/>
                  <a:gd name="T40" fmla="*/ 411 w 643"/>
                  <a:gd name="T41" fmla="*/ 122 h 597"/>
                  <a:gd name="T42" fmla="*/ 388 w 643"/>
                  <a:gd name="T43" fmla="*/ 138 h 597"/>
                  <a:gd name="T44" fmla="*/ 355 w 643"/>
                  <a:gd name="T45" fmla="*/ 117 h 597"/>
                  <a:gd name="T46" fmla="*/ 323 w 643"/>
                  <a:gd name="T47" fmla="*/ 97 h 597"/>
                  <a:gd name="T48" fmla="*/ 278 w 643"/>
                  <a:gd name="T49" fmla="*/ 83 h 597"/>
                  <a:gd name="T50" fmla="*/ 259 w 643"/>
                  <a:gd name="T51" fmla="*/ 85 h 597"/>
                  <a:gd name="T52" fmla="*/ 232 w 643"/>
                  <a:gd name="T53" fmla="*/ 53 h 597"/>
                  <a:gd name="T54" fmla="*/ 222 w 643"/>
                  <a:gd name="T55" fmla="*/ 26 h 597"/>
                  <a:gd name="T56" fmla="*/ 181 w 643"/>
                  <a:gd name="T57" fmla="*/ 14 h 597"/>
                  <a:gd name="T58" fmla="*/ 146 w 643"/>
                  <a:gd name="T59" fmla="*/ 9 h 597"/>
                  <a:gd name="T60" fmla="*/ 96 w 643"/>
                  <a:gd name="T61" fmla="*/ 9 h 597"/>
                  <a:gd name="T62" fmla="*/ 78 w 643"/>
                  <a:gd name="T63" fmla="*/ 0 h 597"/>
                  <a:gd name="T64" fmla="*/ 80 w 643"/>
                  <a:gd name="T65" fmla="*/ 19 h 597"/>
                  <a:gd name="T66" fmla="*/ 75 w 643"/>
                  <a:gd name="T67" fmla="*/ 37 h 597"/>
                  <a:gd name="T68" fmla="*/ 50 w 643"/>
                  <a:gd name="T69" fmla="*/ 56 h 597"/>
                  <a:gd name="T70" fmla="*/ 32 w 643"/>
                  <a:gd name="T71" fmla="*/ 65 h 597"/>
                  <a:gd name="T72" fmla="*/ 27 w 643"/>
                  <a:gd name="T73" fmla="*/ 74 h 597"/>
                  <a:gd name="T74" fmla="*/ 29 w 643"/>
                  <a:gd name="T75" fmla="*/ 94 h 597"/>
                  <a:gd name="T76" fmla="*/ 29 w 643"/>
                  <a:gd name="T77" fmla="*/ 106 h 597"/>
                  <a:gd name="T78" fmla="*/ 25 w 643"/>
                  <a:gd name="T79" fmla="*/ 113 h 597"/>
                  <a:gd name="T80" fmla="*/ 14 w 643"/>
                  <a:gd name="T81" fmla="*/ 125 h 597"/>
                  <a:gd name="T82" fmla="*/ 7 w 643"/>
                  <a:gd name="T83" fmla="*/ 127 h 597"/>
                  <a:gd name="T84" fmla="*/ 4 w 643"/>
                  <a:gd name="T85" fmla="*/ 131 h 597"/>
                  <a:gd name="T86" fmla="*/ 7 w 643"/>
                  <a:gd name="T87" fmla="*/ 147 h 597"/>
                  <a:gd name="T88" fmla="*/ 13 w 643"/>
                  <a:gd name="T89" fmla="*/ 184 h 597"/>
                  <a:gd name="T90" fmla="*/ 13 w 643"/>
                  <a:gd name="T91" fmla="*/ 203 h 597"/>
                  <a:gd name="T92" fmla="*/ 20 w 643"/>
                  <a:gd name="T93" fmla="*/ 237 h 597"/>
                  <a:gd name="T94" fmla="*/ 14 w 643"/>
                  <a:gd name="T95" fmla="*/ 264 h 597"/>
                  <a:gd name="T96" fmla="*/ 20 w 643"/>
                  <a:gd name="T97" fmla="*/ 288 h 597"/>
                  <a:gd name="T98" fmla="*/ 7 w 643"/>
                  <a:gd name="T99" fmla="*/ 301 h 597"/>
                  <a:gd name="T100" fmla="*/ 0 w 643"/>
                  <a:gd name="T101" fmla="*/ 308 h 597"/>
                  <a:gd name="T102" fmla="*/ 16 w 643"/>
                  <a:gd name="T103" fmla="*/ 327 h 597"/>
                  <a:gd name="T104" fmla="*/ 27 w 643"/>
                  <a:gd name="T105" fmla="*/ 345 h 597"/>
                  <a:gd name="T106" fmla="*/ 29 w 643"/>
                  <a:gd name="T107" fmla="*/ 361 h 597"/>
                  <a:gd name="T108" fmla="*/ 34 w 643"/>
                  <a:gd name="T109" fmla="*/ 379 h 597"/>
                  <a:gd name="T110" fmla="*/ 39 w 643"/>
                  <a:gd name="T111" fmla="*/ 391 h 597"/>
                  <a:gd name="T112" fmla="*/ 73 w 643"/>
                  <a:gd name="T113" fmla="*/ 391 h 597"/>
                  <a:gd name="T114" fmla="*/ 85 w 643"/>
                  <a:gd name="T115" fmla="*/ 405 h 597"/>
                  <a:gd name="T116" fmla="*/ 98 w 643"/>
                  <a:gd name="T117" fmla="*/ 427 h 597"/>
                  <a:gd name="T118" fmla="*/ 108 w 643"/>
                  <a:gd name="T119" fmla="*/ 437 h 597"/>
                  <a:gd name="T120" fmla="*/ 186 w 643"/>
                  <a:gd name="T121" fmla="*/ 462 h 597"/>
                  <a:gd name="T122" fmla="*/ 604 w 643"/>
                  <a:gd name="T123" fmla="*/ 597 h 597"/>
                  <a:gd name="T124" fmla="*/ 604 w 643"/>
                  <a:gd name="T125" fmla="*/ 597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43" h="597">
                    <a:moveTo>
                      <a:pt x="604" y="597"/>
                    </a:moveTo>
                    <a:lnTo>
                      <a:pt x="604" y="582"/>
                    </a:lnTo>
                    <a:lnTo>
                      <a:pt x="643" y="579"/>
                    </a:lnTo>
                    <a:lnTo>
                      <a:pt x="626" y="170"/>
                    </a:lnTo>
                    <a:lnTo>
                      <a:pt x="622" y="149"/>
                    </a:lnTo>
                    <a:lnTo>
                      <a:pt x="617" y="136"/>
                    </a:lnTo>
                    <a:lnTo>
                      <a:pt x="622" y="124"/>
                    </a:lnTo>
                    <a:lnTo>
                      <a:pt x="627" y="110"/>
                    </a:lnTo>
                    <a:lnTo>
                      <a:pt x="627" y="101"/>
                    </a:lnTo>
                    <a:lnTo>
                      <a:pt x="622" y="90"/>
                    </a:lnTo>
                    <a:lnTo>
                      <a:pt x="626" y="72"/>
                    </a:lnTo>
                    <a:lnTo>
                      <a:pt x="629" y="65"/>
                    </a:lnTo>
                    <a:lnTo>
                      <a:pt x="626" y="53"/>
                    </a:lnTo>
                    <a:lnTo>
                      <a:pt x="619" y="48"/>
                    </a:lnTo>
                    <a:lnTo>
                      <a:pt x="611" y="46"/>
                    </a:lnTo>
                    <a:lnTo>
                      <a:pt x="604" y="48"/>
                    </a:lnTo>
                    <a:lnTo>
                      <a:pt x="576" y="44"/>
                    </a:lnTo>
                    <a:lnTo>
                      <a:pt x="571" y="39"/>
                    </a:lnTo>
                    <a:lnTo>
                      <a:pt x="560" y="37"/>
                    </a:lnTo>
                    <a:lnTo>
                      <a:pt x="546" y="33"/>
                    </a:lnTo>
                    <a:lnTo>
                      <a:pt x="542" y="28"/>
                    </a:lnTo>
                    <a:lnTo>
                      <a:pt x="546" y="28"/>
                    </a:lnTo>
                    <a:lnTo>
                      <a:pt x="544" y="23"/>
                    </a:lnTo>
                    <a:lnTo>
                      <a:pt x="526" y="12"/>
                    </a:lnTo>
                    <a:lnTo>
                      <a:pt x="518" y="12"/>
                    </a:lnTo>
                    <a:lnTo>
                      <a:pt x="503" y="9"/>
                    </a:lnTo>
                    <a:lnTo>
                      <a:pt x="500" y="7"/>
                    </a:lnTo>
                    <a:lnTo>
                      <a:pt x="496" y="10"/>
                    </a:lnTo>
                    <a:lnTo>
                      <a:pt x="487" y="7"/>
                    </a:lnTo>
                    <a:lnTo>
                      <a:pt x="484" y="7"/>
                    </a:lnTo>
                    <a:lnTo>
                      <a:pt x="471" y="12"/>
                    </a:lnTo>
                    <a:lnTo>
                      <a:pt x="450" y="16"/>
                    </a:lnTo>
                    <a:lnTo>
                      <a:pt x="433" y="23"/>
                    </a:lnTo>
                    <a:lnTo>
                      <a:pt x="424" y="33"/>
                    </a:lnTo>
                    <a:lnTo>
                      <a:pt x="420" y="44"/>
                    </a:lnTo>
                    <a:lnTo>
                      <a:pt x="415" y="48"/>
                    </a:lnTo>
                    <a:lnTo>
                      <a:pt x="415" y="69"/>
                    </a:lnTo>
                    <a:lnTo>
                      <a:pt x="422" y="81"/>
                    </a:lnTo>
                    <a:lnTo>
                      <a:pt x="427" y="97"/>
                    </a:lnTo>
                    <a:lnTo>
                      <a:pt x="424" y="108"/>
                    </a:lnTo>
                    <a:lnTo>
                      <a:pt x="413" y="118"/>
                    </a:lnTo>
                    <a:lnTo>
                      <a:pt x="411" y="122"/>
                    </a:lnTo>
                    <a:lnTo>
                      <a:pt x="397" y="134"/>
                    </a:lnTo>
                    <a:lnTo>
                      <a:pt x="388" y="138"/>
                    </a:lnTo>
                    <a:lnTo>
                      <a:pt x="371" y="129"/>
                    </a:lnTo>
                    <a:lnTo>
                      <a:pt x="355" y="117"/>
                    </a:lnTo>
                    <a:lnTo>
                      <a:pt x="342" y="106"/>
                    </a:lnTo>
                    <a:lnTo>
                      <a:pt x="323" y="97"/>
                    </a:lnTo>
                    <a:lnTo>
                      <a:pt x="293" y="85"/>
                    </a:lnTo>
                    <a:lnTo>
                      <a:pt x="278" y="83"/>
                    </a:lnTo>
                    <a:lnTo>
                      <a:pt x="275" y="85"/>
                    </a:lnTo>
                    <a:lnTo>
                      <a:pt x="259" y="85"/>
                    </a:lnTo>
                    <a:lnTo>
                      <a:pt x="245" y="78"/>
                    </a:lnTo>
                    <a:lnTo>
                      <a:pt x="232" y="53"/>
                    </a:lnTo>
                    <a:lnTo>
                      <a:pt x="232" y="40"/>
                    </a:lnTo>
                    <a:lnTo>
                      <a:pt x="222" y="26"/>
                    </a:lnTo>
                    <a:lnTo>
                      <a:pt x="195" y="23"/>
                    </a:lnTo>
                    <a:lnTo>
                      <a:pt x="181" y="14"/>
                    </a:lnTo>
                    <a:lnTo>
                      <a:pt x="158" y="14"/>
                    </a:lnTo>
                    <a:lnTo>
                      <a:pt x="146" y="9"/>
                    </a:lnTo>
                    <a:lnTo>
                      <a:pt x="115" y="14"/>
                    </a:lnTo>
                    <a:lnTo>
                      <a:pt x="96" y="9"/>
                    </a:lnTo>
                    <a:lnTo>
                      <a:pt x="89" y="1"/>
                    </a:lnTo>
                    <a:lnTo>
                      <a:pt x="78" y="0"/>
                    </a:lnTo>
                    <a:lnTo>
                      <a:pt x="76" y="3"/>
                    </a:lnTo>
                    <a:lnTo>
                      <a:pt x="80" y="19"/>
                    </a:lnTo>
                    <a:lnTo>
                      <a:pt x="84" y="23"/>
                    </a:lnTo>
                    <a:lnTo>
                      <a:pt x="75" y="37"/>
                    </a:lnTo>
                    <a:lnTo>
                      <a:pt x="50" y="51"/>
                    </a:lnTo>
                    <a:lnTo>
                      <a:pt x="50" y="56"/>
                    </a:lnTo>
                    <a:lnTo>
                      <a:pt x="43" y="67"/>
                    </a:lnTo>
                    <a:lnTo>
                      <a:pt x="32" y="65"/>
                    </a:lnTo>
                    <a:lnTo>
                      <a:pt x="27" y="71"/>
                    </a:lnTo>
                    <a:lnTo>
                      <a:pt x="27" y="74"/>
                    </a:lnTo>
                    <a:lnTo>
                      <a:pt x="25" y="81"/>
                    </a:lnTo>
                    <a:lnTo>
                      <a:pt x="29" y="94"/>
                    </a:lnTo>
                    <a:lnTo>
                      <a:pt x="30" y="104"/>
                    </a:lnTo>
                    <a:lnTo>
                      <a:pt x="29" y="106"/>
                    </a:lnTo>
                    <a:lnTo>
                      <a:pt x="29" y="110"/>
                    </a:lnTo>
                    <a:lnTo>
                      <a:pt x="25" y="113"/>
                    </a:lnTo>
                    <a:lnTo>
                      <a:pt x="22" y="120"/>
                    </a:lnTo>
                    <a:lnTo>
                      <a:pt x="14" y="125"/>
                    </a:lnTo>
                    <a:lnTo>
                      <a:pt x="13" y="127"/>
                    </a:lnTo>
                    <a:lnTo>
                      <a:pt x="7" y="127"/>
                    </a:lnTo>
                    <a:lnTo>
                      <a:pt x="7" y="127"/>
                    </a:lnTo>
                    <a:lnTo>
                      <a:pt x="4" y="131"/>
                    </a:lnTo>
                    <a:lnTo>
                      <a:pt x="4" y="145"/>
                    </a:lnTo>
                    <a:lnTo>
                      <a:pt x="7" y="147"/>
                    </a:lnTo>
                    <a:lnTo>
                      <a:pt x="13" y="157"/>
                    </a:lnTo>
                    <a:lnTo>
                      <a:pt x="13" y="184"/>
                    </a:lnTo>
                    <a:lnTo>
                      <a:pt x="14" y="200"/>
                    </a:lnTo>
                    <a:lnTo>
                      <a:pt x="13" y="203"/>
                    </a:lnTo>
                    <a:lnTo>
                      <a:pt x="14" y="225"/>
                    </a:lnTo>
                    <a:lnTo>
                      <a:pt x="20" y="237"/>
                    </a:lnTo>
                    <a:lnTo>
                      <a:pt x="16" y="260"/>
                    </a:lnTo>
                    <a:lnTo>
                      <a:pt x="14" y="264"/>
                    </a:lnTo>
                    <a:lnTo>
                      <a:pt x="20" y="274"/>
                    </a:lnTo>
                    <a:lnTo>
                      <a:pt x="20" y="288"/>
                    </a:lnTo>
                    <a:lnTo>
                      <a:pt x="16" y="294"/>
                    </a:lnTo>
                    <a:lnTo>
                      <a:pt x="7" y="301"/>
                    </a:lnTo>
                    <a:lnTo>
                      <a:pt x="4" y="304"/>
                    </a:lnTo>
                    <a:lnTo>
                      <a:pt x="0" y="308"/>
                    </a:lnTo>
                    <a:lnTo>
                      <a:pt x="7" y="315"/>
                    </a:lnTo>
                    <a:lnTo>
                      <a:pt x="16" y="327"/>
                    </a:lnTo>
                    <a:lnTo>
                      <a:pt x="25" y="343"/>
                    </a:lnTo>
                    <a:lnTo>
                      <a:pt x="27" y="345"/>
                    </a:lnTo>
                    <a:lnTo>
                      <a:pt x="30" y="356"/>
                    </a:lnTo>
                    <a:lnTo>
                      <a:pt x="29" y="361"/>
                    </a:lnTo>
                    <a:lnTo>
                      <a:pt x="29" y="373"/>
                    </a:lnTo>
                    <a:lnTo>
                      <a:pt x="34" y="379"/>
                    </a:lnTo>
                    <a:lnTo>
                      <a:pt x="36" y="386"/>
                    </a:lnTo>
                    <a:lnTo>
                      <a:pt x="39" y="391"/>
                    </a:lnTo>
                    <a:lnTo>
                      <a:pt x="57" y="391"/>
                    </a:lnTo>
                    <a:lnTo>
                      <a:pt x="73" y="391"/>
                    </a:lnTo>
                    <a:lnTo>
                      <a:pt x="80" y="397"/>
                    </a:lnTo>
                    <a:lnTo>
                      <a:pt x="85" y="405"/>
                    </a:lnTo>
                    <a:lnTo>
                      <a:pt x="92" y="423"/>
                    </a:lnTo>
                    <a:lnTo>
                      <a:pt x="98" y="427"/>
                    </a:lnTo>
                    <a:lnTo>
                      <a:pt x="103" y="432"/>
                    </a:lnTo>
                    <a:lnTo>
                      <a:pt x="108" y="437"/>
                    </a:lnTo>
                    <a:lnTo>
                      <a:pt x="181" y="455"/>
                    </a:lnTo>
                    <a:lnTo>
                      <a:pt x="186" y="462"/>
                    </a:lnTo>
                    <a:lnTo>
                      <a:pt x="271" y="428"/>
                    </a:lnTo>
                    <a:lnTo>
                      <a:pt x="604" y="597"/>
                    </a:lnTo>
                    <a:lnTo>
                      <a:pt x="604" y="597"/>
                    </a:lnTo>
                    <a:lnTo>
                      <a:pt x="604" y="59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7" name="Freeform 15">
                <a:extLst>
                  <a:ext uri="{FF2B5EF4-FFF2-40B4-BE49-F238E27FC236}">
                    <a16:creationId xmlns:a16="http://schemas.microsoft.com/office/drawing/2014/main" id="{EDAEBEB1-4B8C-FD1E-273A-8A9A757B65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8776" y="1379538"/>
                <a:ext cx="258763" cy="511175"/>
              </a:xfrm>
              <a:custGeom>
                <a:avLst/>
                <a:gdLst>
                  <a:gd name="T0" fmla="*/ 92 w 163"/>
                  <a:gd name="T1" fmla="*/ 322 h 322"/>
                  <a:gd name="T2" fmla="*/ 101 w 163"/>
                  <a:gd name="T3" fmla="*/ 315 h 322"/>
                  <a:gd name="T4" fmla="*/ 108 w 163"/>
                  <a:gd name="T5" fmla="*/ 305 h 322"/>
                  <a:gd name="T6" fmla="*/ 109 w 163"/>
                  <a:gd name="T7" fmla="*/ 299 h 322"/>
                  <a:gd name="T8" fmla="*/ 104 w 163"/>
                  <a:gd name="T9" fmla="*/ 276 h 322"/>
                  <a:gd name="T10" fmla="*/ 106 w 163"/>
                  <a:gd name="T11" fmla="*/ 266 h 322"/>
                  <a:gd name="T12" fmla="*/ 122 w 163"/>
                  <a:gd name="T13" fmla="*/ 262 h 322"/>
                  <a:gd name="T14" fmla="*/ 129 w 163"/>
                  <a:gd name="T15" fmla="*/ 246 h 322"/>
                  <a:gd name="T16" fmla="*/ 163 w 163"/>
                  <a:gd name="T17" fmla="*/ 218 h 322"/>
                  <a:gd name="T18" fmla="*/ 155 w 163"/>
                  <a:gd name="T19" fmla="*/ 198 h 322"/>
                  <a:gd name="T20" fmla="*/ 152 w 163"/>
                  <a:gd name="T21" fmla="*/ 193 h 322"/>
                  <a:gd name="T22" fmla="*/ 139 w 163"/>
                  <a:gd name="T23" fmla="*/ 182 h 322"/>
                  <a:gd name="T24" fmla="*/ 132 w 163"/>
                  <a:gd name="T25" fmla="*/ 172 h 322"/>
                  <a:gd name="T26" fmla="*/ 131 w 163"/>
                  <a:gd name="T27" fmla="*/ 177 h 322"/>
                  <a:gd name="T28" fmla="*/ 122 w 163"/>
                  <a:gd name="T29" fmla="*/ 177 h 322"/>
                  <a:gd name="T30" fmla="*/ 115 w 163"/>
                  <a:gd name="T31" fmla="*/ 172 h 322"/>
                  <a:gd name="T32" fmla="*/ 95 w 163"/>
                  <a:gd name="T33" fmla="*/ 152 h 322"/>
                  <a:gd name="T34" fmla="*/ 120 w 163"/>
                  <a:gd name="T35" fmla="*/ 126 h 322"/>
                  <a:gd name="T36" fmla="*/ 134 w 163"/>
                  <a:gd name="T37" fmla="*/ 110 h 322"/>
                  <a:gd name="T38" fmla="*/ 136 w 163"/>
                  <a:gd name="T39" fmla="*/ 99 h 322"/>
                  <a:gd name="T40" fmla="*/ 131 w 163"/>
                  <a:gd name="T41" fmla="*/ 92 h 322"/>
                  <a:gd name="T42" fmla="*/ 118 w 163"/>
                  <a:gd name="T43" fmla="*/ 74 h 322"/>
                  <a:gd name="T44" fmla="*/ 111 w 163"/>
                  <a:gd name="T45" fmla="*/ 49 h 322"/>
                  <a:gd name="T46" fmla="*/ 122 w 163"/>
                  <a:gd name="T47" fmla="*/ 35 h 322"/>
                  <a:gd name="T48" fmla="*/ 129 w 163"/>
                  <a:gd name="T49" fmla="*/ 14 h 322"/>
                  <a:gd name="T50" fmla="*/ 111 w 163"/>
                  <a:gd name="T51" fmla="*/ 25 h 322"/>
                  <a:gd name="T52" fmla="*/ 102 w 163"/>
                  <a:gd name="T53" fmla="*/ 28 h 322"/>
                  <a:gd name="T54" fmla="*/ 92 w 163"/>
                  <a:gd name="T55" fmla="*/ 12 h 322"/>
                  <a:gd name="T56" fmla="*/ 86 w 163"/>
                  <a:gd name="T57" fmla="*/ 0 h 322"/>
                  <a:gd name="T58" fmla="*/ 77 w 163"/>
                  <a:gd name="T59" fmla="*/ 7 h 322"/>
                  <a:gd name="T60" fmla="*/ 62 w 163"/>
                  <a:gd name="T61" fmla="*/ 3 h 322"/>
                  <a:gd name="T62" fmla="*/ 37 w 163"/>
                  <a:gd name="T63" fmla="*/ 21 h 322"/>
                  <a:gd name="T64" fmla="*/ 35 w 163"/>
                  <a:gd name="T65" fmla="*/ 26 h 322"/>
                  <a:gd name="T66" fmla="*/ 35 w 163"/>
                  <a:gd name="T67" fmla="*/ 44 h 322"/>
                  <a:gd name="T68" fmla="*/ 28 w 163"/>
                  <a:gd name="T69" fmla="*/ 76 h 322"/>
                  <a:gd name="T70" fmla="*/ 37 w 163"/>
                  <a:gd name="T71" fmla="*/ 94 h 322"/>
                  <a:gd name="T72" fmla="*/ 33 w 163"/>
                  <a:gd name="T73" fmla="*/ 99 h 322"/>
                  <a:gd name="T74" fmla="*/ 35 w 163"/>
                  <a:gd name="T75" fmla="*/ 111 h 322"/>
                  <a:gd name="T76" fmla="*/ 28 w 163"/>
                  <a:gd name="T77" fmla="*/ 129 h 322"/>
                  <a:gd name="T78" fmla="*/ 21 w 163"/>
                  <a:gd name="T79" fmla="*/ 138 h 322"/>
                  <a:gd name="T80" fmla="*/ 5 w 163"/>
                  <a:gd name="T81" fmla="*/ 150 h 322"/>
                  <a:gd name="T82" fmla="*/ 3 w 163"/>
                  <a:gd name="T83" fmla="*/ 173 h 322"/>
                  <a:gd name="T84" fmla="*/ 7 w 163"/>
                  <a:gd name="T85" fmla="*/ 189 h 322"/>
                  <a:gd name="T86" fmla="*/ 15 w 163"/>
                  <a:gd name="T87" fmla="*/ 198 h 322"/>
                  <a:gd name="T88" fmla="*/ 30 w 163"/>
                  <a:gd name="T89" fmla="*/ 218 h 322"/>
                  <a:gd name="T90" fmla="*/ 44 w 163"/>
                  <a:gd name="T91" fmla="*/ 227 h 322"/>
                  <a:gd name="T92" fmla="*/ 60 w 163"/>
                  <a:gd name="T93" fmla="*/ 239 h 322"/>
                  <a:gd name="T94" fmla="*/ 86 w 163"/>
                  <a:gd name="T95" fmla="*/ 322 h 322"/>
                  <a:gd name="T96" fmla="*/ 124 w 163"/>
                  <a:gd name="T97" fmla="*/ 163 h 322"/>
                  <a:gd name="T98" fmla="*/ 134 w 163"/>
                  <a:gd name="T99" fmla="*/ 166 h 322"/>
                  <a:gd name="T100" fmla="*/ 122 w 163"/>
                  <a:gd name="T101" fmla="*/ 166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3" h="322">
                    <a:moveTo>
                      <a:pt x="86" y="322"/>
                    </a:moveTo>
                    <a:lnTo>
                      <a:pt x="92" y="322"/>
                    </a:lnTo>
                    <a:lnTo>
                      <a:pt x="93" y="320"/>
                    </a:lnTo>
                    <a:lnTo>
                      <a:pt x="101" y="315"/>
                    </a:lnTo>
                    <a:lnTo>
                      <a:pt x="104" y="308"/>
                    </a:lnTo>
                    <a:lnTo>
                      <a:pt x="108" y="305"/>
                    </a:lnTo>
                    <a:lnTo>
                      <a:pt x="108" y="301"/>
                    </a:lnTo>
                    <a:lnTo>
                      <a:pt x="109" y="299"/>
                    </a:lnTo>
                    <a:lnTo>
                      <a:pt x="108" y="289"/>
                    </a:lnTo>
                    <a:lnTo>
                      <a:pt x="104" y="276"/>
                    </a:lnTo>
                    <a:lnTo>
                      <a:pt x="106" y="269"/>
                    </a:lnTo>
                    <a:lnTo>
                      <a:pt x="106" y="266"/>
                    </a:lnTo>
                    <a:lnTo>
                      <a:pt x="111" y="260"/>
                    </a:lnTo>
                    <a:lnTo>
                      <a:pt x="122" y="262"/>
                    </a:lnTo>
                    <a:lnTo>
                      <a:pt x="129" y="251"/>
                    </a:lnTo>
                    <a:lnTo>
                      <a:pt x="129" y="246"/>
                    </a:lnTo>
                    <a:lnTo>
                      <a:pt x="154" y="232"/>
                    </a:lnTo>
                    <a:lnTo>
                      <a:pt x="163" y="218"/>
                    </a:lnTo>
                    <a:lnTo>
                      <a:pt x="159" y="214"/>
                    </a:lnTo>
                    <a:lnTo>
                      <a:pt x="155" y="198"/>
                    </a:lnTo>
                    <a:lnTo>
                      <a:pt x="157" y="195"/>
                    </a:lnTo>
                    <a:lnTo>
                      <a:pt x="152" y="193"/>
                    </a:lnTo>
                    <a:lnTo>
                      <a:pt x="141" y="186"/>
                    </a:lnTo>
                    <a:lnTo>
                      <a:pt x="139" y="182"/>
                    </a:lnTo>
                    <a:lnTo>
                      <a:pt x="139" y="175"/>
                    </a:lnTo>
                    <a:lnTo>
                      <a:pt x="132" y="172"/>
                    </a:lnTo>
                    <a:lnTo>
                      <a:pt x="131" y="175"/>
                    </a:lnTo>
                    <a:lnTo>
                      <a:pt x="131" y="177"/>
                    </a:lnTo>
                    <a:lnTo>
                      <a:pt x="127" y="181"/>
                    </a:lnTo>
                    <a:lnTo>
                      <a:pt x="122" y="177"/>
                    </a:lnTo>
                    <a:lnTo>
                      <a:pt x="120" y="172"/>
                    </a:lnTo>
                    <a:lnTo>
                      <a:pt x="115" y="172"/>
                    </a:lnTo>
                    <a:lnTo>
                      <a:pt x="101" y="163"/>
                    </a:lnTo>
                    <a:lnTo>
                      <a:pt x="95" y="152"/>
                    </a:lnTo>
                    <a:lnTo>
                      <a:pt x="99" y="140"/>
                    </a:lnTo>
                    <a:lnTo>
                      <a:pt x="120" y="126"/>
                    </a:lnTo>
                    <a:lnTo>
                      <a:pt x="131" y="113"/>
                    </a:lnTo>
                    <a:lnTo>
                      <a:pt x="134" y="110"/>
                    </a:lnTo>
                    <a:lnTo>
                      <a:pt x="131" y="104"/>
                    </a:lnTo>
                    <a:lnTo>
                      <a:pt x="136" y="99"/>
                    </a:lnTo>
                    <a:lnTo>
                      <a:pt x="134" y="94"/>
                    </a:lnTo>
                    <a:lnTo>
                      <a:pt x="131" y="92"/>
                    </a:lnTo>
                    <a:lnTo>
                      <a:pt x="131" y="78"/>
                    </a:lnTo>
                    <a:lnTo>
                      <a:pt x="118" y="74"/>
                    </a:lnTo>
                    <a:lnTo>
                      <a:pt x="109" y="60"/>
                    </a:lnTo>
                    <a:lnTo>
                      <a:pt x="111" y="49"/>
                    </a:lnTo>
                    <a:lnTo>
                      <a:pt x="120" y="42"/>
                    </a:lnTo>
                    <a:lnTo>
                      <a:pt x="122" y="35"/>
                    </a:lnTo>
                    <a:lnTo>
                      <a:pt x="129" y="23"/>
                    </a:lnTo>
                    <a:lnTo>
                      <a:pt x="129" y="14"/>
                    </a:lnTo>
                    <a:lnTo>
                      <a:pt x="125" y="12"/>
                    </a:lnTo>
                    <a:lnTo>
                      <a:pt x="111" y="25"/>
                    </a:lnTo>
                    <a:lnTo>
                      <a:pt x="106" y="30"/>
                    </a:lnTo>
                    <a:lnTo>
                      <a:pt x="102" y="28"/>
                    </a:lnTo>
                    <a:lnTo>
                      <a:pt x="95" y="14"/>
                    </a:lnTo>
                    <a:lnTo>
                      <a:pt x="92" y="12"/>
                    </a:lnTo>
                    <a:lnTo>
                      <a:pt x="92" y="5"/>
                    </a:lnTo>
                    <a:lnTo>
                      <a:pt x="86" y="0"/>
                    </a:lnTo>
                    <a:lnTo>
                      <a:pt x="77" y="2"/>
                    </a:lnTo>
                    <a:lnTo>
                      <a:pt x="77" y="7"/>
                    </a:lnTo>
                    <a:lnTo>
                      <a:pt x="74" y="2"/>
                    </a:lnTo>
                    <a:lnTo>
                      <a:pt x="62" y="3"/>
                    </a:lnTo>
                    <a:lnTo>
                      <a:pt x="47" y="10"/>
                    </a:lnTo>
                    <a:lnTo>
                      <a:pt x="37" y="21"/>
                    </a:lnTo>
                    <a:lnTo>
                      <a:pt x="37" y="21"/>
                    </a:lnTo>
                    <a:lnTo>
                      <a:pt x="35" y="26"/>
                    </a:lnTo>
                    <a:lnTo>
                      <a:pt x="37" y="32"/>
                    </a:lnTo>
                    <a:lnTo>
                      <a:pt x="35" y="44"/>
                    </a:lnTo>
                    <a:lnTo>
                      <a:pt x="35" y="57"/>
                    </a:lnTo>
                    <a:lnTo>
                      <a:pt x="28" y="76"/>
                    </a:lnTo>
                    <a:lnTo>
                      <a:pt x="31" y="87"/>
                    </a:lnTo>
                    <a:lnTo>
                      <a:pt x="37" y="94"/>
                    </a:lnTo>
                    <a:lnTo>
                      <a:pt x="37" y="96"/>
                    </a:lnTo>
                    <a:lnTo>
                      <a:pt x="33" y="99"/>
                    </a:lnTo>
                    <a:lnTo>
                      <a:pt x="30" y="104"/>
                    </a:lnTo>
                    <a:lnTo>
                      <a:pt x="35" y="111"/>
                    </a:lnTo>
                    <a:lnTo>
                      <a:pt x="31" y="115"/>
                    </a:lnTo>
                    <a:lnTo>
                      <a:pt x="28" y="129"/>
                    </a:lnTo>
                    <a:lnTo>
                      <a:pt x="24" y="133"/>
                    </a:lnTo>
                    <a:lnTo>
                      <a:pt x="21" y="138"/>
                    </a:lnTo>
                    <a:lnTo>
                      <a:pt x="14" y="140"/>
                    </a:lnTo>
                    <a:lnTo>
                      <a:pt x="5" y="150"/>
                    </a:lnTo>
                    <a:lnTo>
                      <a:pt x="0" y="172"/>
                    </a:lnTo>
                    <a:lnTo>
                      <a:pt x="3" y="173"/>
                    </a:lnTo>
                    <a:lnTo>
                      <a:pt x="8" y="184"/>
                    </a:lnTo>
                    <a:lnTo>
                      <a:pt x="7" y="189"/>
                    </a:lnTo>
                    <a:lnTo>
                      <a:pt x="10" y="196"/>
                    </a:lnTo>
                    <a:lnTo>
                      <a:pt x="15" y="198"/>
                    </a:lnTo>
                    <a:lnTo>
                      <a:pt x="26" y="207"/>
                    </a:lnTo>
                    <a:lnTo>
                      <a:pt x="30" y="218"/>
                    </a:lnTo>
                    <a:lnTo>
                      <a:pt x="40" y="221"/>
                    </a:lnTo>
                    <a:lnTo>
                      <a:pt x="44" y="227"/>
                    </a:lnTo>
                    <a:lnTo>
                      <a:pt x="49" y="228"/>
                    </a:lnTo>
                    <a:lnTo>
                      <a:pt x="60" y="239"/>
                    </a:lnTo>
                    <a:lnTo>
                      <a:pt x="86" y="322"/>
                    </a:lnTo>
                    <a:lnTo>
                      <a:pt x="86" y="322"/>
                    </a:lnTo>
                    <a:close/>
                    <a:moveTo>
                      <a:pt x="122" y="166"/>
                    </a:moveTo>
                    <a:lnTo>
                      <a:pt x="124" y="163"/>
                    </a:lnTo>
                    <a:lnTo>
                      <a:pt x="131" y="163"/>
                    </a:lnTo>
                    <a:lnTo>
                      <a:pt x="134" y="166"/>
                    </a:lnTo>
                    <a:lnTo>
                      <a:pt x="129" y="170"/>
                    </a:lnTo>
                    <a:lnTo>
                      <a:pt x="122" y="16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8" name="Freeform 16">
                <a:extLst>
                  <a:ext uri="{FF2B5EF4-FFF2-40B4-BE49-F238E27FC236}">
                    <a16:creationId xmlns:a16="http://schemas.microsoft.com/office/drawing/2014/main" id="{4FDB9345-BF91-0518-29D0-EABF1302D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8013" y="1395413"/>
                <a:ext cx="1317625" cy="1279525"/>
              </a:xfrm>
              <a:custGeom>
                <a:avLst/>
                <a:gdLst>
                  <a:gd name="T0" fmla="*/ 820 w 830"/>
                  <a:gd name="T1" fmla="*/ 612 h 806"/>
                  <a:gd name="T2" fmla="*/ 802 w 830"/>
                  <a:gd name="T3" fmla="*/ 582 h 806"/>
                  <a:gd name="T4" fmla="*/ 761 w 830"/>
                  <a:gd name="T5" fmla="*/ 576 h 806"/>
                  <a:gd name="T6" fmla="*/ 751 w 830"/>
                  <a:gd name="T7" fmla="*/ 558 h 806"/>
                  <a:gd name="T8" fmla="*/ 749 w 830"/>
                  <a:gd name="T9" fmla="*/ 530 h 806"/>
                  <a:gd name="T10" fmla="*/ 729 w 830"/>
                  <a:gd name="T11" fmla="*/ 500 h 806"/>
                  <a:gd name="T12" fmla="*/ 729 w 830"/>
                  <a:gd name="T13" fmla="*/ 486 h 806"/>
                  <a:gd name="T14" fmla="*/ 742 w 830"/>
                  <a:gd name="T15" fmla="*/ 459 h 806"/>
                  <a:gd name="T16" fmla="*/ 742 w 830"/>
                  <a:gd name="T17" fmla="*/ 422 h 806"/>
                  <a:gd name="T18" fmla="*/ 736 w 830"/>
                  <a:gd name="T19" fmla="*/ 385 h 806"/>
                  <a:gd name="T20" fmla="*/ 729 w 830"/>
                  <a:gd name="T21" fmla="*/ 332 h 806"/>
                  <a:gd name="T22" fmla="*/ 729 w 830"/>
                  <a:gd name="T23" fmla="*/ 312 h 806"/>
                  <a:gd name="T24" fmla="*/ 687 w 830"/>
                  <a:gd name="T25" fmla="*/ 217 h 806"/>
                  <a:gd name="T26" fmla="*/ 669 w 830"/>
                  <a:gd name="T27" fmla="*/ 197 h 806"/>
                  <a:gd name="T28" fmla="*/ 650 w 830"/>
                  <a:gd name="T29" fmla="*/ 179 h 806"/>
                  <a:gd name="T30" fmla="*/ 643 w 830"/>
                  <a:gd name="T31" fmla="*/ 162 h 806"/>
                  <a:gd name="T32" fmla="*/ 664 w 830"/>
                  <a:gd name="T33" fmla="*/ 128 h 806"/>
                  <a:gd name="T34" fmla="*/ 674 w 830"/>
                  <a:gd name="T35" fmla="*/ 105 h 806"/>
                  <a:gd name="T36" fmla="*/ 676 w 830"/>
                  <a:gd name="T37" fmla="*/ 89 h 806"/>
                  <a:gd name="T38" fmla="*/ 674 w 830"/>
                  <a:gd name="T39" fmla="*/ 77 h 806"/>
                  <a:gd name="T40" fmla="*/ 678 w 830"/>
                  <a:gd name="T41" fmla="*/ 34 h 806"/>
                  <a:gd name="T42" fmla="*/ 680 w 830"/>
                  <a:gd name="T43" fmla="*/ 11 h 806"/>
                  <a:gd name="T44" fmla="*/ 660 w 830"/>
                  <a:gd name="T45" fmla="*/ 9 h 806"/>
                  <a:gd name="T46" fmla="*/ 621 w 830"/>
                  <a:gd name="T47" fmla="*/ 2 h 806"/>
                  <a:gd name="T48" fmla="*/ 600 w 830"/>
                  <a:gd name="T49" fmla="*/ 11 h 806"/>
                  <a:gd name="T50" fmla="*/ 584 w 830"/>
                  <a:gd name="T51" fmla="*/ 4 h 806"/>
                  <a:gd name="T52" fmla="*/ 570 w 830"/>
                  <a:gd name="T53" fmla="*/ 16 h 806"/>
                  <a:gd name="T54" fmla="*/ 550 w 830"/>
                  <a:gd name="T55" fmla="*/ 22 h 806"/>
                  <a:gd name="T56" fmla="*/ 524 w 830"/>
                  <a:gd name="T57" fmla="*/ 11 h 806"/>
                  <a:gd name="T58" fmla="*/ 499 w 830"/>
                  <a:gd name="T59" fmla="*/ 11 h 806"/>
                  <a:gd name="T60" fmla="*/ 483 w 830"/>
                  <a:gd name="T61" fmla="*/ 11 h 806"/>
                  <a:gd name="T62" fmla="*/ 462 w 830"/>
                  <a:gd name="T63" fmla="*/ 16 h 806"/>
                  <a:gd name="T64" fmla="*/ 435 w 830"/>
                  <a:gd name="T65" fmla="*/ 20 h 806"/>
                  <a:gd name="T66" fmla="*/ 402 w 830"/>
                  <a:gd name="T67" fmla="*/ 24 h 806"/>
                  <a:gd name="T68" fmla="*/ 364 w 830"/>
                  <a:gd name="T69" fmla="*/ 41 h 806"/>
                  <a:gd name="T70" fmla="*/ 348 w 830"/>
                  <a:gd name="T71" fmla="*/ 59 h 806"/>
                  <a:gd name="T72" fmla="*/ 336 w 830"/>
                  <a:gd name="T73" fmla="*/ 57 h 806"/>
                  <a:gd name="T74" fmla="*/ 317 w 830"/>
                  <a:gd name="T75" fmla="*/ 64 h 806"/>
                  <a:gd name="T76" fmla="*/ 301 w 830"/>
                  <a:gd name="T77" fmla="*/ 78 h 806"/>
                  <a:gd name="T78" fmla="*/ 269 w 830"/>
                  <a:gd name="T79" fmla="*/ 93 h 806"/>
                  <a:gd name="T80" fmla="*/ 279 w 830"/>
                  <a:gd name="T81" fmla="*/ 107 h 806"/>
                  <a:gd name="T82" fmla="*/ 281 w 830"/>
                  <a:gd name="T83" fmla="*/ 132 h 806"/>
                  <a:gd name="T84" fmla="*/ 286 w 830"/>
                  <a:gd name="T85" fmla="*/ 185 h 806"/>
                  <a:gd name="T86" fmla="*/ 301 w 830"/>
                  <a:gd name="T87" fmla="*/ 206 h 806"/>
                  <a:gd name="T88" fmla="*/ 313 w 830"/>
                  <a:gd name="T89" fmla="*/ 213 h 806"/>
                  <a:gd name="T90" fmla="*/ 304 w 830"/>
                  <a:gd name="T91" fmla="*/ 236 h 806"/>
                  <a:gd name="T92" fmla="*/ 235 w 830"/>
                  <a:gd name="T93" fmla="*/ 254 h 806"/>
                  <a:gd name="T94" fmla="*/ 223 w 830"/>
                  <a:gd name="T95" fmla="*/ 284 h 806"/>
                  <a:gd name="T96" fmla="*/ 147 w 830"/>
                  <a:gd name="T97" fmla="*/ 337 h 806"/>
                  <a:gd name="T98" fmla="*/ 81 w 830"/>
                  <a:gd name="T99" fmla="*/ 360 h 806"/>
                  <a:gd name="T100" fmla="*/ 38 w 830"/>
                  <a:gd name="T101" fmla="*/ 367 h 806"/>
                  <a:gd name="T102" fmla="*/ 0 w 830"/>
                  <a:gd name="T103" fmla="*/ 399 h 806"/>
                  <a:gd name="T104" fmla="*/ 0 w 830"/>
                  <a:gd name="T105" fmla="*/ 447 h 806"/>
                  <a:gd name="T106" fmla="*/ 150 w 830"/>
                  <a:gd name="T107" fmla="*/ 548 h 806"/>
                  <a:gd name="T108" fmla="*/ 425 w 830"/>
                  <a:gd name="T109" fmla="*/ 748 h 806"/>
                  <a:gd name="T110" fmla="*/ 460 w 830"/>
                  <a:gd name="T111" fmla="*/ 759 h 806"/>
                  <a:gd name="T112" fmla="*/ 487 w 830"/>
                  <a:gd name="T113" fmla="*/ 778 h 806"/>
                  <a:gd name="T114" fmla="*/ 485 w 830"/>
                  <a:gd name="T115" fmla="*/ 803 h 806"/>
                  <a:gd name="T116" fmla="*/ 529 w 830"/>
                  <a:gd name="T117" fmla="*/ 799 h 806"/>
                  <a:gd name="T118" fmla="*/ 593 w 830"/>
                  <a:gd name="T119" fmla="*/ 783 h 806"/>
                  <a:gd name="T120" fmla="*/ 830 w 830"/>
                  <a:gd name="T121" fmla="*/ 622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30" h="806">
                    <a:moveTo>
                      <a:pt x="830" y="622"/>
                    </a:moveTo>
                    <a:lnTo>
                      <a:pt x="825" y="617"/>
                    </a:lnTo>
                    <a:lnTo>
                      <a:pt x="820" y="612"/>
                    </a:lnTo>
                    <a:lnTo>
                      <a:pt x="814" y="608"/>
                    </a:lnTo>
                    <a:lnTo>
                      <a:pt x="807" y="590"/>
                    </a:lnTo>
                    <a:lnTo>
                      <a:pt x="802" y="582"/>
                    </a:lnTo>
                    <a:lnTo>
                      <a:pt x="795" y="576"/>
                    </a:lnTo>
                    <a:lnTo>
                      <a:pt x="779" y="576"/>
                    </a:lnTo>
                    <a:lnTo>
                      <a:pt x="761" y="576"/>
                    </a:lnTo>
                    <a:lnTo>
                      <a:pt x="758" y="571"/>
                    </a:lnTo>
                    <a:lnTo>
                      <a:pt x="756" y="564"/>
                    </a:lnTo>
                    <a:lnTo>
                      <a:pt x="751" y="558"/>
                    </a:lnTo>
                    <a:lnTo>
                      <a:pt x="751" y="546"/>
                    </a:lnTo>
                    <a:lnTo>
                      <a:pt x="752" y="541"/>
                    </a:lnTo>
                    <a:lnTo>
                      <a:pt x="749" y="530"/>
                    </a:lnTo>
                    <a:lnTo>
                      <a:pt x="747" y="528"/>
                    </a:lnTo>
                    <a:lnTo>
                      <a:pt x="738" y="512"/>
                    </a:lnTo>
                    <a:lnTo>
                      <a:pt x="729" y="500"/>
                    </a:lnTo>
                    <a:lnTo>
                      <a:pt x="722" y="493"/>
                    </a:lnTo>
                    <a:lnTo>
                      <a:pt x="726" y="489"/>
                    </a:lnTo>
                    <a:lnTo>
                      <a:pt x="729" y="486"/>
                    </a:lnTo>
                    <a:lnTo>
                      <a:pt x="738" y="479"/>
                    </a:lnTo>
                    <a:lnTo>
                      <a:pt x="742" y="473"/>
                    </a:lnTo>
                    <a:lnTo>
                      <a:pt x="742" y="459"/>
                    </a:lnTo>
                    <a:lnTo>
                      <a:pt x="736" y="449"/>
                    </a:lnTo>
                    <a:lnTo>
                      <a:pt x="738" y="445"/>
                    </a:lnTo>
                    <a:lnTo>
                      <a:pt x="742" y="422"/>
                    </a:lnTo>
                    <a:lnTo>
                      <a:pt x="736" y="410"/>
                    </a:lnTo>
                    <a:lnTo>
                      <a:pt x="735" y="388"/>
                    </a:lnTo>
                    <a:lnTo>
                      <a:pt x="736" y="385"/>
                    </a:lnTo>
                    <a:lnTo>
                      <a:pt x="735" y="369"/>
                    </a:lnTo>
                    <a:lnTo>
                      <a:pt x="735" y="342"/>
                    </a:lnTo>
                    <a:lnTo>
                      <a:pt x="729" y="332"/>
                    </a:lnTo>
                    <a:lnTo>
                      <a:pt x="726" y="330"/>
                    </a:lnTo>
                    <a:lnTo>
                      <a:pt x="726" y="316"/>
                    </a:lnTo>
                    <a:lnTo>
                      <a:pt x="729" y="312"/>
                    </a:lnTo>
                    <a:lnTo>
                      <a:pt x="703" y="229"/>
                    </a:lnTo>
                    <a:lnTo>
                      <a:pt x="692" y="218"/>
                    </a:lnTo>
                    <a:lnTo>
                      <a:pt x="687" y="217"/>
                    </a:lnTo>
                    <a:lnTo>
                      <a:pt x="683" y="211"/>
                    </a:lnTo>
                    <a:lnTo>
                      <a:pt x="673" y="208"/>
                    </a:lnTo>
                    <a:lnTo>
                      <a:pt x="669" y="197"/>
                    </a:lnTo>
                    <a:lnTo>
                      <a:pt x="658" y="188"/>
                    </a:lnTo>
                    <a:lnTo>
                      <a:pt x="653" y="186"/>
                    </a:lnTo>
                    <a:lnTo>
                      <a:pt x="650" y="179"/>
                    </a:lnTo>
                    <a:lnTo>
                      <a:pt x="651" y="174"/>
                    </a:lnTo>
                    <a:lnTo>
                      <a:pt x="646" y="163"/>
                    </a:lnTo>
                    <a:lnTo>
                      <a:pt x="643" y="162"/>
                    </a:lnTo>
                    <a:lnTo>
                      <a:pt x="648" y="140"/>
                    </a:lnTo>
                    <a:lnTo>
                      <a:pt x="657" y="130"/>
                    </a:lnTo>
                    <a:lnTo>
                      <a:pt x="664" y="128"/>
                    </a:lnTo>
                    <a:lnTo>
                      <a:pt x="667" y="123"/>
                    </a:lnTo>
                    <a:lnTo>
                      <a:pt x="671" y="119"/>
                    </a:lnTo>
                    <a:lnTo>
                      <a:pt x="674" y="105"/>
                    </a:lnTo>
                    <a:lnTo>
                      <a:pt x="678" y="101"/>
                    </a:lnTo>
                    <a:lnTo>
                      <a:pt x="673" y="94"/>
                    </a:lnTo>
                    <a:lnTo>
                      <a:pt x="676" y="89"/>
                    </a:lnTo>
                    <a:lnTo>
                      <a:pt x="680" y="86"/>
                    </a:lnTo>
                    <a:lnTo>
                      <a:pt x="680" y="84"/>
                    </a:lnTo>
                    <a:lnTo>
                      <a:pt x="674" y="77"/>
                    </a:lnTo>
                    <a:lnTo>
                      <a:pt x="671" y="66"/>
                    </a:lnTo>
                    <a:lnTo>
                      <a:pt x="678" y="47"/>
                    </a:lnTo>
                    <a:lnTo>
                      <a:pt x="678" y="34"/>
                    </a:lnTo>
                    <a:lnTo>
                      <a:pt x="680" y="22"/>
                    </a:lnTo>
                    <a:lnTo>
                      <a:pt x="678" y="16"/>
                    </a:lnTo>
                    <a:lnTo>
                      <a:pt x="680" y="11"/>
                    </a:lnTo>
                    <a:lnTo>
                      <a:pt x="678" y="8"/>
                    </a:lnTo>
                    <a:lnTo>
                      <a:pt x="666" y="11"/>
                    </a:lnTo>
                    <a:lnTo>
                      <a:pt x="660" y="9"/>
                    </a:lnTo>
                    <a:lnTo>
                      <a:pt x="643" y="15"/>
                    </a:lnTo>
                    <a:lnTo>
                      <a:pt x="634" y="6"/>
                    </a:lnTo>
                    <a:lnTo>
                      <a:pt x="621" y="2"/>
                    </a:lnTo>
                    <a:lnTo>
                      <a:pt x="621" y="6"/>
                    </a:lnTo>
                    <a:lnTo>
                      <a:pt x="614" y="13"/>
                    </a:lnTo>
                    <a:lnTo>
                      <a:pt x="600" y="11"/>
                    </a:lnTo>
                    <a:lnTo>
                      <a:pt x="598" y="6"/>
                    </a:lnTo>
                    <a:lnTo>
                      <a:pt x="593" y="0"/>
                    </a:lnTo>
                    <a:lnTo>
                      <a:pt x="584" y="4"/>
                    </a:lnTo>
                    <a:lnTo>
                      <a:pt x="582" y="9"/>
                    </a:lnTo>
                    <a:lnTo>
                      <a:pt x="575" y="11"/>
                    </a:lnTo>
                    <a:lnTo>
                      <a:pt x="570" y="16"/>
                    </a:lnTo>
                    <a:lnTo>
                      <a:pt x="565" y="15"/>
                    </a:lnTo>
                    <a:lnTo>
                      <a:pt x="559" y="15"/>
                    </a:lnTo>
                    <a:lnTo>
                      <a:pt x="550" y="22"/>
                    </a:lnTo>
                    <a:lnTo>
                      <a:pt x="542" y="22"/>
                    </a:lnTo>
                    <a:lnTo>
                      <a:pt x="536" y="13"/>
                    </a:lnTo>
                    <a:lnTo>
                      <a:pt x="524" y="11"/>
                    </a:lnTo>
                    <a:lnTo>
                      <a:pt x="519" y="11"/>
                    </a:lnTo>
                    <a:lnTo>
                      <a:pt x="508" y="13"/>
                    </a:lnTo>
                    <a:lnTo>
                      <a:pt x="499" y="11"/>
                    </a:lnTo>
                    <a:lnTo>
                      <a:pt x="496" y="11"/>
                    </a:lnTo>
                    <a:lnTo>
                      <a:pt x="488" y="9"/>
                    </a:lnTo>
                    <a:lnTo>
                      <a:pt x="483" y="11"/>
                    </a:lnTo>
                    <a:lnTo>
                      <a:pt x="478" y="20"/>
                    </a:lnTo>
                    <a:lnTo>
                      <a:pt x="469" y="20"/>
                    </a:lnTo>
                    <a:lnTo>
                      <a:pt x="462" y="16"/>
                    </a:lnTo>
                    <a:lnTo>
                      <a:pt x="451" y="27"/>
                    </a:lnTo>
                    <a:lnTo>
                      <a:pt x="446" y="25"/>
                    </a:lnTo>
                    <a:lnTo>
                      <a:pt x="435" y="20"/>
                    </a:lnTo>
                    <a:lnTo>
                      <a:pt x="426" y="24"/>
                    </a:lnTo>
                    <a:lnTo>
                      <a:pt x="410" y="25"/>
                    </a:lnTo>
                    <a:lnTo>
                      <a:pt x="402" y="24"/>
                    </a:lnTo>
                    <a:lnTo>
                      <a:pt x="382" y="39"/>
                    </a:lnTo>
                    <a:lnTo>
                      <a:pt x="370" y="39"/>
                    </a:lnTo>
                    <a:lnTo>
                      <a:pt x="364" y="41"/>
                    </a:lnTo>
                    <a:lnTo>
                      <a:pt x="354" y="47"/>
                    </a:lnTo>
                    <a:lnTo>
                      <a:pt x="354" y="54"/>
                    </a:lnTo>
                    <a:lnTo>
                      <a:pt x="348" y="59"/>
                    </a:lnTo>
                    <a:lnTo>
                      <a:pt x="345" y="59"/>
                    </a:lnTo>
                    <a:lnTo>
                      <a:pt x="341" y="57"/>
                    </a:lnTo>
                    <a:lnTo>
                      <a:pt x="336" y="57"/>
                    </a:lnTo>
                    <a:lnTo>
                      <a:pt x="331" y="61"/>
                    </a:lnTo>
                    <a:lnTo>
                      <a:pt x="329" y="64"/>
                    </a:lnTo>
                    <a:lnTo>
                      <a:pt x="317" y="64"/>
                    </a:lnTo>
                    <a:lnTo>
                      <a:pt x="308" y="70"/>
                    </a:lnTo>
                    <a:lnTo>
                      <a:pt x="302" y="75"/>
                    </a:lnTo>
                    <a:lnTo>
                      <a:pt x="301" y="78"/>
                    </a:lnTo>
                    <a:lnTo>
                      <a:pt x="294" y="87"/>
                    </a:lnTo>
                    <a:lnTo>
                      <a:pt x="279" y="93"/>
                    </a:lnTo>
                    <a:lnTo>
                      <a:pt x="269" y="93"/>
                    </a:lnTo>
                    <a:lnTo>
                      <a:pt x="272" y="96"/>
                    </a:lnTo>
                    <a:lnTo>
                      <a:pt x="274" y="101"/>
                    </a:lnTo>
                    <a:lnTo>
                      <a:pt x="279" y="107"/>
                    </a:lnTo>
                    <a:lnTo>
                      <a:pt x="279" y="116"/>
                    </a:lnTo>
                    <a:lnTo>
                      <a:pt x="281" y="117"/>
                    </a:lnTo>
                    <a:lnTo>
                      <a:pt x="281" y="132"/>
                    </a:lnTo>
                    <a:lnTo>
                      <a:pt x="281" y="148"/>
                    </a:lnTo>
                    <a:lnTo>
                      <a:pt x="283" y="155"/>
                    </a:lnTo>
                    <a:lnTo>
                      <a:pt x="286" y="185"/>
                    </a:lnTo>
                    <a:lnTo>
                      <a:pt x="292" y="197"/>
                    </a:lnTo>
                    <a:lnTo>
                      <a:pt x="295" y="204"/>
                    </a:lnTo>
                    <a:lnTo>
                      <a:pt x="301" y="206"/>
                    </a:lnTo>
                    <a:lnTo>
                      <a:pt x="306" y="211"/>
                    </a:lnTo>
                    <a:lnTo>
                      <a:pt x="310" y="211"/>
                    </a:lnTo>
                    <a:lnTo>
                      <a:pt x="313" y="213"/>
                    </a:lnTo>
                    <a:lnTo>
                      <a:pt x="310" y="225"/>
                    </a:lnTo>
                    <a:lnTo>
                      <a:pt x="310" y="227"/>
                    </a:lnTo>
                    <a:lnTo>
                      <a:pt x="304" y="236"/>
                    </a:lnTo>
                    <a:lnTo>
                      <a:pt x="255" y="236"/>
                    </a:lnTo>
                    <a:lnTo>
                      <a:pt x="246" y="238"/>
                    </a:lnTo>
                    <a:lnTo>
                      <a:pt x="235" y="254"/>
                    </a:lnTo>
                    <a:lnTo>
                      <a:pt x="226" y="261"/>
                    </a:lnTo>
                    <a:lnTo>
                      <a:pt x="223" y="270"/>
                    </a:lnTo>
                    <a:lnTo>
                      <a:pt x="223" y="284"/>
                    </a:lnTo>
                    <a:lnTo>
                      <a:pt x="219" y="291"/>
                    </a:lnTo>
                    <a:lnTo>
                      <a:pt x="191" y="312"/>
                    </a:lnTo>
                    <a:lnTo>
                      <a:pt x="147" y="337"/>
                    </a:lnTo>
                    <a:lnTo>
                      <a:pt x="113" y="357"/>
                    </a:lnTo>
                    <a:lnTo>
                      <a:pt x="97" y="360"/>
                    </a:lnTo>
                    <a:lnTo>
                      <a:pt x="81" y="360"/>
                    </a:lnTo>
                    <a:lnTo>
                      <a:pt x="74" y="364"/>
                    </a:lnTo>
                    <a:lnTo>
                      <a:pt x="62" y="364"/>
                    </a:lnTo>
                    <a:lnTo>
                      <a:pt x="38" y="367"/>
                    </a:lnTo>
                    <a:lnTo>
                      <a:pt x="28" y="376"/>
                    </a:lnTo>
                    <a:lnTo>
                      <a:pt x="19" y="387"/>
                    </a:lnTo>
                    <a:lnTo>
                      <a:pt x="0" y="399"/>
                    </a:lnTo>
                    <a:lnTo>
                      <a:pt x="0" y="434"/>
                    </a:lnTo>
                    <a:lnTo>
                      <a:pt x="0" y="434"/>
                    </a:lnTo>
                    <a:lnTo>
                      <a:pt x="0" y="447"/>
                    </a:lnTo>
                    <a:lnTo>
                      <a:pt x="0" y="447"/>
                    </a:lnTo>
                    <a:lnTo>
                      <a:pt x="0" y="447"/>
                    </a:lnTo>
                    <a:lnTo>
                      <a:pt x="150" y="548"/>
                    </a:lnTo>
                    <a:lnTo>
                      <a:pt x="150" y="548"/>
                    </a:lnTo>
                    <a:lnTo>
                      <a:pt x="421" y="727"/>
                    </a:lnTo>
                    <a:lnTo>
                      <a:pt x="425" y="748"/>
                    </a:lnTo>
                    <a:lnTo>
                      <a:pt x="434" y="755"/>
                    </a:lnTo>
                    <a:lnTo>
                      <a:pt x="449" y="755"/>
                    </a:lnTo>
                    <a:lnTo>
                      <a:pt x="460" y="759"/>
                    </a:lnTo>
                    <a:lnTo>
                      <a:pt x="469" y="767"/>
                    </a:lnTo>
                    <a:lnTo>
                      <a:pt x="478" y="771"/>
                    </a:lnTo>
                    <a:lnTo>
                      <a:pt x="487" y="778"/>
                    </a:lnTo>
                    <a:lnTo>
                      <a:pt x="487" y="783"/>
                    </a:lnTo>
                    <a:lnTo>
                      <a:pt x="481" y="796"/>
                    </a:lnTo>
                    <a:lnTo>
                      <a:pt x="485" y="803"/>
                    </a:lnTo>
                    <a:lnTo>
                      <a:pt x="494" y="806"/>
                    </a:lnTo>
                    <a:lnTo>
                      <a:pt x="513" y="805"/>
                    </a:lnTo>
                    <a:lnTo>
                      <a:pt x="529" y="799"/>
                    </a:lnTo>
                    <a:lnTo>
                      <a:pt x="529" y="799"/>
                    </a:lnTo>
                    <a:lnTo>
                      <a:pt x="529" y="799"/>
                    </a:lnTo>
                    <a:lnTo>
                      <a:pt x="593" y="783"/>
                    </a:lnTo>
                    <a:lnTo>
                      <a:pt x="644" y="737"/>
                    </a:lnTo>
                    <a:lnTo>
                      <a:pt x="830" y="622"/>
                    </a:lnTo>
                    <a:lnTo>
                      <a:pt x="830" y="62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9" name="Freeform 17">
                <a:extLst>
                  <a:ext uri="{FF2B5EF4-FFF2-40B4-BE49-F238E27FC236}">
                    <a16:creationId xmlns:a16="http://schemas.microsoft.com/office/drawing/2014/main" id="{A783F69D-BBC3-B4A2-10EB-F1D661398A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2901" y="1482726"/>
                <a:ext cx="762000" cy="601663"/>
              </a:xfrm>
              <a:custGeom>
                <a:avLst/>
                <a:gdLst>
                  <a:gd name="T0" fmla="*/ 167 w 480"/>
                  <a:gd name="T1" fmla="*/ 344 h 379"/>
                  <a:gd name="T2" fmla="*/ 195 w 480"/>
                  <a:gd name="T3" fmla="*/ 321 h 379"/>
                  <a:gd name="T4" fmla="*/ 229 w 480"/>
                  <a:gd name="T5" fmla="*/ 309 h 379"/>
                  <a:gd name="T6" fmla="*/ 248 w 480"/>
                  <a:gd name="T7" fmla="*/ 305 h 379"/>
                  <a:gd name="T8" fmla="*/ 280 w 480"/>
                  <a:gd name="T9" fmla="*/ 302 h 379"/>
                  <a:gd name="T10" fmla="*/ 358 w 480"/>
                  <a:gd name="T11" fmla="*/ 257 h 379"/>
                  <a:gd name="T12" fmla="*/ 390 w 480"/>
                  <a:gd name="T13" fmla="*/ 229 h 379"/>
                  <a:gd name="T14" fmla="*/ 393 w 480"/>
                  <a:gd name="T15" fmla="*/ 206 h 379"/>
                  <a:gd name="T16" fmla="*/ 413 w 480"/>
                  <a:gd name="T17" fmla="*/ 183 h 379"/>
                  <a:gd name="T18" fmla="*/ 471 w 480"/>
                  <a:gd name="T19" fmla="*/ 181 h 379"/>
                  <a:gd name="T20" fmla="*/ 477 w 480"/>
                  <a:gd name="T21" fmla="*/ 170 h 379"/>
                  <a:gd name="T22" fmla="*/ 477 w 480"/>
                  <a:gd name="T23" fmla="*/ 156 h 379"/>
                  <a:gd name="T24" fmla="*/ 468 w 480"/>
                  <a:gd name="T25" fmla="*/ 151 h 379"/>
                  <a:gd name="T26" fmla="*/ 459 w 480"/>
                  <a:gd name="T27" fmla="*/ 142 h 379"/>
                  <a:gd name="T28" fmla="*/ 450 w 480"/>
                  <a:gd name="T29" fmla="*/ 100 h 379"/>
                  <a:gd name="T30" fmla="*/ 448 w 480"/>
                  <a:gd name="T31" fmla="*/ 77 h 379"/>
                  <a:gd name="T32" fmla="*/ 446 w 480"/>
                  <a:gd name="T33" fmla="*/ 61 h 379"/>
                  <a:gd name="T34" fmla="*/ 441 w 480"/>
                  <a:gd name="T35" fmla="*/ 46 h 379"/>
                  <a:gd name="T36" fmla="*/ 436 w 480"/>
                  <a:gd name="T37" fmla="*/ 38 h 379"/>
                  <a:gd name="T38" fmla="*/ 407 w 480"/>
                  <a:gd name="T39" fmla="*/ 36 h 379"/>
                  <a:gd name="T40" fmla="*/ 399 w 480"/>
                  <a:gd name="T41" fmla="*/ 22 h 379"/>
                  <a:gd name="T42" fmla="*/ 397 w 480"/>
                  <a:gd name="T43" fmla="*/ 22 h 379"/>
                  <a:gd name="T44" fmla="*/ 376 w 480"/>
                  <a:gd name="T45" fmla="*/ 32 h 379"/>
                  <a:gd name="T46" fmla="*/ 356 w 480"/>
                  <a:gd name="T47" fmla="*/ 29 h 379"/>
                  <a:gd name="T48" fmla="*/ 335 w 480"/>
                  <a:gd name="T49" fmla="*/ 34 h 379"/>
                  <a:gd name="T50" fmla="*/ 314 w 480"/>
                  <a:gd name="T51" fmla="*/ 20 h 379"/>
                  <a:gd name="T52" fmla="*/ 308 w 480"/>
                  <a:gd name="T53" fmla="*/ 11 h 379"/>
                  <a:gd name="T54" fmla="*/ 308 w 480"/>
                  <a:gd name="T55" fmla="*/ 4 h 379"/>
                  <a:gd name="T56" fmla="*/ 298 w 480"/>
                  <a:gd name="T57" fmla="*/ 4 h 379"/>
                  <a:gd name="T58" fmla="*/ 289 w 480"/>
                  <a:gd name="T59" fmla="*/ 6 h 379"/>
                  <a:gd name="T60" fmla="*/ 278 w 480"/>
                  <a:gd name="T61" fmla="*/ 38 h 379"/>
                  <a:gd name="T62" fmla="*/ 267 w 480"/>
                  <a:gd name="T63" fmla="*/ 66 h 379"/>
                  <a:gd name="T64" fmla="*/ 244 w 480"/>
                  <a:gd name="T65" fmla="*/ 94 h 379"/>
                  <a:gd name="T66" fmla="*/ 230 w 480"/>
                  <a:gd name="T67" fmla="*/ 101 h 379"/>
                  <a:gd name="T68" fmla="*/ 204 w 480"/>
                  <a:gd name="T69" fmla="*/ 117 h 379"/>
                  <a:gd name="T70" fmla="*/ 182 w 480"/>
                  <a:gd name="T71" fmla="*/ 130 h 379"/>
                  <a:gd name="T72" fmla="*/ 167 w 480"/>
                  <a:gd name="T73" fmla="*/ 140 h 379"/>
                  <a:gd name="T74" fmla="*/ 154 w 480"/>
                  <a:gd name="T75" fmla="*/ 169 h 379"/>
                  <a:gd name="T76" fmla="*/ 136 w 480"/>
                  <a:gd name="T77" fmla="*/ 193 h 379"/>
                  <a:gd name="T78" fmla="*/ 126 w 480"/>
                  <a:gd name="T79" fmla="*/ 225 h 379"/>
                  <a:gd name="T80" fmla="*/ 128 w 480"/>
                  <a:gd name="T81" fmla="*/ 254 h 379"/>
                  <a:gd name="T82" fmla="*/ 135 w 480"/>
                  <a:gd name="T83" fmla="*/ 264 h 379"/>
                  <a:gd name="T84" fmla="*/ 106 w 480"/>
                  <a:gd name="T85" fmla="*/ 305 h 379"/>
                  <a:gd name="T86" fmla="*/ 92 w 480"/>
                  <a:gd name="T87" fmla="*/ 330 h 379"/>
                  <a:gd name="T88" fmla="*/ 50 w 480"/>
                  <a:gd name="T89" fmla="*/ 356 h 379"/>
                  <a:gd name="T90" fmla="*/ 0 w 480"/>
                  <a:gd name="T91" fmla="*/ 378 h 379"/>
                  <a:gd name="T92" fmla="*/ 167 w 480"/>
                  <a:gd name="T93" fmla="*/ 379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80" h="379">
                    <a:moveTo>
                      <a:pt x="167" y="379"/>
                    </a:moveTo>
                    <a:lnTo>
                      <a:pt x="167" y="344"/>
                    </a:lnTo>
                    <a:lnTo>
                      <a:pt x="186" y="332"/>
                    </a:lnTo>
                    <a:lnTo>
                      <a:pt x="195" y="321"/>
                    </a:lnTo>
                    <a:lnTo>
                      <a:pt x="205" y="312"/>
                    </a:lnTo>
                    <a:lnTo>
                      <a:pt x="229" y="309"/>
                    </a:lnTo>
                    <a:lnTo>
                      <a:pt x="241" y="309"/>
                    </a:lnTo>
                    <a:lnTo>
                      <a:pt x="248" y="305"/>
                    </a:lnTo>
                    <a:lnTo>
                      <a:pt x="264" y="305"/>
                    </a:lnTo>
                    <a:lnTo>
                      <a:pt x="280" y="302"/>
                    </a:lnTo>
                    <a:lnTo>
                      <a:pt x="314" y="282"/>
                    </a:lnTo>
                    <a:lnTo>
                      <a:pt x="358" y="257"/>
                    </a:lnTo>
                    <a:lnTo>
                      <a:pt x="386" y="236"/>
                    </a:lnTo>
                    <a:lnTo>
                      <a:pt x="390" y="229"/>
                    </a:lnTo>
                    <a:lnTo>
                      <a:pt x="390" y="215"/>
                    </a:lnTo>
                    <a:lnTo>
                      <a:pt x="393" y="206"/>
                    </a:lnTo>
                    <a:lnTo>
                      <a:pt x="402" y="199"/>
                    </a:lnTo>
                    <a:lnTo>
                      <a:pt x="413" y="183"/>
                    </a:lnTo>
                    <a:lnTo>
                      <a:pt x="422" y="181"/>
                    </a:lnTo>
                    <a:lnTo>
                      <a:pt x="471" y="181"/>
                    </a:lnTo>
                    <a:lnTo>
                      <a:pt x="477" y="172"/>
                    </a:lnTo>
                    <a:lnTo>
                      <a:pt x="477" y="170"/>
                    </a:lnTo>
                    <a:lnTo>
                      <a:pt x="480" y="158"/>
                    </a:lnTo>
                    <a:lnTo>
                      <a:pt x="477" y="156"/>
                    </a:lnTo>
                    <a:lnTo>
                      <a:pt x="473" y="156"/>
                    </a:lnTo>
                    <a:lnTo>
                      <a:pt x="468" y="151"/>
                    </a:lnTo>
                    <a:lnTo>
                      <a:pt x="462" y="149"/>
                    </a:lnTo>
                    <a:lnTo>
                      <a:pt x="459" y="142"/>
                    </a:lnTo>
                    <a:lnTo>
                      <a:pt x="453" y="130"/>
                    </a:lnTo>
                    <a:lnTo>
                      <a:pt x="450" y="100"/>
                    </a:lnTo>
                    <a:lnTo>
                      <a:pt x="448" y="93"/>
                    </a:lnTo>
                    <a:lnTo>
                      <a:pt x="448" y="77"/>
                    </a:lnTo>
                    <a:lnTo>
                      <a:pt x="448" y="62"/>
                    </a:lnTo>
                    <a:lnTo>
                      <a:pt x="446" y="61"/>
                    </a:lnTo>
                    <a:lnTo>
                      <a:pt x="446" y="52"/>
                    </a:lnTo>
                    <a:lnTo>
                      <a:pt x="441" y="46"/>
                    </a:lnTo>
                    <a:lnTo>
                      <a:pt x="439" y="41"/>
                    </a:lnTo>
                    <a:lnTo>
                      <a:pt x="436" y="38"/>
                    </a:lnTo>
                    <a:lnTo>
                      <a:pt x="430" y="38"/>
                    </a:lnTo>
                    <a:lnTo>
                      <a:pt x="407" y="36"/>
                    </a:lnTo>
                    <a:lnTo>
                      <a:pt x="402" y="31"/>
                    </a:lnTo>
                    <a:lnTo>
                      <a:pt x="399" y="22"/>
                    </a:lnTo>
                    <a:lnTo>
                      <a:pt x="397" y="22"/>
                    </a:lnTo>
                    <a:lnTo>
                      <a:pt x="397" y="22"/>
                    </a:lnTo>
                    <a:lnTo>
                      <a:pt x="388" y="29"/>
                    </a:lnTo>
                    <a:lnTo>
                      <a:pt x="376" y="32"/>
                    </a:lnTo>
                    <a:lnTo>
                      <a:pt x="363" y="29"/>
                    </a:lnTo>
                    <a:lnTo>
                      <a:pt x="356" y="29"/>
                    </a:lnTo>
                    <a:lnTo>
                      <a:pt x="347" y="32"/>
                    </a:lnTo>
                    <a:lnTo>
                      <a:pt x="335" y="34"/>
                    </a:lnTo>
                    <a:lnTo>
                      <a:pt x="326" y="32"/>
                    </a:lnTo>
                    <a:lnTo>
                      <a:pt x="314" y="20"/>
                    </a:lnTo>
                    <a:lnTo>
                      <a:pt x="310" y="16"/>
                    </a:lnTo>
                    <a:lnTo>
                      <a:pt x="308" y="11"/>
                    </a:lnTo>
                    <a:lnTo>
                      <a:pt x="308" y="6"/>
                    </a:lnTo>
                    <a:lnTo>
                      <a:pt x="308" y="4"/>
                    </a:lnTo>
                    <a:lnTo>
                      <a:pt x="306" y="0"/>
                    </a:lnTo>
                    <a:lnTo>
                      <a:pt x="298" y="4"/>
                    </a:lnTo>
                    <a:lnTo>
                      <a:pt x="296" y="6"/>
                    </a:lnTo>
                    <a:lnTo>
                      <a:pt x="289" y="6"/>
                    </a:lnTo>
                    <a:lnTo>
                      <a:pt x="280" y="15"/>
                    </a:lnTo>
                    <a:lnTo>
                      <a:pt x="278" y="38"/>
                    </a:lnTo>
                    <a:lnTo>
                      <a:pt x="269" y="48"/>
                    </a:lnTo>
                    <a:lnTo>
                      <a:pt x="267" y="66"/>
                    </a:lnTo>
                    <a:lnTo>
                      <a:pt x="262" y="77"/>
                    </a:lnTo>
                    <a:lnTo>
                      <a:pt x="244" y="94"/>
                    </a:lnTo>
                    <a:lnTo>
                      <a:pt x="239" y="94"/>
                    </a:lnTo>
                    <a:lnTo>
                      <a:pt x="230" y="101"/>
                    </a:lnTo>
                    <a:lnTo>
                      <a:pt x="214" y="105"/>
                    </a:lnTo>
                    <a:lnTo>
                      <a:pt x="204" y="117"/>
                    </a:lnTo>
                    <a:lnTo>
                      <a:pt x="198" y="117"/>
                    </a:lnTo>
                    <a:lnTo>
                      <a:pt x="182" y="130"/>
                    </a:lnTo>
                    <a:lnTo>
                      <a:pt x="174" y="131"/>
                    </a:lnTo>
                    <a:lnTo>
                      <a:pt x="167" y="140"/>
                    </a:lnTo>
                    <a:lnTo>
                      <a:pt x="149" y="155"/>
                    </a:lnTo>
                    <a:lnTo>
                      <a:pt x="154" y="169"/>
                    </a:lnTo>
                    <a:lnTo>
                      <a:pt x="154" y="179"/>
                    </a:lnTo>
                    <a:lnTo>
                      <a:pt x="136" y="193"/>
                    </a:lnTo>
                    <a:lnTo>
                      <a:pt x="126" y="217"/>
                    </a:lnTo>
                    <a:lnTo>
                      <a:pt x="126" y="225"/>
                    </a:lnTo>
                    <a:lnTo>
                      <a:pt x="133" y="240"/>
                    </a:lnTo>
                    <a:lnTo>
                      <a:pt x="128" y="254"/>
                    </a:lnTo>
                    <a:lnTo>
                      <a:pt x="131" y="257"/>
                    </a:lnTo>
                    <a:lnTo>
                      <a:pt x="135" y="264"/>
                    </a:lnTo>
                    <a:lnTo>
                      <a:pt x="133" y="275"/>
                    </a:lnTo>
                    <a:lnTo>
                      <a:pt x="106" y="305"/>
                    </a:lnTo>
                    <a:lnTo>
                      <a:pt x="105" y="316"/>
                    </a:lnTo>
                    <a:lnTo>
                      <a:pt x="92" y="330"/>
                    </a:lnTo>
                    <a:lnTo>
                      <a:pt x="78" y="330"/>
                    </a:lnTo>
                    <a:lnTo>
                      <a:pt x="50" y="356"/>
                    </a:lnTo>
                    <a:lnTo>
                      <a:pt x="9" y="364"/>
                    </a:lnTo>
                    <a:lnTo>
                      <a:pt x="0" y="378"/>
                    </a:lnTo>
                    <a:lnTo>
                      <a:pt x="167" y="379"/>
                    </a:lnTo>
                    <a:lnTo>
                      <a:pt x="167" y="379"/>
                    </a:lnTo>
                    <a:lnTo>
                      <a:pt x="167" y="37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0" name="Freeform 18">
                <a:extLst>
                  <a:ext uri="{FF2B5EF4-FFF2-40B4-BE49-F238E27FC236}">
                    <a16:creationId xmlns:a16="http://schemas.microsoft.com/office/drawing/2014/main" id="{9C5FC63F-3A85-4AD5-65CD-9F8AA2286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9851" y="2082801"/>
                <a:ext cx="538163" cy="438150"/>
              </a:xfrm>
              <a:custGeom>
                <a:avLst/>
                <a:gdLst>
                  <a:gd name="T0" fmla="*/ 339 w 339"/>
                  <a:gd name="T1" fmla="*/ 14 h 276"/>
                  <a:gd name="T2" fmla="*/ 339 w 339"/>
                  <a:gd name="T3" fmla="*/ 1 h 276"/>
                  <a:gd name="T4" fmla="*/ 172 w 339"/>
                  <a:gd name="T5" fmla="*/ 0 h 276"/>
                  <a:gd name="T6" fmla="*/ 156 w 339"/>
                  <a:gd name="T7" fmla="*/ 23 h 276"/>
                  <a:gd name="T8" fmla="*/ 156 w 339"/>
                  <a:gd name="T9" fmla="*/ 39 h 276"/>
                  <a:gd name="T10" fmla="*/ 147 w 339"/>
                  <a:gd name="T11" fmla="*/ 39 h 276"/>
                  <a:gd name="T12" fmla="*/ 119 w 339"/>
                  <a:gd name="T13" fmla="*/ 55 h 276"/>
                  <a:gd name="T14" fmla="*/ 117 w 339"/>
                  <a:gd name="T15" fmla="*/ 62 h 276"/>
                  <a:gd name="T16" fmla="*/ 105 w 339"/>
                  <a:gd name="T17" fmla="*/ 69 h 276"/>
                  <a:gd name="T18" fmla="*/ 108 w 339"/>
                  <a:gd name="T19" fmla="*/ 79 h 276"/>
                  <a:gd name="T20" fmla="*/ 83 w 339"/>
                  <a:gd name="T21" fmla="*/ 117 h 276"/>
                  <a:gd name="T22" fmla="*/ 82 w 339"/>
                  <a:gd name="T23" fmla="*/ 129 h 276"/>
                  <a:gd name="T24" fmla="*/ 62 w 339"/>
                  <a:gd name="T25" fmla="*/ 147 h 276"/>
                  <a:gd name="T26" fmla="*/ 57 w 339"/>
                  <a:gd name="T27" fmla="*/ 150 h 276"/>
                  <a:gd name="T28" fmla="*/ 46 w 339"/>
                  <a:gd name="T29" fmla="*/ 172 h 276"/>
                  <a:gd name="T30" fmla="*/ 46 w 339"/>
                  <a:gd name="T31" fmla="*/ 179 h 276"/>
                  <a:gd name="T32" fmla="*/ 30 w 339"/>
                  <a:gd name="T33" fmla="*/ 200 h 276"/>
                  <a:gd name="T34" fmla="*/ 30 w 339"/>
                  <a:gd name="T35" fmla="*/ 203 h 276"/>
                  <a:gd name="T36" fmla="*/ 36 w 339"/>
                  <a:gd name="T37" fmla="*/ 209 h 276"/>
                  <a:gd name="T38" fmla="*/ 27 w 339"/>
                  <a:gd name="T39" fmla="*/ 211 h 276"/>
                  <a:gd name="T40" fmla="*/ 14 w 339"/>
                  <a:gd name="T41" fmla="*/ 235 h 276"/>
                  <a:gd name="T42" fmla="*/ 9 w 339"/>
                  <a:gd name="T43" fmla="*/ 235 h 276"/>
                  <a:gd name="T44" fmla="*/ 4 w 339"/>
                  <a:gd name="T45" fmla="*/ 242 h 276"/>
                  <a:gd name="T46" fmla="*/ 4 w 339"/>
                  <a:gd name="T47" fmla="*/ 253 h 276"/>
                  <a:gd name="T48" fmla="*/ 0 w 339"/>
                  <a:gd name="T49" fmla="*/ 262 h 276"/>
                  <a:gd name="T50" fmla="*/ 0 w 339"/>
                  <a:gd name="T51" fmla="*/ 276 h 276"/>
                  <a:gd name="T52" fmla="*/ 167 w 339"/>
                  <a:gd name="T53" fmla="*/ 274 h 276"/>
                  <a:gd name="T54" fmla="*/ 165 w 339"/>
                  <a:gd name="T55" fmla="*/ 198 h 276"/>
                  <a:gd name="T56" fmla="*/ 170 w 339"/>
                  <a:gd name="T57" fmla="*/ 187 h 276"/>
                  <a:gd name="T58" fmla="*/ 179 w 339"/>
                  <a:gd name="T59" fmla="*/ 180 h 276"/>
                  <a:gd name="T60" fmla="*/ 190 w 339"/>
                  <a:gd name="T61" fmla="*/ 179 h 276"/>
                  <a:gd name="T62" fmla="*/ 204 w 339"/>
                  <a:gd name="T63" fmla="*/ 179 h 276"/>
                  <a:gd name="T64" fmla="*/ 206 w 339"/>
                  <a:gd name="T65" fmla="*/ 71 h 276"/>
                  <a:gd name="T66" fmla="*/ 337 w 339"/>
                  <a:gd name="T67" fmla="*/ 72 h 276"/>
                  <a:gd name="T68" fmla="*/ 339 w 339"/>
                  <a:gd name="T69" fmla="*/ 14 h 276"/>
                  <a:gd name="T70" fmla="*/ 339 w 339"/>
                  <a:gd name="T71" fmla="*/ 1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39" h="276">
                    <a:moveTo>
                      <a:pt x="339" y="14"/>
                    </a:moveTo>
                    <a:lnTo>
                      <a:pt x="339" y="1"/>
                    </a:lnTo>
                    <a:lnTo>
                      <a:pt x="172" y="0"/>
                    </a:lnTo>
                    <a:lnTo>
                      <a:pt x="156" y="23"/>
                    </a:lnTo>
                    <a:lnTo>
                      <a:pt x="156" y="39"/>
                    </a:lnTo>
                    <a:lnTo>
                      <a:pt x="147" y="39"/>
                    </a:lnTo>
                    <a:lnTo>
                      <a:pt x="119" y="55"/>
                    </a:lnTo>
                    <a:lnTo>
                      <a:pt x="117" y="62"/>
                    </a:lnTo>
                    <a:lnTo>
                      <a:pt x="105" y="69"/>
                    </a:lnTo>
                    <a:lnTo>
                      <a:pt x="108" y="79"/>
                    </a:lnTo>
                    <a:lnTo>
                      <a:pt x="83" y="117"/>
                    </a:lnTo>
                    <a:lnTo>
                      <a:pt x="82" y="129"/>
                    </a:lnTo>
                    <a:lnTo>
                      <a:pt x="62" y="147"/>
                    </a:lnTo>
                    <a:lnTo>
                      <a:pt x="57" y="150"/>
                    </a:lnTo>
                    <a:lnTo>
                      <a:pt x="46" y="172"/>
                    </a:lnTo>
                    <a:lnTo>
                      <a:pt x="46" y="179"/>
                    </a:lnTo>
                    <a:lnTo>
                      <a:pt x="30" y="200"/>
                    </a:lnTo>
                    <a:lnTo>
                      <a:pt x="30" y="203"/>
                    </a:lnTo>
                    <a:lnTo>
                      <a:pt x="36" y="209"/>
                    </a:lnTo>
                    <a:lnTo>
                      <a:pt x="27" y="211"/>
                    </a:lnTo>
                    <a:lnTo>
                      <a:pt x="14" y="235"/>
                    </a:lnTo>
                    <a:lnTo>
                      <a:pt x="9" y="235"/>
                    </a:lnTo>
                    <a:lnTo>
                      <a:pt x="4" y="242"/>
                    </a:lnTo>
                    <a:lnTo>
                      <a:pt x="4" y="253"/>
                    </a:lnTo>
                    <a:lnTo>
                      <a:pt x="0" y="262"/>
                    </a:lnTo>
                    <a:lnTo>
                      <a:pt x="0" y="276"/>
                    </a:lnTo>
                    <a:lnTo>
                      <a:pt x="167" y="274"/>
                    </a:lnTo>
                    <a:lnTo>
                      <a:pt x="165" y="198"/>
                    </a:lnTo>
                    <a:lnTo>
                      <a:pt x="170" y="187"/>
                    </a:lnTo>
                    <a:lnTo>
                      <a:pt x="179" y="180"/>
                    </a:lnTo>
                    <a:lnTo>
                      <a:pt x="190" y="179"/>
                    </a:lnTo>
                    <a:lnTo>
                      <a:pt x="204" y="179"/>
                    </a:lnTo>
                    <a:lnTo>
                      <a:pt x="206" y="71"/>
                    </a:lnTo>
                    <a:lnTo>
                      <a:pt x="337" y="72"/>
                    </a:lnTo>
                    <a:lnTo>
                      <a:pt x="339" y="14"/>
                    </a:lnTo>
                    <a:lnTo>
                      <a:pt x="339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1" name="Freeform 19">
                <a:extLst>
                  <a:ext uri="{FF2B5EF4-FFF2-40B4-BE49-F238E27FC236}">
                    <a16:creationId xmlns:a16="http://schemas.microsoft.com/office/drawing/2014/main" id="{A947C97C-A306-DE2B-BB85-32F599E9C7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5088" y="2105026"/>
                <a:ext cx="781050" cy="854075"/>
              </a:xfrm>
              <a:custGeom>
                <a:avLst/>
                <a:gdLst>
                  <a:gd name="T0" fmla="*/ 170 w 492"/>
                  <a:gd name="T1" fmla="*/ 260 h 538"/>
                  <a:gd name="T2" fmla="*/ 173 w 492"/>
                  <a:gd name="T3" fmla="*/ 173 h 538"/>
                  <a:gd name="T4" fmla="*/ 193 w 492"/>
                  <a:gd name="T5" fmla="*/ 165 h 538"/>
                  <a:gd name="T6" fmla="*/ 209 w 492"/>
                  <a:gd name="T7" fmla="*/ 57 h 538"/>
                  <a:gd name="T8" fmla="*/ 342 w 492"/>
                  <a:gd name="T9" fmla="*/ 0 h 538"/>
                  <a:gd name="T10" fmla="*/ 492 w 492"/>
                  <a:gd name="T11" fmla="*/ 101 h 538"/>
                  <a:gd name="T12" fmla="*/ 441 w 492"/>
                  <a:gd name="T13" fmla="*/ 101 h 538"/>
                  <a:gd name="T14" fmla="*/ 485 w 492"/>
                  <a:gd name="T15" fmla="*/ 475 h 538"/>
                  <a:gd name="T16" fmla="*/ 324 w 492"/>
                  <a:gd name="T17" fmla="*/ 512 h 538"/>
                  <a:gd name="T18" fmla="*/ 315 w 492"/>
                  <a:gd name="T19" fmla="*/ 505 h 538"/>
                  <a:gd name="T20" fmla="*/ 303 w 492"/>
                  <a:gd name="T21" fmla="*/ 512 h 538"/>
                  <a:gd name="T22" fmla="*/ 297 w 492"/>
                  <a:gd name="T23" fmla="*/ 496 h 538"/>
                  <a:gd name="T24" fmla="*/ 267 w 492"/>
                  <a:gd name="T25" fmla="*/ 501 h 538"/>
                  <a:gd name="T26" fmla="*/ 253 w 492"/>
                  <a:gd name="T27" fmla="*/ 517 h 538"/>
                  <a:gd name="T28" fmla="*/ 244 w 492"/>
                  <a:gd name="T29" fmla="*/ 494 h 538"/>
                  <a:gd name="T30" fmla="*/ 221 w 492"/>
                  <a:gd name="T31" fmla="*/ 498 h 538"/>
                  <a:gd name="T32" fmla="*/ 223 w 492"/>
                  <a:gd name="T33" fmla="*/ 519 h 538"/>
                  <a:gd name="T34" fmla="*/ 205 w 492"/>
                  <a:gd name="T35" fmla="*/ 531 h 538"/>
                  <a:gd name="T36" fmla="*/ 194 w 492"/>
                  <a:gd name="T37" fmla="*/ 538 h 538"/>
                  <a:gd name="T38" fmla="*/ 182 w 492"/>
                  <a:gd name="T39" fmla="*/ 526 h 538"/>
                  <a:gd name="T40" fmla="*/ 173 w 492"/>
                  <a:gd name="T41" fmla="*/ 514 h 538"/>
                  <a:gd name="T42" fmla="*/ 163 w 492"/>
                  <a:gd name="T43" fmla="*/ 503 h 538"/>
                  <a:gd name="T44" fmla="*/ 154 w 492"/>
                  <a:gd name="T45" fmla="*/ 485 h 538"/>
                  <a:gd name="T46" fmla="*/ 143 w 492"/>
                  <a:gd name="T47" fmla="*/ 483 h 538"/>
                  <a:gd name="T48" fmla="*/ 132 w 492"/>
                  <a:gd name="T49" fmla="*/ 483 h 538"/>
                  <a:gd name="T50" fmla="*/ 127 w 492"/>
                  <a:gd name="T51" fmla="*/ 476 h 538"/>
                  <a:gd name="T52" fmla="*/ 108 w 492"/>
                  <a:gd name="T53" fmla="*/ 464 h 538"/>
                  <a:gd name="T54" fmla="*/ 81 w 492"/>
                  <a:gd name="T55" fmla="*/ 457 h 538"/>
                  <a:gd name="T56" fmla="*/ 37 w 492"/>
                  <a:gd name="T57" fmla="*/ 469 h 538"/>
                  <a:gd name="T58" fmla="*/ 23 w 492"/>
                  <a:gd name="T59" fmla="*/ 476 h 538"/>
                  <a:gd name="T60" fmla="*/ 19 w 492"/>
                  <a:gd name="T61" fmla="*/ 466 h 538"/>
                  <a:gd name="T62" fmla="*/ 35 w 492"/>
                  <a:gd name="T63" fmla="*/ 425 h 538"/>
                  <a:gd name="T64" fmla="*/ 30 w 492"/>
                  <a:gd name="T65" fmla="*/ 352 h 538"/>
                  <a:gd name="T66" fmla="*/ 23 w 492"/>
                  <a:gd name="T67" fmla="*/ 331 h 538"/>
                  <a:gd name="T68" fmla="*/ 31 w 492"/>
                  <a:gd name="T69" fmla="*/ 317 h 538"/>
                  <a:gd name="T70" fmla="*/ 33 w 492"/>
                  <a:gd name="T71" fmla="*/ 303 h 538"/>
                  <a:gd name="T72" fmla="*/ 16 w 492"/>
                  <a:gd name="T73" fmla="*/ 289 h 538"/>
                  <a:gd name="T74" fmla="*/ 8 w 492"/>
                  <a:gd name="T75" fmla="*/ 278 h 538"/>
                  <a:gd name="T76" fmla="*/ 0 w 492"/>
                  <a:gd name="T77" fmla="*/ 273 h 538"/>
                  <a:gd name="T78" fmla="*/ 3 w 492"/>
                  <a:gd name="T79" fmla="*/ 262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92" h="538">
                    <a:moveTo>
                      <a:pt x="3" y="262"/>
                    </a:moveTo>
                    <a:lnTo>
                      <a:pt x="170" y="260"/>
                    </a:lnTo>
                    <a:lnTo>
                      <a:pt x="168" y="184"/>
                    </a:lnTo>
                    <a:lnTo>
                      <a:pt x="173" y="173"/>
                    </a:lnTo>
                    <a:lnTo>
                      <a:pt x="182" y="166"/>
                    </a:lnTo>
                    <a:lnTo>
                      <a:pt x="193" y="165"/>
                    </a:lnTo>
                    <a:lnTo>
                      <a:pt x="207" y="165"/>
                    </a:lnTo>
                    <a:lnTo>
                      <a:pt x="209" y="57"/>
                    </a:lnTo>
                    <a:lnTo>
                      <a:pt x="340" y="58"/>
                    </a:lnTo>
                    <a:lnTo>
                      <a:pt x="342" y="0"/>
                    </a:lnTo>
                    <a:lnTo>
                      <a:pt x="492" y="101"/>
                    </a:lnTo>
                    <a:lnTo>
                      <a:pt x="492" y="101"/>
                    </a:lnTo>
                    <a:lnTo>
                      <a:pt x="490" y="101"/>
                    </a:lnTo>
                    <a:lnTo>
                      <a:pt x="441" y="101"/>
                    </a:lnTo>
                    <a:lnTo>
                      <a:pt x="473" y="466"/>
                    </a:lnTo>
                    <a:lnTo>
                      <a:pt x="485" y="475"/>
                    </a:lnTo>
                    <a:lnTo>
                      <a:pt x="473" y="512"/>
                    </a:lnTo>
                    <a:lnTo>
                      <a:pt x="324" y="512"/>
                    </a:lnTo>
                    <a:lnTo>
                      <a:pt x="320" y="510"/>
                    </a:lnTo>
                    <a:lnTo>
                      <a:pt x="315" y="505"/>
                    </a:lnTo>
                    <a:lnTo>
                      <a:pt x="310" y="505"/>
                    </a:lnTo>
                    <a:lnTo>
                      <a:pt x="303" y="512"/>
                    </a:lnTo>
                    <a:lnTo>
                      <a:pt x="299" y="508"/>
                    </a:lnTo>
                    <a:lnTo>
                      <a:pt x="297" y="496"/>
                    </a:lnTo>
                    <a:lnTo>
                      <a:pt x="288" y="492"/>
                    </a:lnTo>
                    <a:lnTo>
                      <a:pt x="267" y="501"/>
                    </a:lnTo>
                    <a:lnTo>
                      <a:pt x="256" y="521"/>
                    </a:lnTo>
                    <a:lnTo>
                      <a:pt x="253" y="517"/>
                    </a:lnTo>
                    <a:lnTo>
                      <a:pt x="246" y="505"/>
                    </a:lnTo>
                    <a:lnTo>
                      <a:pt x="244" y="494"/>
                    </a:lnTo>
                    <a:lnTo>
                      <a:pt x="235" y="494"/>
                    </a:lnTo>
                    <a:lnTo>
                      <a:pt x="221" y="498"/>
                    </a:lnTo>
                    <a:lnTo>
                      <a:pt x="221" y="514"/>
                    </a:lnTo>
                    <a:lnTo>
                      <a:pt x="223" y="519"/>
                    </a:lnTo>
                    <a:lnTo>
                      <a:pt x="217" y="531"/>
                    </a:lnTo>
                    <a:lnTo>
                      <a:pt x="205" y="531"/>
                    </a:lnTo>
                    <a:lnTo>
                      <a:pt x="194" y="538"/>
                    </a:lnTo>
                    <a:lnTo>
                      <a:pt x="194" y="538"/>
                    </a:lnTo>
                    <a:lnTo>
                      <a:pt x="193" y="533"/>
                    </a:lnTo>
                    <a:lnTo>
                      <a:pt x="182" y="526"/>
                    </a:lnTo>
                    <a:lnTo>
                      <a:pt x="175" y="522"/>
                    </a:lnTo>
                    <a:lnTo>
                      <a:pt x="173" y="514"/>
                    </a:lnTo>
                    <a:lnTo>
                      <a:pt x="163" y="512"/>
                    </a:lnTo>
                    <a:lnTo>
                      <a:pt x="163" y="503"/>
                    </a:lnTo>
                    <a:lnTo>
                      <a:pt x="155" y="496"/>
                    </a:lnTo>
                    <a:lnTo>
                      <a:pt x="154" y="485"/>
                    </a:lnTo>
                    <a:lnTo>
                      <a:pt x="150" y="482"/>
                    </a:lnTo>
                    <a:lnTo>
                      <a:pt x="143" y="483"/>
                    </a:lnTo>
                    <a:lnTo>
                      <a:pt x="140" y="482"/>
                    </a:lnTo>
                    <a:lnTo>
                      <a:pt x="132" y="483"/>
                    </a:lnTo>
                    <a:lnTo>
                      <a:pt x="127" y="482"/>
                    </a:lnTo>
                    <a:lnTo>
                      <a:pt x="127" y="476"/>
                    </a:lnTo>
                    <a:lnTo>
                      <a:pt x="118" y="466"/>
                    </a:lnTo>
                    <a:lnTo>
                      <a:pt x="108" y="464"/>
                    </a:lnTo>
                    <a:lnTo>
                      <a:pt x="88" y="457"/>
                    </a:lnTo>
                    <a:lnTo>
                      <a:pt x="81" y="457"/>
                    </a:lnTo>
                    <a:lnTo>
                      <a:pt x="60" y="466"/>
                    </a:lnTo>
                    <a:lnTo>
                      <a:pt x="37" y="469"/>
                    </a:lnTo>
                    <a:lnTo>
                      <a:pt x="30" y="476"/>
                    </a:lnTo>
                    <a:lnTo>
                      <a:pt x="23" y="476"/>
                    </a:lnTo>
                    <a:lnTo>
                      <a:pt x="16" y="482"/>
                    </a:lnTo>
                    <a:lnTo>
                      <a:pt x="19" y="466"/>
                    </a:lnTo>
                    <a:lnTo>
                      <a:pt x="24" y="439"/>
                    </a:lnTo>
                    <a:lnTo>
                      <a:pt x="35" y="425"/>
                    </a:lnTo>
                    <a:lnTo>
                      <a:pt x="39" y="397"/>
                    </a:lnTo>
                    <a:lnTo>
                      <a:pt x="30" y="352"/>
                    </a:lnTo>
                    <a:lnTo>
                      <a:pt x="17" y="335"/>
                    </a:lnTo>
                    <a:lnTo>
                      <a:pt x="23" y="331"/>
                    </a:lnTo>
                    <a:lnTo>
                      <a:pt x="28" y="331"/>
                    </a:lnTo>
                    <a:lnTo>
                      <a:pt x="31" y="317"/>
                    </a:lnTo>
                    <a:lnTo>
                      <a:pt x="28" y="308"/>
                    </a:lnTo>
                    <a:lnTo>
                      <a:pt x="33" y="303"/>
                    </a:lnTo>
                    <a:lnTo>
                      <a:pt x="21" y="285"/>
                    </a:lnTo>
                    <a:lnTo>
                      <a:pt x="16" y="289"/>
                    </a:lnTo>
                    <a:lnTo>
                      <a:pt x="12" y="287"/>
                    </a:lnTo>
                    <a:lnTo>
                      <a:pt x="8" y="278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3" y="262"/>
                    </a:lnTo>
                    <a:lnTo>
                      <a:pt x="3" y="26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2" name="Freeform 20">
                <a:extLst>
                  <a:ext uri="{FF2B5EF4-FFF2-40B4-BE49-F238E27FC236}">
                    <a16:creationId xmlns:a16="http://schemas.microsoft.com/office/drawing/2014/main" id="{FFBF0CE6-A16C-9FAB-7FD0-F132E9CEAA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3063" y="2265363"/>
                <a:ext cx="1074738" cy="995363"/>
              </a:xfrm>
              <a:custGeom>
                <a:avLst/>
                <a:gdLst>
                  <a:gd name="T0" fmla="*/ 23 w 677"/>
                  <a:gd name="T1" fmla="*/ 430 h 627"/>
                  <a:gd name="T2" fmla="*/ 27 w 677"/>
                  <a:gd name="T3" fmla="*/ 397 h 627"/>
                  <a:gd name="T4" fmla="*/ 52 w 677"/>
                  <a:gd name="T5" fmla="*/ 404 h 627"/>
                  <a:gd name="T6" fmla="*/ 73 w 677"/>
                  <a:gd name="T7" fmla="*/ 400 h 627"/>
                  <a:gd name="T8" fmla="*/ 105 w 677"/>
                  <a:gd name="T9" fmla="*/ 407 h 627"/>
                  <a:gd name="T10" fmla="*/ 121 w 677"/>
                  <a:gd name="T11" fmla="*/ 404 h 627"/>
                  <a:gd name="T12" fmla="*/ 279 w 677"/>
                  <a:gd name="T13" fmla="*/ 411 h 627"/>
                  <a:gd name="T14" fmla="*/ 247 w 677"/>
                  <a:gd name="T15" fmla="*/ 0 h 627"/>
                  <a:gd name="T16" fmla="*/ 573 w 677"/>
                  <a:gd name="T17" fmla="*/ 200 h 627"/>
                  <a:gd name="T18" fmla="*/ 608 w 677"/>
                  <a:gd name="T19" fmla="*/ 211 h 627"/>
                  <a:gd name="T20" fmla="*/ 635 w 677"/>
                  <a:gd name="T21" fmla="*/ 230 h 627"/>
                  <a:gd name="T22" fmla="*/ 633 w 677"/>
                  <a:gd name="T23" fmla="*/ 255 h 627"/>
                  <a:gd name="T24" fmla="*/ 677 w 677"/>
                  <a:gd name="T25" fmla="*/ 251 h 627"/>
                  <a:gd name="T26" fmla="*/ 672 w 677"/>
                  <a:gd name="T27" fmla="*/ 368 h 627"/>
                  <a:gd name="T28" fmla="*/ 661 w 677"/>
                  <a:gd name="T29" fmla="*/ 397 h 627"/>
                  <a:gd name="T30" fmla="*/ 617 w 677"/>
                  <a:gd name="T31" fmla="*/ 414 h 627"/>
                  <a:gd name="T32" fmla="*/ 578 w 677"/>
                  <a:gd name="T33" fmla="*/ 423 h 627"/>
                  <a:gd name="T34" fmla="*/ 530 w 677"/>
                  <a:gd name="T35" fmla="*/ 430 h 627"/>
                  <a:gd name="T36" fmla="*/ 516 w 677"/>
                  <a:gd name="T37" fmla="*/ 427 h 627"/>
                  <a:gd name="T38" fmla="*/ 486 w 677"/>
                  <a:gd name="T39" fmla="*/ 423 h 627"/>
                  <a:gd name="T40" fmla="*/ 443 w 677"/>
                  <a:gd name="T41" fmla="*/ 443 h 627"/>
                  <a:gd name="T42" fmla="*/ 385 w 677"/>
                  <a:gd name="T43" fmla="*/ 483 h 627"/>
                  <a:gd name="T44" fmla="*/ 346 w 677"/>
                  <a:gd name="T45" fmla="*/ 489 h 627"/>
                  <a:gd name="T46" fmla="*/ 330 w 677"/>
                  <a:gd name="T47" fmla="*/ 514 h 627"/>
                  <a:gd name="T48" fmla="*/ 309 w 677"/>
                  <a:gd name="T49" fmla="*/ 553 h 627"/>
                  <a:gd name="T50" fmla="*/ 293 w 677"/>
                  <a:gd name="T51" fmla="*/ 574 h 627"/>
                  <a:gd name="T52" fmla="*/ 286 w 677"/>
                  <a:gd name="T53" fmla="*/ 597 h 627"/>
                  <a:gd name="T54" fmla="*/ 282 w 677"/>
                  <a:gd name="T55" fmla="*/ 616 h 627"/>
                  <a:gd name="T56" fmla="*/ 259 w 677"/>
                  <a:gd name="T57" fmla="*/ 618 h 627"/>
                  <a:gd name="T58" fmla="*/ 236 w 677"/>
                  <a:gd name="T59" fmla="*/ 616 h 627"/>
                  <a:gd name="T60" fmla="*/ 215 w 677"/>
                  <a:gd name="T61" fmla="*/ 623 h 627"/>
                  <a:gd name="T62" fmla="*/ 188 w 677"/>
                  <a:gd name="T63" fmla="*/ 625 h 627"/>
                  <a:gd name="T64" fmla="*/ 174 w 677"/>
                  <a:gd name="T65" fmla="*/ 615 h 627"/>
                  <a:gd name="T66" fmla="*/ 171 w 677"/>
                  <a:gd name="T67" fmla="*/ 597 h 627"/>
                  <a:gd name="T68" fmla="*/ 153 w 677"/>
                  <a:gd name="T69" fmla="*/ 604 h 627"/>
                  <a:gd name="T70" fmla="*/ 165 w 677"/>
                  <a:gd name="T71" fmla="*/ 577 h 627"/>
                  <a:gd name="T72" fmla="*/ 155 w 677"/>
                  <a:gd name="T73" fmla="*/ 561 h 627"/>
                  <a:gd name="T74" fmla="*/ 140 w 677"/>
                  <a:gd name="T75" fmla="*/ 540 h 627"/>
                  <a:gd name="T76" fmla="*/ 117 w 677"/>
                  <a:gd name="T77" fmla="*/ 540 h 627"/>
                  <a:gd name="T78" fmla="*/ 96 w 677"/>
                  <a:gd name="T79" fmla="*/ 553 h 627"/>
                  <a:gd name="T80" fmla="*/ 68 w 677"/>
                  <a:gd name="T81" fmla="*/ 553 h 627"/>
                  <a:gd name="T82" fmla="*/ 48 w 677"/>
                  <a:gd name="T83" fmla="*/ 553 h 627"/>
                  <a:gd name="T84" fmla="*/ 50 w 677"/>
                  <a:gd name="T85" fmla="*/ 540 h 627"/>
                  <a:gd name="T86" fmla="*/ 43 w 677"/>
                  <a:gd name="T87" fmla="*/ 522 h 627"/>
                  <a:gd name="T88" fmla="*/ 36 w 677"/>
                  <a:gd name="T89" fmla="*/ 505 h 627"/>
                  <a:gd name="T90" fmla="*/ 20 w 677"/>
                  <a:gd name="T91" fmla="*/ 498 h 627"/>
                  <a:gd name="T92" fmla="*/ 6 w 677"/>
                  <a:gd name="T93" fmla="*/ 473 h 627"/>
                  <a:gd name="T94" fmla="*/ 8 w 677"/>
                  <a:gd name="T95" fmla="*/ 443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77" h="627">
                    <a:moveTo>
                      <a:pt x="0" y="437"/>
                    </a:moveTo>
                    <a:lnTo>
                      <a:pt x="11" y="430"/>
                    </a:lnTo>
                    <a:lnTo>
                      <a:pt x="23" y="430"/>
                    </a:lnTo>
                    <a:lnTo>
                      <a:pt x="29" y="418"/>
                    </a:lnTo>
                    <a:lnTo>
                      <a:pt x="27" y="413"/>
                    </a:lnTo>
                    <a:lnTo>
                      <a:pt x="27" y="397"/>
                    </a:lnTo>
                    <a:lnTo>
                      <a:pt x="41" y="393"/>
                    </a:lnTo>
                    <a:lnTo>
                      <a:pt x="50" y="393"/>
                    </a:lnTo>
                    <a:lnTo>
                      <a:pt x="52" y="404"/>
                    </a:lnTo>
                    <a:lnTo>
                      <a:pt x="59" y="416"/>
                    </a:lnTo>
                    <a:lnTo>
                      <a:pt x="62" y="420"/>
                    </a:lnTo>
                    <a:lnTo>
                      <a:pt x="73" y="400"/>
                    </a:lnTo>
                    <a:lnTo>
                      <a:pt x="94" y="391"/>
                    </a:lnTo>
                    <a:lnTo>
                      <a:pt x="103" y="395"/>
                    </a:lnTo>
                    <a:lnTo>
                      <a:pt x="105" y="407"/>
                    </a:lnTo>
                    <a:lnTo>
                      <a:pt x="109" y="411"/>
                    </a:lnTo>
                    <a:lnTo>
                      <a:pt x="116" y="404"/>
                    </a:lnTo>
                    <a:lnTo>
                      <a:pt x="121" y="404"/>
                    </a:lnTo>
                    <a:lnTo>
                      <a:pt x="126" y="409"/>
                    </a:lnTo>
                    <a:lnTo>
                      <a:pt x="130" y="411"/>
                    </a:lnTo>
                    <a:lnTo>
                      <a:pt x="279" y="411"/>
                    </a:lnTo>
                    <a:lnTo>
                      <a:pt x="291" y="374"/>
                    </a:lnTo>
                    <a:lnTo>
                      <a:pt x="279" y="365"/>
                    </a:lnTo>
                    <a:lnTo>
                      <a:pt x="247" y="0"/>
                    </a:lnTo>
                    <a:lnTo>
                      <a:pt x="296" y="0"/>
                    </a:lnTo>
                    <a:lnTo>
                      <a:pt x="569" y="179"/>
                    </a:lnTo>
                    <a:lnTo>
                      <a:pt x="573" y="200"/>
                    </a:lnTo>
                    <a:lnTo>
                      <a:pt x="582" y="207"/>
                    </a:lnTo>
                    <a:lnTo>
                      <a:pt x="597" y="207"/>
                    </a:lnTo>
                    <a:lnTo>
                      <a:pt x="608" y="211"/>
                    </a:lnTo>
                    <a:lnTo>
                      <a:pt x="617" y="219"/>
                    </a:lnTo>
                    <a:lnTo>
                      <a:pt x="626" y="223"/>
                    </a:lnTo>
                    <a:lnTo>
                      <a:pt x="635" y="230"/>
                    </a:lnTo>
                    <a:lnTo>
                      <a:pt x="635" y="235"/>
                    </a:lnTo>
                    <a:lnTo>
                      <a:pt x="629" y="248"/>
                    </a:lnTo>
                    <a:lnTo>
                      <a:pt x="633" y="255"/>
                    </a:lnTo>
                    <a:lnTo>
                      <a:pt x="642" y="258"/>
                    </a:lnTo>
                    <a:lnTo>
                      <a:pt x="661" y="257"/>
                    </a:lnTo>
                    <a:lnTo>
                      <a:pt x="677" y="251"/>
                    </a:lnTo>
                    <a:lnTo>
                      <a:pt x="677" y="251"/>
                    </a:lnTo>
                    <a:lnTo>
                      <a:pt x="675" y="331"/>
                    </a:lnTo>
                    <a:lnTo>
                      <a:pt x="672" y="368"/>
                    </a:lnTo>
                    <a:lnTo>
                      <a:pt x="665" y="372"/>
                    </a:lnTo>
                    <a:lnTo>
                      <a:pt x="665" y="388"/>
                    </a:lnTo>
                    <a:lnTo>
                      <a:pt x="661" y="397"/>
                    </a:lnTo>
                    <a:lnTo>
                      <a:pt x="642" y="407"/>
                    </a:lnTo>
                    <a:lnTo>
                      <a:pt x="629" y="414"/>
                    </a:lnTo>
                    <a:lnTo>
                      <a:pt x="617" y="414"/>
                    </a:lnTo>
                    <a:lnTo>
                      <a:pt x="605" y="423"/>
                    </a:lnTo>
                    <a:lnTo>
                      <a:pt x="596" y="423"/>
                    </a:lnTo>
                    <a:lnTo>
                      <a:pt x="578" y="423"/>
                    </a:lnTo>
                    <a:lnTo>
                      <a:pt x="567" y="429"/>
                    </a:lnTo>
                    <a:lnTo>
                      <a:pt x="558" y="427"/>
                    </a:lnTo>
                    <a:lnTo>
                      <a:pt x="530" y="430"/>
                    </a:lnTo>
                    <a:lnTo>
                      <a:pt x="520" y="427"/>
                    </a:lnTo>
                    <a:lnTo>
                      <a:pt x="518" y="430"/>
                    </a:lnTo>
                    <a:lnTo>
                      <a:pt x="516" y="427"/>
                    </a:lnTo>
                    <a:lnTo>
                      <a:pt x="507" y="427"/>
                    </a:lnTo>
                    <a:lnTo>
                      <a:pt x="496" y="423"/>
                    </a:lnTo>
                    <a:lnTo>
                      <a:pt x="486" y="423"/>
                    </a:lnTo>
                    <a:lnTo>
                      <a:pt x="466" y="427"/>
                    </a:lnTo>
                    <a:lnTo>
                      <a:pt x="454" y="434"/>
                    </a:lnTo>
                    <a:lnTo>
                      <a:pt x="443" y="443"/>
                    </a:lnTo>
                    <a:lnTo>
                      <a:pt x="411" y="460"/>
                    </a:lnTo>
                    <a:lnTo>
                      <a:pt x="388" y="475"/>
                    </a:lnTo>
                    <a:lnTo>
                      <a:pt x="385" y="483"/>
                    </a:lnTo>
                    <a:lnTo>
                      <a:pt x="364" y="491"/>
                    </a:lnTo>
                    <a:lnTo>
                      <a:pt x="358" y="489"/>
                    </a:lnTo>
                    <a:lnTo>
                      <a:pt x="346" y="489"/>
                    </a:lnTo>
                    <a:lnTo>
                      <a:pt x="344" y="494"/>
                    </a:lnTo>
                    <a:lnTo>
                      <a:pt x="339" y="496"/>
                    </a:lnTo>
                    <a:lnTo>
                      <a:pt x="330" y="514"/>
                    </a:lnTo>
                    <a:lnTo>
                      <a:pt x="330" y="519"/>
                    </a:lnTo>
                    <a:lnTo>
                      <a:pt x="321" y="531"/>
                    </a:lnTo>
                    <a:lnTo>
                      <a:pt x="309" y="553"/>
                    </a:lnTo>
                    <a:lnTo>
                      <a:pt x="298" y="561"/>
                    </a:lnTo>
                    <a:lnTo>
                      <a:pt x="291" y="567"/>
                    </a:lnTo>
                    <a:lnTo>
                      <a:pt x="293" y="574"/>
                    </a:lnTo>
                    <a:lnTo>
                      <a:pt x="295" y="586"/>
                    </a:lnTo>
                    <a:lnTo>
                      <a:pt x="287" y="588"/>
                    </a:lnTo>
                    <a:lnTo>
                      <a:pt x="286" y="597"/>
                    </a:lnTo>
                    <a:lnTo>
                      <a:pt x="289" y="602"/>
                    </a:lnTo>
                    <a:lnTo>
                      <a:pt x="287" y="613"/>
                    </a:lnTo>
                    <a:lnTo>
                      <a:pt x="282" y="616"/>
                    </a:lnTo>
                    <a:lnTo>
                      <a:pt x="275" y="627"/>
                    </a:lnTo>
                    <a:lnTo>
                      <a:pt x="261" y="623"/>
                    </a:lnTo>
                    <a:lnTo>
                      <a:pt x="259" y="618"/>
                    </a:lnTo>
                    <a:lnTo>
                      <a:pt x="261" y="616"/>
                    </a:lnTo>
                    <a:lnTo>
                      <a:pt x="250" y="615"/>
                    </a:lnTo>
                    <a:lnTo>
                      <a:pt x="236" y="616"/>
                    </a:lnTo>
                    <a:lnTo>
                      <a:pt x="236" y="622"/>
                    </a:lnTo>
                    <a:lnTo>
                      <a:pt x="233" y="623"/>
                    </a:lnTo>
                    <a:lnTo>
                      <a:pt x="215" y="623"/>
                    </a:lnTo>
                    <a:lnTo>
                      <a:pt x="206" y="618"/>
                    </a:lnTo>
                    <a:lnTo>
                      <a:pt x="201" y="618"/>
                    </a:lnTo>
                    <a:lnTo>
                      <a:pt x="188" y="625"/>
                    </a:lnTo>
                    <a:lnTo>
                      <a:pt x="188" y="620"/>
                    </a:lnTo>
                    <a:lnTo>
                      <a:pt x="185" y="615"/>
                    </a:lnTo>
                    <a:lnTo>
                      <a:pt x="174" y="615"/>
                    </a:lnTo>
                    <a:lnTo>
                      <a:pt x="174" y="609"/>
                    </a:lnTo>
                    <a:lnTo>
                      <a:pt x="171" y="606"/>
                    </a:lnTo>
                    <a:lnTo>
                      <a:pt x="171" y="597"/>
                    </a:lnTo>
                    <a:lnTo>
                      <a:pt x="165" y="597"/>
                    </a:lnTo>
                    <a:lnTo>
                      <a:pt x="160" y="602"/>
                    </a:lnTo>
                    <a:lnTo>
                      <a:pt x="153" y="604"/>
                    </a:lnTo>
                    <a:lnTo>
                      <a:pt x="158" y="593"/>
                    </a:lnTo>
                    <a:lnTo>
                      <a:pt x="165" y="583"/>
                    </a:lnTo>
                    <a:lnTo>
                      <a:pt x="165" y="577"/>
                    </a:lnTo>
                    <a:lnTo>
                      <a:pt x="156" y="576"/>
                    </a:lnTo>
                    <a:lnTo>
                      <a:pt x="151" y="572"/>
                    </a:lnTo>
                    <a:lnTo>
                      <a:pt x="155" y="561"/>
                    </a:lnTo>
                    <a:lnTo>
                      <a:pt x="149" y="553"/>
                    </a:lnTo>
                    <a:lnTo>
                      <a:pt x="140" y="544"/>
                    </a:lnTo>
                    <a:lnTo>
                      <a:pt x="140" y="540"/>
                    </a:lnTo>
                    <a:lnTo>
                      <a:pt x="132" y="542"/>
                    </a:lnTo>
                    <a:lnTo>
                      <a:pt x="128" y="545"/>
                    </a:lnTo>
                    <a:lnTo>
                      <a:pt x="117" y="540"/>
                    </a:lnTo>
                    <a:lnTo>
                      <a:pt x="109" y="542"/>
                    </a:lnTo>
                    <a:lnTo>
                      <a:pt x="101" y="553"/>
                    </a:lnTo>
                    <a:lnTo>
                      <a:pt x="96" y="553"/>
                    </a:lnTo>
                    <a:lnTo>
                      <a:pt x="87" y="560"/>
                    </a:lnTo>
                    <a:lnTo>
                      <a:pt x="77" y="560"/>
                    </a:lnTo>
                    <a:lnTo>
                      <a:pt x="68" y="553"/>
                    </a:lnTo>
                    <a:lnTo>
                      <a:pt x="62" y="551"/>
                    </a:lnTo>
                    <a:lnTo>
                      <a:pt x="54" y="554"/>
                    </a:lnTo>
                    <a:lnTo>
                      <a:pt x="48" y="553"/>
                    </a:lnTo>
                    <a:lnTo>
                      <a:pt x="48" y="551"/>
                    </a:lnTo>
                    <a:lnTo>
                      <a:pt x="50" y="547"/>
                    </a:lnTo>
                    <a:lnTo>
                      <a:pt x="50" y="540"/>
                    </a:lnTo>
                    <a:lnTo>
                      <a:pt x="39" y="533"/>
                    </a:lnTo>
                    <a:lnTo>
                      <a:pt x="39" y="528"/>
                    </a:lnTo>
                    <a:lnTo>
                      <a:pt x="43" y="522"/>
                    </a:lnTo>
                    <a:lnTo>
                      <a:pt x="43" y="517"/>
                    </a:lnTo>
                    <a:lnTo>
                      <a:pt x="38" y="512"/>
                    </a:lnTo>
                    <a:lnTo>
                      <a:pt x="36" y="505"/>
                    </a:lnTo>
                    <a:lnTo>
                      <a:pt x="31" y="501"/>
                    </a:lnTo>
                    <a:lnTo>
                      <a:pt x="25" y="503"/>
                    </a:lnTo>
                    <a:lnTo>
                      <a:pt x="20" y="498"/>
                    </a:lnTo>
                    <a:lnTo>
                      <a:pt x="16" y="487"/>
                    </a:lnTo>
                    <a:lnTo>
                      <a:pt x="6" y="478"/>
                    </a:lnTo>
                    <a:lnTo>
                      <a:pt x="6" y="473"/>
                    </a:lnTo>
                    <a:lnTo>
                      <a:pt x="9" y="457"/>
                    </a:lnTo>
                    <a:lnTo>
                      <a:pt x="8" y="450"/>
                    </a:lnTo>
                    <a:lnTo>
                      <a:pt x="8" y="443"/>
                    </a:lnTo>
                    <a:lnTo>
                      <a:pt x="0" y="43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3" name="Freeform 21">
                <a:extLst>
                  <a:ext uri="{FF2B5EF4-FFF2-40B4-BE49-F238E27FC236}">
                    <a16:creationId xmlns:a16="http://schemas.microsoft.com/office/drawing/2014/main" id="{F3E91DF4-37DB-F452-0391-B0147F76F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088" y="2936876"/>
                <a:ext cx="496888" cy="360363"/>
              </a:xfrm>
              <a:custGeom>
                <a:avLst/>
                <a:gdLst>
                  <a:gd name="T0" fmla="*/ 3 w 313"/>
                  <a:gd name="T1" fmla="*/ 179 h 227"/>
                  <a:gd name="T2" fmla="*/ 1 w 313"/>
                  <a:gd name="T3" fmla="*/ 165 h 227"/>
                  <a:gd name="T4" fmla="*/ 7 w 313"/>
                  <a:gd name="T5" fmla="*/ 151 h 227"/>
                  <a:gd name="T6" fmla="*/ 12 w 313"/>
                  <a:gd name="T7" fmla="*/ 138 h 227"/>
                  <a:gd name="T8" fmla="*/ 35 w 313"/>
                  <a:gd name="T9" fmla="*/ 108 h 227"/>
                  <a:gd name="T10" fmla="*/ 44 w 313"/>
                  <a:gd name="T11" fmla="*/ 91 h 227"/>
                  <a:gd name="T12" fmla="*/ 58 w 313"/>
                  <a:gd name="T13" fmla="*/ 71 h 227"/>
                  <a:gd name="T14" fmla="*/ 72 w 313"/>
                  <a:gd name="T15" fmla="*/ 66 h 227"/>
                  <a:gd name="T16" fmla="*/ 99 w 313"/>
                  <a:gd name="T17" fmla="*/ 60 h 227"/>
                  <a:gd name="T18" fmla="*/ 125 w 313"/>
                  <a:gd name="T19" fmla="*/ 37 h 227"/>
                  <a:gd name="T20" fmla="*/ 168 w 313"/>
                  <a:gd name="T21" fmla="*/ 11 h 227"/>
                  <a:gd name="T22" fmla="*/ 200 w 313"/>
                  <a:gd name="T23" fmla="*/ 0 h 227"/>
                  <a:gd name="T24" fmla="*/ 221 w 313"/>
                  <a:gd name="T25" fmla="*/ 4 h 227"/>
                  <a:gd name="T26" fmla="*/ 232 w 313"/>
                  <a:gd name="T27" fmla="*/ 7 h 227"/>
                  <a:gd name="T28" fmla="*/ 230 w 313"/>
                  <a:gd name="T29" fmla="*/ 21 h 227"/>
                  <a:gd name="T30" fmla="*/ 225 w 313"/>
                  <a:gd name="T31" fmla="*/ 43 h 227"/>
                  <a:gd name="T32" fmla="*/ 264 w 313"/>
                  <a:gd name="T33" fmla="*/ 85 h 227"/>
                  <a:gd name="T34" fmla="*/ 297 w 313"/>
                  <a:gd name="T35" fmla="*/ 87 h 227"/>
                  <a:gd name="T36" fmla="*/ 303 w 313"/>
                  <a:gd name="T37" fmla="*/ 94 h 227"/>
                  <a:gd name="T38" fmla="*/ 306 w 313"/>
                  <a:gd name="T39" fmla="*/ 105 h 227"/>
                  <a:gd name="T40" fmla="*/ 310 w 313"/>
                  <a:gd name="T41" fmla="*/ 124 h 227"/>
                  <a:gd name="T42" fmla="*/ 313 w 313"/>
                  <a:gd name="T43" fmla="*/ 130 h 227"/>
                  <a:gd name="T44" fmla="*/ 297 w 313"/>
                  <a:gd name="T45" fmla="*/ 140 h 227"/>
                  <a:gd name="T46" fmla="*/ 280 w 313"/>
                  <a:gd name="T47" fmla="*/ 145 h 227"/>
                  <a:gd name="T48" fmla="*/ 272 w 313"/>
                  <a:gd name="T49" fmla="*/ 158 h 227"/>
                  <a:gd name="T50" fmla="*/ 267 w 313"/>
                  <a:gd name="T51" fmla="*/ 170 h 227"/>
                  <a:gd name="T52" fmla="*/ 255 w 313"/>
                  <a:gd name="T53" fmla="*/ 177 h 227"/>
                  <a:gd name="T54" fmla="*/ 209 w 313"/>
                  <a:gd name="T55" fmla="*/ 167 h 227"/>
                  <a:gd name="T56" fmla="*/ 205 w 313"/>
                  <a:gd name="T57" fmla="*/ 167 h 227"/>
                  <a:gd name="T58" fmla="*/ 186 w 313"/>
                  <a:gd name="T59" fmla="*/ 170 h 227"/>
                  <a:gd name="T60" fmla="*/ 148 w 313"/>
                  <a:gd name="T61" fmla="*/ 174 h 227"/>
                  <a:gd name="T62" fmla="*/ 115 w 313"/>
                  <a:gd name="T63" fmla="*/ 174 h 227"/>
                  <a:gd name="T64" fmla="*/ 99 w 313"/>
                  <a:gd name="T65" fmla="*/ 184 h 227"/>
                  <a:gd name="T66" fmla="*/ 106 w 313"/>
                  <a:gd name="T67" fmla="*/ 202 h 227"/>
                  <a:gd name="T68" fmla="*/ 111 w 313"/>
                  <a:gd name="T69" fmla="*/ 225 h 227"/>
                  <a:gd name="T70" fmla="*/ 97 w 313"/>
                  <a:gd name="T71" fmla="*/ 220 h 227"/>
                  <a:gd name="T72" fmla="*/ 83 w 313"/>
                  <a:gd name="T73" fmla="*/ 225 h 227"/>
                  <a:gd name="T74" fmla="*/ 60 w 313"/>
                  <a:gd name="T75" fmla="*/ 220 h 227"/>
                  <a:gd name="T76" fmla="*/ 48 w 313"/>
                  <a:gd name="T77" fmla="*/ 209 h 227"/>
                  <a:gd name="T78" fmla="*/ 37 w 313"/>
                  <a:gd name="T79" fmla="*/ 206 h 227"/>
                  <a:gd name="T80" fmla="*/ 14 w 313"/>
                  <a:gd name="T81" fmla="*/ 199 h 227"/>
                  <a:gd name="T82" fmla="*/ 1 w 313"/>
                  <a:gd name="T83" fmla="*/ 19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13" h="227">
                    <a:moveTo>
                      <a:pt x="1" y="190"/>
                    </a:moveTo>
                    <a:lnTo>
                      <a:pt x="3" y="179"/>
                    </a:lnTo>
                    <a:lnTo>
                      <a:pt x="0" y="174"/>
                    </a:lnTo>
                    <a:lnTo>
                      <a:pt x="1" y="165"/>
                    </a:lnTo>
                    <a:lnTo>
                      <a:pt x="9" y="163"/>
                    </a:lnTo>
                    <a:lnTo>
                      <a:pt x="7" y="151"/>
                    </a:lnTo>
                    <a:lnTo>
                      <a:pt x="5" y="144"/>
                    </a:lnTo>
                    <a:lnTo>
                      <a:pt x="12" y="138"/>
                    </a:lnTo>
                    <a:lnTo>
                      <a:pt x="23" y="130"/>
                    </a:lnTo>
                    <a:lnTo>
                      <a:pt x="35" y="108"/>
                    </a:lnTo>
                    <a:lnTo>
                      <a:pt x="44" y="96"/>
                    </a:lnTo>
                    <a:lnTo>
                      <a:pt x="44" y="91"/>
                    </a:lnTo>
                    <a:lnTo>
                      <a:pt x="53" y="73"/>
                    </a:lnTo>
                    <a:lnTo>
                      <a:pt x="58" y="71"/>
                    </a:lnTo>
                    <a:lnTo>
                      <a:pt x="60" y="66"/>
                    </a:lnTo>
                    <a:lnTo>
                      <a:pt x="72" y="66"/>
                    </a:lnTo>
                    <a:lnTo>
                      <a:pt x="78" y="68"/>
                    </a:lnTo>
                    <a:lnTo>
                      <a:pt x="99" y="60"/>
                    </a:lnTo>
                    <a:lnTo>
                      <a:pt x="102" y="52"/>
                    </a:lnTo>
                    <a:lnTo>
                      <a:pt x="125" y="37"/>
                    </a:lnTo>
                    <a:lnTo>
                      <a:pt x="157" y="20"/>
                    </a:lnTo>
                    <a:lnTo>
                      <a:pt x="168" y="11"/>
                    </a:lnTo>
                    <a:lnTo>
                      <a:pt x="180" y="4"/>
                    </a:lnTo>
                    <a:lnTo>
                      <a:pt x="200" y="0"/>
                    </a:lnTo>
                    <a:lnTo>
                      <a:pt x="210" y="0"/>
                    </a:lnTo>
                    <a:lnTo>
                      <a:pt x="221" y="4"/>
                    </a:lnTo>
                    <a:lnTo>
                      <a:pt x="230" y="4"/>
                    </a:lnTo>
                    <a:lnTo>
                      <a:pt x="232" y="7"/>
                    </a:lnTo>
                    <a:lnTo>
                      <a:pt x="232" y="11"/>
                    </a:lnTo>
                    <a:lnTo>
                      <a:pt x="230" y="21"/>
                    </a:lnTo>
                    <a:lnTo>
                      <a:pt x="225" y="30"/>
                    </a:lnTo>
                    <a:lnTo>
                      <a:pt x="225" y="43"/>
                    </a:lnTo>
                    <a:lnTo>
                      <a:pt x="264" y="68"/>
                    </a:lnTo>
                    <a:lnTo>
                      <a:pt x="264" y="85"/>
                    </a:lnTo>
                    <a:lnTo>
                      <a:pt x="278" y="96"/>
                    </a:lnTo>
                    <a:lnTo>
                      <a:pt x="297" y="87"/>
                    </a:lnTo>
                    <a:lnTo>
                      <a:pt x="301" y="89"/>
                    </a:lnTo>
                    <a:lnTo>
                      <a:pt x="303" y="94"/>
                    </a:lnTo>
                    <a:lnTo>
                      <a:pt x="306" y="98"/>
                    </a:lnTo>
                    <a:lnTo>
                      <a:pt x="306" y="105"/>
                    </a:lnTo>
                    <a:lnTo>
                      <a:pt x="301" y="112"/>
                    </a:lnTo>
                    <a:lnTo>
                      <a:pt x="310" y="124"/>
                    </a:lnTo>
                    <a:lnTo>
                      <a:pt x="313" y="122"/>
                    </a:lnTo>
                    <a:lnTo>
                      <a:pt x="313" y="130"/>
                    </a:lnTo>
                    <a:lnTo>
                      <a:pt x="304" y="140"/>
                    </a:lnTo>
                    <a:lnTo>
                      <a:pt x="297" y="140"/>
                    </a:lnTo>
                    <a:lnTo>
                      <a:pt x="283" y="147"/>
                    </a:lnTo>
                    <a:lnTo>
                      <a:pt x="280" y="145"/>
                    </a:lnTo>
                    <a:lnTo>
                      <a:pt x="271" y="149"/>
                    </a:lnTo>
                    <a:lnTo>
                      <a:pt x="272" y="158"/>
                    </a:lnTo>
                    <a:lnTo>
                      <a:pt x="265" y="161"/>
                    </a:lnTo>
                    <a:lnTo>
                      <a:pt x="267" y="170"/>
                    </a:lnTo>
                    <a:lnTo>
                      <a:pt x="257" y="174"/>
                    </a:lnTo>
                    <a:lnTo>
                      <a:pt x="255" y="177"/>
                    </a:lnTo>
                    <a:lnTo>
                      <a:pt x="212" y="167"/>
                    </a:lnTo>
                    <a:lnTo>
                      <a:pt x="209" y="167"/>
                    </a:lnTo>
                    <a:lnTo>
                      <a:pt x="209" y="167"/>
                    </a:lnTo>
                    <a:lnTo>
                      <a:pt x="205" y="167"/>
                    </a:lnTo>
                    <a:lnTo>
                      <a:pt x="196" y="170"/>
                    </a:lnTo>
                    <a:lnTo>
                      <a:pt x="186" y="170"/>
                    </a:lnTo>
                    <a:lnTo>
                      <a:pt x="170" y="174"/>
                    </a:lnTo>
                    <a:lnTo>
                      <a:pt x="148" y="174"/>
                    </a:lnTo>
                    <a:lnTo>
                      <a:pt x="145" y="174"/>
                    </a:lnTo>
                    <a:lnTo>
                      <a:pt x="115" y="174"/>
                    </a:lnTo>
                    <a:lnTo>
                      <a:pt x="101" y="176"/>
                    </a:lnTo>
                    <a:lnTo>
                      <a:pt x="99" y="184"/>
                    </a:lnTo>
                    <a:lnTo>
                      <a:pt x="102" y="199"/>
                    </a:lnTo>
                    <a:lnTo>
                      <a:pt x="106" y="202"/>
                    </a:lnTo>
                    <a:lnTo>
                      <a:pt x="111" y="213"/>
                    </a:lnTo>
                    <a:lnTo>
                      <a:pt x="111" y="225"/>
                    </a:lnTo>
                    <a:lnTo>
                      <a:pt x="102" y="223"/>
                    </a:lnTo>
                    <a:lnTo>
                      <a:pt x="97" y="220"/>
                    </a:lnTo>
                    <a:lnTo>
                      <a:pt x="92" y="220"/>
                    </a:lnTo>
                    <a:lnTo>
                      <a:pt x="83" y="225"/>
                    </a:lnTo>
                    <a:lnTo>
                      <a:pt x="74" y="227"/>
                    </a:lnTo>
                    <a:lnTo>
                      <a:pt x="60" y="220"/>
                    </a:lnTo>
                    <a:lnTo>
                      <a:pt x="56" y="213"/>
                    </a:lnTo>
                    <a:lnTo>
                      <a:pt x="48" y="209"/>
                    </a:lnTo>
                    <a:lnTo>
                      <a:pt x="40" y="209"/>
                    </a:lnTo>
                    <a:lnTo>
                      <a:pt x="37" y="206"/>
                    </a:lnTo>
                    <a:lnTo>
                      <a:pt x="30" y="206"/>
                    </a:lnTo>
                    <a:lnTo>
                      <a:pt x="14" y="199"/>
                    </a:lnTo>
                    <a:lnTo>
                      <a:pt x="3" y="188"/>
                    </a:lnTo>
                    <a:lnTo>
                      <a:pt x="1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4" name="Freeform 22">
                <a:extLst>
                  <a:ext uri="{FF2B5EF4-FFF2-40B4-BE49-F238E27FC236}">
                    <a16:creationId xmlns:a16="http://schemas.microsoft.com/office/drawing/2014/main" id="{21CDD76F-0723-26DA-7482-10A47A89F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163" y="2830513"/>
                <a:ext cx="422275" cy="309563"/>
              </a:xfrm>
              <a:custGeom>
                <a:avLst/>
                <a:gdLst>
                  <a:gd name="T0" fmla="*/ 45 w 266"/>
                  <a:gd name="T1" fmla="*/ 19 h 195"/>
                  <a:gd name="T2" fmla="*/ 59 w 266"/>
                  <a:gd name="T3" fmla="*/ 12 h 195"/>
                  <a:gd name="T4" fmla="*/ 103 w 266"/>
                  <a:gd name="T5" fmla="*/ 0 h 195"/>
                  <a:gd name="T6" fmla="*/ 130 w 266"/>
                  <a:gd name="T7" fmla="*/ 7 h 195"/>
                  <a:gd name="T8" fmla="*/ 149 w 266"/>
                  <a:gd name="T9" fmla="*/ 19 h 195"/>
                  <a:gd name="T10" fmla="*/ 154 w 266"/>
                  <a:gd name="T11" fmla="*/ 26 h 195"/>
                  <a:gd name="T12" fmla="*/ 165 w 266"/>
                  <a:gd name="T13" fmla="*/ 26 h 195"/>
                  <a:gd name="T14" fmla="*/ 176 w 266"/>
                  <a:gd name="T15" fmla="*/ 28 h 195"/>
                  <a:gd name="T16" fmla="*/ 185 w 266"/>
                  <a:gd name="T17" fmla="*/ 46 h 195"/>
                  <a:gd name="T18" fmla="*/ 195 w 266"/>
                  <a:gd name="T19" fmla="*/ 57 h 195"/>
                  <a:gd name="T20" fmla="*/ 204 w 266"/>
                  <a:gd name="T21" fmla="*/ 69 h 195"/>
                  <a:gd name="T22" fmla="*/ 216 w 266"/>
                  <a:gd name="T23" fmla="*/ 81 h 195"/>
                  <a:gd name="T24" fmla="*/ 224 w 266"/>
                  <a:gd name="T25" fmla="*/ 94 h 195"/>
                  <a:gd name="T26" fmla="*/ 222 w 266"/>
                  <a:gd name="T27" fmla="*/ 117 h 195"/>
                  <a:gd name="T28" fmla="*/ 232 w 266"/>
                  <a:gd name="T29" fmla="*/ 131 h 195"/>
                  <a:gd name="T30" fmla="*/ 241 w 266"/>
                  <a:gd name="T31" fmla="*/ 147 h 195"/>
                  <a:gd name="T32" fmla="*/ 252 w 266"/>
                  <a:gd name="T33" fmla="*/ 149 h 195"/>
                  <a:gd name="T34" fmla="*/ 259 w 266"/>
                  <a:gd name="T35" fmla="*/ 161 h 195"/>
                  <a:gd name="T36" fmla="*/ 255 w 266"/>
                  <a:gd name="T37" fmla="*/ 172 h 195"/>
                  <a:gd name="T38" fmla="*/ 266 w 266"/>
                  <a:gd name="T39" fmla="*/ 184 h 195"/>
                  <a:gd name="T40" fmla="*/ 264 w 266"/>
                  <a:gd name="T41" fmla="*/ 195 h 195"/>
                  <a:gd name="T42" fmla="*/ 255 w 266"/>
                  <a:gd name="T43" fmla="*/ 188 h 195"/>
                  <a:gd name="T44" fmla="*/ 243 w 266"/>
                  <a:gd name="T45" fmla="*/ 184 h 195"/>
                  <a:gd name="T46" fmla="*/ 224 w 266"/>
                  <a:gd name="T47" fmla="*/ 182 h 195"/>
                  <a:gd name="T48" fmla="*/ 204 w 266"/>
                  <a:gd name="T49" fmla="*/ 177 h 195"/>
                  <a:gd name="T50" fmla="*/ 160 w 266"/>
                  <a:gd name="T51" fmla="*/ 168 h 195"/>
                  <a:gd name="T52" fmla="*/ 153 w 266"/>
                  <a:gd name="T53" fmla="*/ 170 h 195"/>
                  <a:gd name="T54" fmla="*/ 105 w 266"/>
                  <a:gd name="T55" fmla="*/ 166 h 195"/>
                  <a:gd name="T56" fmla="*/ 82 w 266"/>
                  <a:gd name="T57" fmla="*/ 184 h 195"/>
                  <a:gd name="T58" fmla="*/ 41 w 266"/>
                  <a:gd name="T59" fmla="*/ 188 h 195"/>
                  <a:gd name="T60" fmla="*/ 30 w 266"/>
                  <a:gd name="T61" fmla="*/ 177 h 195"/>
                  <a:gd name="T62" fmla="*/ 34 w 266"/>
                  <a:gd name="T63" fmla="*/ 175 h 195"/>
                  <a:gd name="T64" fmla="*/ 48 w 266"/>
                  <a:gd name="T65" fmla="*/ 172 h 195"/>
                  <a:gd name="T66" fmla="*/ 25 w 266"/>
                  <a:gd name="T67" fmla="*/ 172 h 195"/>
                  <a:gd name="T68" fmla="*/ 27 w 266"/>
                  <a:gd name="T69" fmla="*/ 165 h 195"/>
                  <a:gd name="T70" fmla="*/ 30 w 266"/>
                  <a:gd name="T71" fmla="*/ 150 h 195"/>
                  <a:gd name="T72" fmla="*/ 62 w 266"/>
                  <a:gd name="T73" fmla="*/ 142 h 195"/>
                  <a:gd name="T74" fmla="*/ 80 w 266"/>
                  <a:gd name="T75" fmla="*/ 135 h 195"/>
                  <a:gd name="T76" fmla="*/ 89 w 266"/>
                  <a:gd name="T77" fmla="*/ 138 h 195"/>
                  <a:gd name="T78" fmla="*/ 98 w 266"/>
                  <a:gd name="T79" fmla="*/ 131 h 195"/>
                  <a:gd name="T80" fmla="*/ 117 w 266"/>
                  <a:gd name="T81" fmla="*/ 138 h 195"/>
                  <a:gd name="T82" fmla="*/ 140 w 266"/>
                  <a:gd name="T83" fmla="*/ 147 h 195"/>
                  <a:gd name="T84" fmla="*/ 153 w 266"/>
                  <a:gd name="T85" fmla="*/ 142 h 195"/>
                  <a:gd name="T86" fmla="*/ 146 w 266"/>
                  <a:gd name="T87" fmla="*/ 136 h 195"/>
                  <a:gd name="T88" fmla="*/ 121 w 266"/>
                  <a:gd name="T89" fmla="*/ 126 h 195"/>
                  <a:gd name="T90" fmla="*/ 98 w 266"/>
                  <a:gd name="T91" fmla="*/ 117 h 195"/>
                  <a:gd name="T92" fmla="*/ 78 w 266"/>
                  <a:gd name="T93" fmla="*/ 120 h 195"/>
                  <a:gd name="T94" fmla="*/ 57 w 266"/>
                  <a:gd name="T95" fmla="*/ 131 h 195"/>
                  <a:gd name="T96" fmla="*/ 32 w 266"/>
                  <a:gd name="T97" fmla="*/ 133 h 195"/>
                  <a:gd name="T98" fmla="*/ 38 w 266"/>
                  <a:gd name="T99" fmla="*/ 126 h 195"/>
                  <a:gd name="T100" fmla="*/ 30 w 266"/>
                  <a:gd name="T101" fmla="*/ 119 h 195"/>
                  <a:gd name="T102" fmla="*/ 23 w 266"/>
                  <a:gd name="T103" fmla="*/ 110 h 195"/>
                  <a:gd name="T104" fmla="*/ 0 w 266"/>
                  <a:gd name="T105" fmla="*/ 81 h 195"/>
                  <a:gd name="T106" fmla="*/ 36 w 266"/>
                  <a:gd name="T107" fmla="*/ 39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6" h="195">
                    <a:moveTo>
                      <a:pt x="38" y="25"/>
                    </a:moveTo>
                    <a:lnTo>
                      <a:pt x="45" y="19"/>
                    </a:lnTo>
                    <a:lnTo>
                      <a:pt x="52" y="19"/>
                    </a:lnTo>
                    <a:lnTo>
                      <a:pt x="59" y="12"/>
                    </a:lnTo>
                    <a:lnTo>
                      <a:pt x="82" y="9"/>
                    </a:lnTo>
                    <a:lnTo>
                      <a:pt x="103" y="0"/>
                    </a:lnTo>
                    <a:lnTo>
                      <a:pt x="110" y="0"/>
                    </a:lnTo>
                    <a:lnTo>
                      <a:pt x="130" y="7"/>
                    </a:lnTo>
                    <a:lnTo>
                      <a:pt x="140" y="9"/>
                    </a:lnTo>
                    <a:lnTo>
                      <a:pt x="149" y="19"/>
                    </a:lnTo>
                    <a:lnTo>
                      <a:pt x="149" y="25"/>
                    </a:lnTo>
                    <a:lnTo>
                      <a:pt x="154" y="26"/>
                    </a:lnTo>
                    <a:lnTo>
                      <a:pt x="162" y="25"/>
                    </a:lnTo>
                    <a:lnTo>
                      <a:pt x="165" y="26"/>
                    </a:lnTo>
                    <a:lnTo>
                      <a:pt x="172" y="25"/>
                    </a:lnTo>
                    <a:lnTo>
                      <a:pt x="176" y="28"/>
                    </a:lnTo>
                    <a:lnTo>
                      <a:pt x="177" y="39"/>
                    </a:lnTo>
                    <a:lnTo>
                      <a:pt x="185" y="46"/>
                    </a:lnTo>
                    <a:lnTo>
                      <a:pt x="185" y="55"/>
                    </a:lnTo>
                    <a:lnTo>
                      <a:pt x="195" y="57"/>
                    </a:lnTo>
                    <a:lnTo>
                      <a:pt x="197" y="65"/>
                    </a:lnTo>
                    <a:lnTo>
                      <a:pt x="204" y="69"/>
                    </a:lnTo>
                    <a:lnTo>
                      <a:pt x="215" y="76"/>
                    </a:lnTo>
                    <a:lnTo>
                      <a:pt x="216" y="81"/>
                    </a:lnTo>
                    <a:lnTo>
                      <a:pt x="224" y="87"/>
                    </a:lnTo>
                    <a:lnTo>
                      <a:pt x="224" y="94"/>
                    </a:lnTo>
                    <a:lnTo>
                      <a:pt x="225" y="101"/>
                    </a:lnTo>
                    <a:lnTo>
                      <a:pt x="222" y="117"/>
                    </a:lnTo>
                    <a:lnTo>
                      <a:pt x="222" y="122"/>
                    </a:lnTo>
                    <a:lnTo>
                      <a:pt x="232" y="131"/>
                    </a:lnTo>
                    <a:lnTo>
                      <a:pt x="236" y="142"/>
                    </a:lnTo>
                    <a:lnTo>
                      <a:pt x="241" y="147"/>
                    </a:lnTo>
                    <a:lnTo>
                      <a:pt x="247" y="145"/>
                    </a:lnTo>
                    <a:lnTo>
                      <a:pt x="252" y="149"/>
                    </a:lnTo>
                    <a:lnTo>
                      <a:pt x="254" y="156"/>
                    </a:lnTo>
                    <a:lnTo>
                      <a:pt x="259" y="161"/>
                    </a:lnTo>
                    <a:lnTo>
                      <a:pt x="259" y="166"/>
                    </a:lnTo>
                    <a:lnTo>
                      <a:pt x="255" y="172"/>
                    </a:lnTo>
                    <a:lnTo>
                      <a:pt x="255" y="177"/>
                    </a:lnTo>
                    <a:lnTo>
                      <a:pt x="266" y="184"/>
                    </a:lnTo>
                    <a:lnTo>
                      <a:pt x="266" y="191"/>
                    </a:lnTo>
                    <a:lnTo>
                      <a:pt x="264" y="195"/>
                    </a:lnTo>
                    <a:lnTo>
                      <a:pt x="264" y="189"/>
                    </a:lnTo>
                    <a:lnTo>
                      <a:pt x="255" y="188"/>
                    </a:lnTo>
                    <a:lnTo>
                      <a:pt x="252" y="184"/>
                    </a:lnTo>
                    <a:lnTo>
                      <a:pt x="243" y="184"/>
                    </a:lnTo>
                    <a:lnTo>
                      <a:pt x="236" y="188"/>
                    </a:lnTo>
                    <a:lnTo>
                      <a:pt x="224" y="182"/>
                    </a:lnTo>
                    <a:lnTo>
                      <a:pt x="211" y="182"/>
                    </a:lnTo>
                    <a:lnTo>
                      <a:pt x="204" y="177"/>
                    </a:lnTo>
                    <a:lnTo>
                      <a:pt x="186" y="168"/>
                    </a:lnTo>
                    <a:lnTo>
                      <a:pt x="160" y="168"/>
                    </a:lnTo>
                    <a:lnTo>
                      <a:pt x="153" y="170"/>
                    </a:lnTo>
                    <a:lnTo>
                      <a:pt x="153" y="170"/>
                    </a:lnTo>
                    <a:lnTo>
                      <a:pt x="142" y="168"/>
                    </a:lnTo>
                    <a:lnTo>
                      <a:pt x="105" y="166"/>
                    </a:lnTo>
                    <a:lnTo>
                      <a:pt x="89" y="173"/>
                    </a:lnTo>
                    <a:lnTo>
                      <a:pt x="82" y="184"/>
                    </a:lnTo>
                    <a:lnTo>
                      <a:pt x="53" y="181"/>
                    </a:lnTo>
                    <a:lnTo>
                      <a:pt x="41" y="188"/>
                    </a:lnTo>
                    <a:lnTo>
                      <a:pt x="30" y="184"/>
                    </a:lnTo>
                    <a:lnTo>
                      <a:pt x="30" y="177"/>
                    </a:lnTo>
                    <a:lnTo>
                      <a:pt x="27" y="173"/>
                    </a:lnTo>
                    <a:lnTo>
                      <a:pt x="34" y="175"/>
                    </a:lnTo>
                    <a:lnTo>
                      <a:pt x="39" y="177"/>
                    </a:lnTo>
                    <a:lnTo>
                      <a:pt x="48" y="172"/>
                    </a:lnTo>
                    <a:lnTo>
                      <a:pt x="34" y="166"/>
                    </a:lnTo>
                    <a:lnTo>
                      <a:pt x="25" y="172"/>
                    </a:lnTo>
                    <a:lnTo>
                      <a:pt x="22" y="168"/>
                    </a:lnTo>
                    <a:lnTo>
                      <a:pt x="27" y="165"/>
                    </a:lnTo>
                    <a:lnTo>
                      <a:pt x="27" y="154"/>
                    </a:lnTo>
                    <a:lnTo>
                      <a:pt x="30" y="150"/>
                    </a:lnTo>
                    <a:lnTo>
                      <a:pt x="55" y="150"/>
                    </a:lnTo>
                    <a:lnTo>
                      <a:pt x="62" y="142"/>
                    </a:lnTo>
                    <a:lnTo>
                      <a:pt x="71" y="140"/>
                    </a:lnTo>
                    <a:lnTo>
                      <a:pt x="80" y="135"/>
                    </a:lnTo>
                    <a:lnTo>
                      <a:pt x="85" y="136"/>
                    </a:lnTo>
                    <a:lnTo>
                      <a:pt x="89" y="138"/>
                    </a:lnTo>
                    <a:lnTo>
                      <a:pt x="94" y="133"/>
                    </a:lnTo>
                    <a:lnTo>
                      <a:pt x="98" y="131"/>
                    </a:lnTo>
                    <a:lnTo>
                      <a:pt x="108" y="136"/>
                    </a:lnTo>
                    <a:lnTo>
                      <a:pt x="117" y="138"/>
                    </a:lnTo>
                    <a:lnTo>
                      <a:pt x="128" y="142"/>
                    </a:lnTo>
                    <a:lnTo>
                      <a:pt x="140" y="147"/>
                    </a:lnTo>
                    <a:lnTo>
                      <a:pt x="151" y="147"/>
                    </a:lnTo>
                    <a:lnTo>
                      <a:pt x="153" y="142"/>
                    </a:lnTo>
                    <a:lnTo>
                      <a:pt x="149" y="136"/>
                    </a:lnTo>
                    <a:lnTo>
                      <a:pt x="146" y="136"/>
                    </a:lnTo>
                    <a:lnTo>
                      <a:pt x="128" y="126"/>
                    </a:lnTo>
                    <a:lnTo>
                      <a:pt x="121" y="126"/>
                    </a:lnTo>
                    <a:lnTo>
                      <a:pt x="108" y="119"/>
                    </a:lnTo>
                    <a:lnTo>
                      <a:pt x="98" y="117"/>
                    </a:lnTo>
                    <a:lnTo>
                      <a:pt x="91" y="115"/>
                    </a:lnTo>
                    <a:lnTo>
                      <a:pt x="78" y="120"/>
                    </a:lnTo>
                    <a:lnTo>
                      <a:pt x="64" y="131"/>
                    </a:lnTo>
                    <a:lnTo>
                      <a:pt x="57" y="131"/>
                    </a:lnTo>
                    <a:lnTo>
                      <a:pt x="52" y="135"/>
                    </a:lnTo>
                    <a:lnTo>
                      <a:pt x="32" y="133"/>
                    </a:lnTo>
                    <a:lnTo>
                      <a:pt x="32" y="131"/>
                    </a:lnTo>
                    <a:lnTo>
                      <a:pt x="38" y="126"/>
                    </a:lnTo>
                    <a:lnTo>
                      <a:pt x="27" y="119"/>
                    </a:lnTo>
                    <a:lnTo>
                      <a:pt x="30" y="119"/>
                    </a:lnTo>
                    <a:lnTo>
                      <a:pt x="30" y="110"/>
                    </a:lnTo>
                    <a:lnTo>
                      <a:pt x="23" y="110"/>
                    </a:lnTo>
                    <a:lnTo>
                      <a:pt x="15" y="94"/>
                    </a:lnTo>
                    <a:lnTo>
                      <a:pt x="0" y="81"/>
                    </a:lnTo>
                    <a:lnTo>
                      <a:pt x="25" y="58"/>
                    </a:lnTo>
                    <a:lnTo>
                      <a:pt x="36" y="39"/>
                    </a:lnTo>
                    <a:lnTo>
                      <a:pt x="38" y="2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5" name="Freeform 23">
                <a:extLst>
                  <a:ext uri="{FF2B5EF4-FFF2-40B4-BE49-F238E27FC236}">
                    <a16:creationId xmlns:a16="http://schemas.microsoft.com/office/drawing/2014/main" id="{0CAF2A31-8058-892F-573C-ABDEECCFE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5088" y="3013076"/>
                <a:ext cx="207963" cy="61913"/>
              </a:xfrm>
              <a:custGeom>
                <a:avLst/>
                <a:gdLst>
                  <a:gd name="T0" fmla="*/ 5 w 131"/>
                  <a:gd name="T1" fmla="*/ 39 h 39"/>
                  <a:gd name="T2" fmla="*/ 8 w 131"/>
                  <a:gd name="T3" fmla="*/ 35 h 39"/>
                  <a:gd name="T4" fmla="*/ 33 w 131"/>
                  <a:gd name="T5" fmla="*/ 35 h 39"/>
                  <a:gd name="T6" fmla="*/ 40 w 131"/>
                  <a:gd name="T7" fmla="*/ 27 h 39"/>
                  <a:gd name="T8" fmla="*/ 49 w 131"/>
                  <a:gd name="T9" fmla="*/ 25 h 39"/>
                  <a:gd name="T10" fmla="*/ 58 w 131"/>
                  <a:gd name="T11" fmla="*/ 20 h 39"/>
                  <a:gd name="T12" fmla="*/ 63 w 131"/>
                  <a:gd name="T13" fmla="*/ 21 h 39"/>
                  <a:gd name="T14" fmla="*/ 67 w 131"/>
                  <a:gd name="T15" fmla="*/ 23 h 39"/>
                  <a:gd name="T16" fmla="*/ 72 w 131"/>
                  <a:gd name="T17" fmla="*/ 18 h 39"/>
                  <a:gd name="T18" fmla="*/ 76 w 131"/>
                  <a:gd name="T19" fmla="*/ 16 h 39"/>
                  <a:gd name="T20" fmla="*/ 86 w 131"/>
                  <a:gd name="T21" fmla="*/ 21 h 39"/>
                  <a:gd name="T22" fmla="*/ 95 w 131"/>
                  <a:gd name="T23" fmla="*/ 23 h 39"/>
                  <a:gd name="T24" fmla="*/ 106 w 131"/>
                  <a:gd name="T25" fmla="*/ 27 h 39"/>
                  <a:gd name="T26" fmla="*/ 118 w 131"/>
                  <a:gd name="T27" fmla="*/ 32 h 39"/>
                  <a:gd name="T28" fmla="*/ 129 w 131"/>
                  <a:gd name="T29" fmla="*/ 32 h 39"/>
                  <a:gd name="T30" fmla="*/ 131 w 131"/>
                  <a:gd name="T31" fmla="*/ 27 h 39"/>
                  <a:gd name="T32" fmla="*/ 127 w 131"/>
                  <a:gd name="T33" fmla="*/ 21 h 39"/>
                  <a:gd name="T34" fmla="*/ 124 w 131"/>
                  <a:gd name="T35" fmla="*/ 21 h 39"/>
                  <a:gd name="T36" fmla="*/ 106 w 131"/>
                  <a:gd name="T37" fmla="*/ 11 h 39"/>
                  <a:gd name="T38" fmla="*/ 99 w 131"/>
                  <a:gd name="T39" fmla="*/ 11 h 39"/>
                  <a:gd name="T40" fmla="*/ 86 w 131"/>
                  <a:gd name="T41" fmla="*/ 4 h 39"/>
                  <a:gd name="T42" fmla="*/ 76 w 131"/>
                  <a:gd name="T43" fmla="*/ 2 h 39"/>
                  <a:gd name="T44" fmla="*/ 69 w 131"/>
                  <a:gd name="T45" fmla="*/ 0 h 39"/>
                  <a:gd name="T46" fmla="*/ 56 w 131"/>
                  <a:gd name="T47" fmla="*/ 5 h 39"/>
                  <a:gd name="T48" fmla="*/ 42 w 131"/>
                  <a:gd name="T49" fmla="*/ 16 h 39"/>
                  <a:gd name="T50" fmla="*/ 35 w 131"/>
                  <a:gd name="T51" fmla="*/ 16 h 39"/>
                  <a:gd name="T52" fmla="*/ 30 w 131"/>
                  <a:gd name="T53" fmla="*/ 20 h 39"/>
                  <a:gd name="T54" fmla="*/ 10 w 131"/>
                  <a:gd name="T55" fmla="*/ 18 h 39"/>
                  <a:gd name="T56" fmla="*/ 14 w 131"/>
                  <a:gd name="T57" fmla="*/ 25 h 39"/>
                  <a:gd name="T58" fmla="*/ 24 w 131"/>
                  <a:gd name="T59" fmla="*/ 30 h 39"/>
                  <a:gd name="T60" fmla="*/ 33 w 131"/>
                  <a:gd name="T61" fmla="*/ 28 h 39"/>
                  <a:gd name="T62" fmla="*/ 26 w 131"/>
                  <a:gd name="T63" fmla="*/ 34 h 39"/>
                  <a:gd name="T64" fmla="*/ 16 w 131"/>
                  <a:gd name="T65" fmla="*/ 34 h 39"/>
                  <a:gd name="T66" fmla="*/ 7 w 131"/>
                  <a:gd name="T67" fmla="*/ 23 h 39"/>
                  <a:gd name="T68" fmla="*/ 0 w 131"/>
                  <a:gd name="T69" fmla="*/ 30 h 39"/>
                  <a:gd name="T70" fmla="*/ 5 w 131"/>
                  <a:gd name="T71" fmla="*/ 37 h 39"/>
                  <a:gd name="T72" fmla="*/ 5 w 131"/>
                  <a:gd name="T7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1" h="39">
                    <a:moveTo>
                      <a:pt x="5" y="39"/>
                    </a:moveTo>
                    <a:lnTo>
                      <a:pt x="8" y="35"/>
                    </a:lnTo>
                    <a:lnTo>
                      <a:pt x="33" y="35"/>
                    </a:lnTo>
                    <a:lnTo>
                      <a:pt x="40" y="27"/>
                    </a:lnTo>
                    <a:lnTo>
                      <a:pt x="49" y="25"/>
                    </a:lnTo>
                    <a:lnTo>
                      <a:pt x="58" y="20"/>
                    </a:lnTo>
                    <a:lnTo>
                      <a:pt x="63" y="21"/>
                    </a:lnTo>
                    <a:lnTo>
                      <a:pt x="67" y="23"/>
                    </a:lnTo>
                    <a:lnTo>
                      <a:pt x="72" y="18"/>
                    </a:lnTo>
                    <a:lnTo>
                      <a:pt x="76" y="16"/>
                    </a:lnTo>
                    <a:lnTo>
                      <a:pt x="86" y="21"/>
                    </a:lnTo>
                    <a:lnTo>
                      <a:pt x="95" y="23"/>
                    </a:lnTo>
                    <a:lnTo>
                      <a:pt x="106" y="27"/>
                    </a:lnTo>
                    <a:lnTo>
                      <a:pt x="118" y="32"/>
                    </a:lnTo>
                    <a:lnTo>
                      <a:pt x="129" y="32"/>
                    </a:lnTo>
                    <a:lnTo>
                      <a:pt x="131" y="27"/>
                    </a:lnTo>
                    <a:lnTo>
                      <a:pt x="127" y="21"/>
                    </a:lnTo>
                    <a:lnTo>
                      <a:pt x="124" y="21"/>
                    </a:lnTo>
                    <a:lnTo>
                      <a:pt x="106" y="11"/>
                    </a:lnTo>
                    <a:lnTo>
                      <a:pt x="99" y="11"/>
                    </a:lnTo>
                    <a:lnTo>
                      <a:pt x="86" y="4"/>
                    </a:lnTo>
                    <a:lnTo>
                      <a:pt x="76" y="2"/>
                    </a:lnTo>
                    <a:lnTo>
                      <a:pt x="69" y="0"/>
                    </a:lnTo>
                    <a:lnTo>
                      <a:pt x="56" y="5"/>
                    </a:lnTo>
                    <a:lnTo>
                      <a:pt x="42" y="16"/>
                    </a:lnTo>
                    <a:lnTo>
                      <a:pt x="35" y="16"/>
                    </a:lnTo>
                    <a:lnTo>
                      <a:pt x="30" y="20"/>
                    </a:lnTo>
                    <a:lnTo>
                      <a:pt x="10" y="18"/>
                    </a:lnTo>
                    <a:lnTo>
                      <a:pt x="14" y="25"/>
                    </a:lnTo>
                    <a:lnTo>
                      <a:pt x="24" y="30"/>
                    </a:lnTo>
                    <a:lnTo>
                      <a:pt x="33" y="28"/>
                    </a:lnTo>
                    <a:lnTo>
                      <a:pt x="26" y="34"/>
                    </a:lnTo>
                    <a:lnTo>
                      <a:pt x="16" y="34"/>
                    </a:lnTo>
                    <a:lnTo>
                      <a:pt x="7" y="23"/>
                    </a:lnTo>
                    <a:lnTo>
                      <a:pt x="0" y="30"/>
                    </a:lnTo>
                    <a:lnTo>
                      <a:pt x="5" y="37"/>
                    </a:lnTo>
                    <a:lnTo>
                      <a:pt x="5" y="3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6" name="Freeform 24">
                <a:extLst>
                  <a:ext uri="{FF2B5EF4-FFF2-40B4-BE49-F238E27FC236}">
                    <a16:creationId xmlns:a16="http://schemas.microsoft.com/office/drawing/2014/main" id="{6534ABDB-1C33-DBB5-DDFC-FB64205A1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788" y="3094038"/>
                <a:ext cx="200025" cy="123825"/>
              </a:xfrm>
              <a:custGeom>
                <a:avLst/>
                <a:gdLst>
                  <a:gd name="T0" fmla="*/ 0 w 126"/>
                  <a:gd name="T1" fmla="*/ 18 h 78"/>
                  <a:gd name="T2" fmla="*/ 11 w 126"/>
                  <a:gd name="T3" fmla="*/ 22 h 78"/>
                  <a:gd name="T4" fmla="*/ 23 w 126"/>
                  <a:gd name="T5" fmla="*/ 15 h 78"/>
                  <a:gd name="T6" fmla="*/ 52 w 126"/>
                  <a:gd name="T7" fmla="*/ 18 h 78"/>
                  <a:gd name="T8" fmla="*/ 59 w 126"/>
                  <a:gd name="T9" fmla="*/ 7 h 78"/>
                  <a:gd name="T10" fmla="*/ 75 w 126"/>
                  <a:gd name="T11" fmla="*/ 0 h 78"/>
                  <a:gd name="T12" fmla="*/ 112 w 126"/>
                  <a:gd name="T13" fmla="*/ 2 h 78"/>
                  <a:gd name="T14" fmla="*/ 123 w 126"/>
                  <a:gd name="T15" fmla="*/ 4 h 78"/>
                  <a:gd name="T16" fmla="*/ 124 w 126"/>
                  <a:gd name="T17" fmla="*/ 18 h 78"/>
                  <a:gd name="T18" fmla="*/ 123 w 126"/>
                  <a:gd name="T19" fmla="*/ 23 h 78"/>
                  <a:gd name="T20" fmla="*/ 123 w 126"/>
                  <a:gd name="T21" fmla="*/ 38 h 78"/>
                  <a:gd name="T22" fmla="*/ 126 w 126"/>
                  <a:gd name="T23" fmla="*/ 43 h 78"/>
                  <a:gd name="T24" fmla="*/ 126 w 126"/>
                  <a:gd name="T25" fmla="*/ 50 h 78"/>
                  <a:gd name="T26" fmla="*/ 119 w 126"/>
                  <a:gd name="T27" fmla="*/ 55 h 78"/>
                  <a:gd name="T28" fmla="*/ 105 w 126"/>
                  <a:gd name="T29" fmla="*/ 57 h 78"/>
                  <a:gd name="T30" fmla="*/ 94 w 126"/>
                  <a:gd name="T31" fmla="*/ 64 h 78"/>
                  <a:gd name="T32" fmla="*/ 85 w 126"/>
                  <a:gd name="T33" fmla="*/ 66 h 78"/>
                  <a:gd name="T34" fmla="*/ 80 w 126"/>
                  <a:gd name="T35" fmla="*/ 77 h 78"/>
                  <a:gd name="T36" fmla="*/ 71 w 126"/>
                  <a:gd name="T37" fmla="*/ 78 h 78"/>
                  <a:gd name="T38" fmla="*/ 70 w 126"/>
                  <a:gd name="T39" fmla="*/ 77 h 78"/>
                  <a:gd name="T40" fmla="*/ 70 w 126"/>
                  <a:gd name="T41" fmla="*/ 69 h 78"/>
                  <a:gd name="T42" fmla="*/ 52 w 126"/>
                  <a:gd name="T43" fmla="*/ 71 h 78"/>
                  <a:gd name="T44" fmla="*/ 62 w 126"/>
                  <a:gd name="T45" fmla="*/ 61 h 78"/>
                  <a:gd name="T46" fmla="*/ 57 w 126"/>
                  <a:gd name="T47" fmla="*/ 61 h 78"/>
                  <a:gd name="T48" fmla="*/ 59 w 126"/>
                  <a:gd name="T49" fmla="*/ 57 h 78"/>
                  <a:gd name="T50" fmla="*/ 55 w 126"/>
                  <a:gd name="T51" fmla="*/ 54 h 78"/>
                  <a:gd name="T52" fmla="*/ 48 w 126"/>
                  <a:gd name="T53" fmla="*/ 52 h 78"/>
                  <a:gd name="T54" fmla="*/ 47 w 126"/>
                  <a:gd name="T55" fmla="*/ 48 h 78"/>
                  <a:gd name="T56" fmla="*/ 68 w 126"/>
                  <a:gd name="T57" fmla="*/ 48 h 78"/>
                  <a:gd name="T58" fmla="*/ 71 w 126"/>
                  <a:gd name="T59" fmla="*/ 45 h 78"/>
                  <a:gd name="T60" fmla="*/ 59 w 126"/>
                  <a:gd name="T61" fmla="*/ 39 h 78"/>
                  <a:gd name="T62" fmla="*/ 50 w 126"/>
                  <a:gd name="T63" fmla="*/ 41 h 78"/>
                  <a:gd name="T64" fmla="*/ 39 w 126"/>
                  <a:gd name="T65" fmla="*/ 45 h 78"/>
                  <a:gd name="T66" fmla="*/ 34 w 126"/>
                  <a:gd name="T67" fmla="*/ 45 h 78"/>
                  <a:gd name="T68" fmla="*/ 32 w 126"/>
                  <a:gd name="T69" fmla="*/ 39 h 78"/>
                  <a:gd name="T70" fmla="*/ 23 w 126"/>
                  <a:gd name="T71" fmla="*/ 39 h 78"/>
                  <a:gd name="T72" fmla="*/ 16 w 126"/>
                  <a:gd name="T73" fmla="*/ 32 h 78"/>
                  <a:gd name="T74" fmla="*/ 23 w 126"/>
                  <a:gd name="T75" fmla="*/ 25 h 78"/>
                  <a:gd name="T76" fmla="*/ 18 w 126"/>
                  <a:gd name="T77" fmla="*/ 25 h 78"/>
                  <a:gd name="T78" fmla="*/ 4 w 126"/>
                  <a:gd name="T79" fmla="*/ 25 h 78"/>
                  <a:gd name="T80" fmla="*/ 0 w 126"/>
                  <a:gd name="T81" fmla="*/ 18 h 78"/>
                  <a:gd name="T82" fmla="*/ 0 w 126"/>
                  <a:gd name="T83" fmla="*/ 1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6" h="78">
                    <a:moveTo>
                      <a:pt x="0" y="18"/>
                    </a:moveTo>
                    <a:lnTo>
                      <a:pt x="11" y="22"/>
                    </a:lnTo>
                    <a:lnTo>
                      <a:pt x="23" y="15"/>
                    </a:lnTo>
                    <a:lnTo>
                      <a:pt x="52" y="18"/>
                    </a:lnTo>
                    <a:lnTo>
                      <a:pt x="59" y="7"/>
                    </a:lnTo>
                    <a:lnTo>
                      <a:pt x="75" y="0"/>
                    </a:lnTo>
                    <a:lnTo>
                      <a:pt x="112" y="2"/>
                    </a:lnTo>
                    <a:lnTo>
                      <a:pt x="123" y="4"/>
                    </a:lnTo>
                    <a:lnTo>
                      <a:pt x="124" y="18"/>
                    </a:lnTo>
                    <a:lnTo>
                      <a:pt x="123" y="23"/>
                    </a:lnTo>
                    <a:lnTo>
                      <a:pt x="123" y="38"/>
                    </a:lnTo>
                    <a:lnTo>
                      <a:pt x="126" y="43"/>
                    </a:lnTo>
                    <a:lnTo>
                      <a:pt x="126" y="50"/>
                    </a:lnTo>
                    <a:lnTo>
                      <a:pt x="119" y="55"/>
                    </a:lnTo>
                    <a:lnTo>
                      <a:pt x="105" y="57"/>
                    </a:lnTo>
                    <a:lnTo>
                      <a:pt x="94" y="64"/>
                    </a:lnTo>
                    <a:lnTo>
                      <a:pt x="85" y="66"/>
                    </a:lnTo>
                    <a:lnTo>
                      <a:pt x="80" y="77"/>
                    </a:lnTo>
                    <a:lnTo>
                      <a:pt x="71" y="78"/>
                    </a:lnTo>
                    <a:lnTo>
                      <a:pt x="70" y="77"/>
                    </a:lnTo>
                    <a:lnTo>
                      <a:pt x="70" y="69"/>
                    </a:lnTo>
                    <a:lnTo>
                      <a:pt x="52" y="71"/>
                    </a:lnTo>
                    <a:lnTo>
                      <a:pt x="62" y="61"/>
                    </a:lnTo>
                    <a:lnTo>
                      <a:pt x="57" y="61"/>
                    </a:lnTo>
                    <a:lnTo>
                      <a:pt x="59" y="57"/>
                    </a:lnTo>
                    <a:lnTo>
                      <a:pt x="55" y="54"/>
                    </a:lnTo>
                    <a:lnTo>
                      <a:pt x="48" y="52"/>
                    </a:lnTo>
                    <a:lnTo>
                      <a:pt x="47" y="48"/>
                    </a:lnTo>
                    <a:lnTo>
                      <a:pt x="68" y="48"/>
                    </a:lnTo>
                    <a:lnTo>
                      <a:pt x="71" y="45"/>
                    </a:lnTo>
                    <a:lnTo>
                      <a:pt x="59" y="39"/>
                    </a:lnTo>
                    <a:lnTo>
                      <a:pt x="50" y="41"/>
                    </a:lnTo>
                    <a:lnTo>
                      <a:pt x="39" y="45"/>
                    </a:lnTo>
                    <a:lnTo>
                      <a:pt x="34" y="45"/>
                    </a:lnTo>
                    <a:lnTo>
                      <a:pt x="32" y="39"/>
                    </a:lnTo>
                    <a:lnTo>
                      <a:pt x="23" y="39"/>
                    </a:lnTo>
                    <a:lnTo>
                      <a:pt x="16" y="32"/>
                    </a:lnTo>
                    <a:lnTo>
                      <a:pt x="23" y="25"/>
                    </a:lnTo>
                    <a:lnTo>
                      <a:pt x="18" y="25"/>
                    </a:lnTo>
                    <a:lnTo>
                      <a:pt x="4" y="25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5" name="Freeform 25">
                <a:extLst>
                  <a:ext uri="{FF2B5EF4-FFF2-40B4-BE49-F238E27FC236}">
                    <a16:creationId xmlns:a16="http://schemas.microsoft.com/office/drawing/2014/main" id="{770DF131-CF18-1747-BDF1-ED33FCEC6F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4788" y="3097213"/>
                <a:ext cx="466725" cy="461963"/>
              </a:xfrm>
              <a:custGeom>
                <a:avLst/>
                <a:gdLst>
                  <a:gd name="T0" fmla="*/ 5 w 294"/>
                  <a:gd name="T1" fmla="*/ 64 h 291"/>
                  <a:gd name="T2" fmla="*/ 25 w 294"/>
                  <a:gd name="T3" fmla="*/ 55 h 291"/>
                  <a:gd name="T4" fmla="*/ 46 w 294"/>
                  <a:gd name="T5" fmla="*/ 48 h 291"/>
                  <a:gd name="T6" fmla="*/ 43 w 294"/>
                  <a:gd name="T7" fmla="*/ 36 h 291"/>
                  <a:gd name="T8" fmla="*/ 44 w 294"/>
                  <a:gd name="T9" fmla="*/ 16 h 291"/>
                  <a:gd name="T10" fmla="*/ 50 w 294"/>
                  <a:gd name="T11" fmla="*/ 0 h 291"/>
                  <a:gd name="T12" fmla="*/ 94 w 294"/>
                  <a:gd name="T13" fmla="*/ 9 h 291"/>
                  <a:gd name="T14" fmla="*/ 114 w 294"/>
                  <a:gd name="T15" fmla="*/ 14 h 291"/>
                  <a:gd name="T16" fmla="*/ 133 w 294"/>
                  <a:gd name="T17" fmla="*/ 16 h 291"/>
                  <a:gd name="T18" fmla="*/ 145 w 294"/>
                  <a:gd name="T19" fmla="*/ 20 h 291"/>
                  <a:gd name="T20" fmla="*/ 154 w 294"/>
                  <a:gd name="T21" fmla="*/ 29 h 291"/>
                  <a:gd name="T22" fmla="*/ 168 w 294"/>
                  <a:gd name="T23" fmla="*/ 27 h 291"/>
                  <a:gd name="T24" fmla="*/ 183 w 294"/>
                  <a:gd name="T25" fmla="*/ 36 h 291"/>
                  <a:gd name="T26" fmla="*/ 202 w 294"/>
                  <a:gd name="T27" fmla="*/ 29 h 291"/>
                  <a:gd name="T28" fmla="*/ 215 w 294"/>
                  <a:gd name="T29" fmla="*/ 18 h 291"/>
                  <a:gd name="T30" fmla="*/ 234 w 294"/>
                  <a:gd name="T31" fmla="*/ 21 h 291"/>
                  <a:gd name="T32" fmla="*/ 246 w 294"/>
                  <a:gd name="T33" fmla="*/ 16 h 291"/>
                  <a:gd name="T34" fmla="*/ 255 w 294"/>
                  <a:gd name="T35" fmla="*/ 29 h 291"/>
                  <a:gd name="T36" fmla="*/ 257 w 294"/>
                  <a:gd name="T37" fmla="*/ 48 h 291"/>
                  <a:gd name="T38" fmla="*/ 271 w 294"/>
                  <a:gd name="T39" fmla="*/ 53 h 291"/>
                  <a:gd name="T40" fmla="*/ 264 w 294"/>
                  <a:gd name="T41" fmla="*/ 69 h 291"/>
                  <a:gd name="T42" fmla="*/ 266 w 294"/>
                  <a:gd name="T43" fmla="*/ 78 h 291"/>
                  <a:gd name="T44" fmla="*/ 277 w 294"/>
                  <a:gd name="T45" fmla="*/ 73 h 291"/>
                  <a:gd name="T46" fmla="*/ 280 w 294"/>
                  <a:gd name="T47" fmla="*/ 85 h 291"/>
                  <a:gd name="T48" fmla="*/ 291 w 294"/>
                  <a:gd name="T49" fmla="*/ 91 h 291"/>
                  <a:gd name="T50" fmla="*/ 294 w 294"/>
                  <a:gd name="T51" fmla="*/ 101 h 291"/>
                  <a:gd name="T52" fmla="*/ 275 w 294"/>
                  <a:gd name="T53" fmla="*/ 108 h 291"/>
                  <a:gd name="T54" fmla="*/ 278 w 294"/>
                  <a:gd name="T55" fmla="*/ 119 h 291"/>
                  <a:gd name="T56" fmla="*/ 278 w 294"/>
                  <a:gd name="T57" fmla="*/ 144 h 291"/>
                  <a:gd name="T58" fmla="*/ 284 w 294"/>
                  <a:gd name="T59" fmla="*/ 161 h 291"/>
                  <a:gd name="T60" fmla="*/ 289 w 294"/>
                  <a:gd name="T61" fmla="*/ 176 h 291"/>
                  <a:gd name="T62" fmla="*/ 277 w 294"/>
                  <a:gd name="T63" fmla="*/ 177 h 291"/>
                  <a:gd name="T64" fmla="*/ 284 w 294"/>
                  <a:gd name="T65" fmla="*/ 191 h 291"/>
                  <a:gd name="T66" fmla="*/ 285 w 294"/>
                  <a:gd name="T67" fmla="*/ 204 h 291"/>
                  <a:gd name="T68" fmla="*/ 268 w 294"/>
                  <a:gd name="T69" fmla="*/ 230 h 291"/>
                  <a:gd name="T70" fmla="*/ 268 w 294"/>
                  <a:gd name="T71" fmla="*/ 245 h 291"/>
                  <a:gd name="T72" fmla="*/ 255 w 294"/>
                  <a:gd name="T73" fmla="*/ 266 h 291"/>
                  <a:gd name="T74" fmla="*/ 193 w 294"/>
                  <a:gd name="T75" fmla="*/ 291 h 291"/>
                  <a:gd name="T76" fmla="*/ 172 w 294"/>
                  <a:gd name="T77" fmla="*/ 280 h 291"/>
                  <a:gd name="T78" fmla="*/ 154 w 294"/>
                  <a:gd name="T79" fmla="*/ 262 h 291"/>
                  <a:gd name="T80" fmla="*/ 156 w 294"/>
                  <a:gd name="T81" fmla="*/ 255 h 291"/>
                  <a:gd name="T82" fmla="*/ 176 w 294"/>
                  <a:gd name="T83" fmla="*/ 188 h 291"/>
                  <a:gd name="T84" fmla="*/ 174 w 294"/>
                  <a:gd name="T85" fmla="*/ 179 h 291"/>
                  <a:gd name="T86" fmla="*/ 179 w 294"/>
                  <a:gd name="T87" fmla="*/ 170 h 291"/>
                  <a:gd name="T88" fmla="*/ 172 w 294"/>
                  <a:gd name="T89" fmla="*/ 156 h 291"/>
                  <a:gd name="T90" fmla="*/ 163 w 294"/>
                  <a:gd name="T91" fmla="*/ 131 h 291"/>
                  <a:gd name="T92" fmla="*/ 153 w 294"/>
                  <a:gd name="T93" fmla="*/ 114 h 291"/>
                  <a:gd name="T94" fmla="*/ 106 w 294"/>
                  <a:gd name="T95" fmla="*/ 117 h 291"/>
                  <a:gd name="T96" fmla="*/ 89 w 294"/>
                  <a:gd name="T97" fmla="*/ 135 h 291"/>
                  <a:gd name="T98" fmla="*/ 76 w 294"/>
                  <a:gd name="T99" fmla="*/ 147 h 291"/>
                  <a:gd name="T100" fmla="*/ 64 w 294"/>
                  <a:gd name="T101" fmla="*/ 142 h 291"/>
                  <a:gd name="T102" fmla="*/ 50 w 294"/>
                  <a:gd name="T103" fmla="*/ 124 h 291"/>
                  <a:gd name="T104" fmla="*/ 37 w 294"/>
                  <a:gd name="T105" fmla="*/ 121 h 291"/>
                  <a:gd name="T106" fmla="*/ 41 w 294"/>
                  <a:gd name="T107" fmla="*/ 110 h 291"/>
                  <a:gd name="T108" fmla="*/ 30 w 294"/>
                  <a:gd name="T109" fmla="*/ 112 h 291"/>
                  <a:gd name="T110" fmla="*/ 14 w 294"/>
                  <a:gd name="T111" fmla="*/ 110 h 291"/>
                  <a:gd name="T112" fmla="*/ 9 w 294"/>
                  <a:gd name="T113" fmla="*/ 82 h 291"/>
                  <a:gd name="T114" fmla="*/ 0 w 294"/>
                  <a:gd name="T115" fmla="*/ 75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94" h="291">
                    <a:moveTo>
                      <a:pt x="0" y="75"/>
                    </a:moveTo>
                    <a:lnTo>
                      <a:pt x="5" y="64"/>
                    </a:lnTo>
                    <a:lnTo>
                      <a:pt x="14" y="62"/>
                    </a:lnTo>
                    <a:lnTo>
                      <a:pt x="25" y="55"/>
                    </a:lnTo>
                    <a:lnTo>
                      <a:pt x="39" y="53"/>
                    </a:lnTo>
                    <a:lnTo>
                      <a:pt x="46" y="48"/>
                    </a:lnTo>
                    <a:lnTo>
                      <a:pt x="46" y="41"/>
                    </a:lnTo>
                    <a:lnTo>
                      <a:pt x="43" y="36"/>
                    </a:lnTo>
                    <a:lnTo>
                      <a:pt x="43" y="21"/>
                    </a:lnTo>
                    <a:lnTo>
                      <a:pt x="44" y="16"/>
                    </a:lnTo>
                    <a:lnTo>
                      <a:pt x="43" y="2"/>
                    </a:lnTo>
                    <a:lnTo>
                      <a:pt x="50" y="0"/>
                    </a:lnTo>
                    <a:lnTo>
                      <a:pt x="76" y="0"/>
                    </a:lnTo>
                    <a:lnTo>
                      <a:pt x="94" y="9"/>
                    </a:lnTo>
                    <a:lnTo>
                      <a:pt x="101" y="14"/>
                    </a:lnTo>
                    <a:lnTo>
                      <a:pt x="114" y="14"/>
                    </a:lnTo>
                    <a:lnTo>
                      <a:pt x="126" y="20"/>
                    </a:lnTo>
                    <a:lnTo>
                      <a:pt x="133" y="16"/>
                    </a:lnTo>
                    <a:lnTo>
                      <a:pt x="142" y="16"/>
                    </a:lnTo>
                    <a:lnTo>
                      <a:pt x="145" y="20"/>
                    </a:lnTo>
                    <a:lnTo>
                      <a:pt x="154" y="21"/>
                    </a:lnTo>
                    <a:lnTo>
                      <a:pt x="154" y="29"/>
                    </a:lnTo>
                    <a:lnTo>
                      <a:pt x="160" y="30"/>
                    </a:lnTo>
                    <a:lnTo>
                      <a:pt x="168" y="27"/>
                    </a:lnTo>
                    <a:lnTo>
                      <a:pt x="174" y="29"/>
                    </a:lnTo>
                    <a:lnTo>
                      <a:pt x="183" y="36"/>
                    </a:lnTo>
                    <a:lnTo>
                      <a:pt x="193" y="36"/>
                    </a:lnTo>
                    <a:lnTo>
                      <a:pt x="202" y="29"/>
                    </a:lnTo>
                    <a:lnTo>
                      <a:pt x="207" y="29"/>
                    </a:lnTo>
                    <a:lnTo>
                      <a:pt x="215" y="18"/>
                    </a:lnTo>
                    <a:lnTo>
                      <a:pt x="223" y="16"/>
                    </a:lnTo>
                    <a:lnTo>
                      <a:pt x="234" y="21"/>
                    </a:lnTo>
                    <a:lnTo>
                      <a:pt x="238" y="18"/>
                    </a:lnTo>
                    <a:lnTo>
                      <a:pt x="246" y="16"/>
                    </a:lnTo>
                    <a:lnTo>
                      <a:pt x="246" y="20"/>
                    </a:lnTo>
                    <a:lnTo>
                      <a:pt x="255" y="29"/>
                    </a:lnTo>
                    <a:lnTo>
                      <a:pt x="261" y="37"/>
                    </a:lnTo>
                    <a:lnTo>
                      <a:pt x="257" y="48"/>
                    </a:lnTo>
                    <a:lnTo>
                      <a:pt x="262" y="52"/>
                    </a:lnTo>
                    <a:lnTo>
                      <a:pt x="271" y="53"/>
                    </a:lnTo>
                    <a:lnTo>
                      <a:pt x="271" y="59"/>
                    </a:lnTo>
                    <a:lnTo>
                      <a:pt x="264" y="69"/>
                    </a:lnTo>
                    <a:lnTo>
                      <a:pt x="259" y="80"/>
                    </a:lnTo>
                    <a:lnTo>
                      <a:pt x="266" y="78"/>
                    </a:lnTo>
                    <a:lnTo>
                      <a:pt x="271" y="73"/>
                    </a:lnTo>
                    <a:lnTo>
                      <a:pt x="277" y="73"/>
                    </a:lnTo>
                    <a:lnTo>
                      <a:pt x="277" y="82"/>
                    </a:lnTo>
                    <a:lnTo>
                      <a:pt x="280" y="85"/>
                    </a:lnTo>
                    <a:lnTo>
                      <a:pt x="280" y="91"/>
                    </a:lnTo>
                    <a:lnTo>
                      <a:pt x="291" y="91"/>
                    </a:lnTo>
                    <a:lnTo>
                      <a:pt x="294" y="96"/>
                    </a:lnTo>
                    <a:lnTo>
                      <a:pt x="294" y="101"/>
                    </a:lnTo>
                    <a:lnTo>
                      <a:pt x="291" y="103"/>
                    </a:lnTo>
                    <a:lnTo>
                      <a:pt x="275" y="108"/>
                    </a:lnTo>
                    <a:lnTo>
                      <a:pt x="275" y="115"/>
                    </a:lnTo>
                    <a:lnTo>
                      <a:pt x="278" y="119"/>
                    </a:lnTo>
                    <a:lnTo>
                      <a:pt x="280" y="138"/>
                    </a:lnTo>
                    <a:lnTo>
                      <a:pt x="278" y="144"/>
                    </a:lnTo>
                    <a:lnTo>
                      <a:pt x="280" y="160"/>
                    </a:lnTo>
                    <a:lnTo>
                      <a:pt x="284" y="161"/>
                    </a:lnTo>
                    <a:lnTo>
                      <a:pt x="289" y="170"/>
                    </a:lnTo>
                    <a:lnTo>
                      <a:pt x="289" y="176"/>
                    </a:lnTo>
                    <a:lnTo>
                      <a:pt x="282" y="176"/>
                    </a:lnTo>
                    <a:lnTo>
                      <a:pt x="277" y="177"/>
                    </a:lnTo>
                    <a:lnTo>
                      <a:pt x="277" y="183"/>
                    </a:lnTo>
                    <a:lnTo>
                      <a:pt x="284" y="191"/>
                    </a:lnTo>
                    <a:lnTo>
                      <a:pt x="287" y="195"/>
                    </a:lnTo>
                    <a:lnTo>
                      <a:pt x="285" y="204"/>
                    </a:lnTo>
                    <a:lnTo>
                      <a:pt x="275" y="229"/>
                    </a:lnTo>
                    <a:lnTo>
                      <a:pt x="268" y="230"/>
                    </a:lnTo>
                    <a:lnTo>
                      <a:pt x="266" y="236"/>
                    </a:lnTo>
                    <a:lnTo>
                      <a:pt x="268" y="245"/>
                    </a:lnTo>
                    <a:lnTo>
                      <a:pt x="262" y="259"/>
                    </a:lnTo>
                    <a:lnTo>
                      <a:pt x="255" y="266"/>
                    </a:lnTo>
                    <a:lnTo>
                      <a:pt x="257" y="269"/>
                    </a:lnTo>
                    <a:lnTo>
                      <a:pt x="193" y="291"/>
                    </a:lnTo>
                    <a:lnTo>
                      <a:pt x="177" y="280"/>
                    </a:lnTo>
                    <a:lnTo>
                      <a:pt x="172" y="280"/>
                    </a:lnTo>
                    <a:lnTo>
                      <a:pt x="161" y="264"/>
                    </a:lnTo>
                    <a:lnTo>
                      <a:pt x="154" y="262"/>
                    </a:lnTo>
                    <a:lnTo>
                      <a:pt x="158" y="255"/>
                    </a:lnTo>
                    <a:lnTo>
                      <a:pt x="156" y="255"/>
                    </a:lnTo>
                    <a:lnTo>
                      <a:pt x="174" y="243"/>
                    </a:lnTo>
                    <a:lnTo>
                      <a:pt x="176" y="188"/>
                    </a:lnTo>
                    <a:lnTo>
                      <a:pt x="177" y="181"/>
                    </a:lnTo>
                    <a:lnTo>
                      <a:pt x="174" y="179"/>
                    </a:lnTo>
                    <a:lnTo>
                      <a:pt x="174" y="172"/>
                    </a:lnTo>
                    <a:lnTo>
                      <a:pt x="179" y="170"/>
                    </a:lnTo>
                    <a:lnTo>
                      <a:pt x="179" y="163"/>
                    </a:lnTo>
                    <a:lnTo>
                      <a:pt x="172" y="156"/>
                    </a:lnTo>
                    <a:lnTo>
                      <a:pt x="172" y="149"/>
                    </a:lnTo>
                    <a:lnTo>
                      <a:pt x="163" y="131"/>
                    </a:lnTo>
                    <a:lnTo>
                      <a:pt x="158" y="124"/>
                    </a:lnTo>
                    <a:lnTo>
                      <a:pt x="153" y="114"/>
                    </a:lnTo>
                    <a:lnTo>
                      <a:pt x="117" y="114"/>
                    </a:lnTo>
                    <a:lnTo>
                      <a:pt x="106" y="117"/>
                    </a:lnTo>
                    <a:lnTo>
                      <a:pt x="101" y="124"/>
                    </a:lnTo>
                    <a:lnTo>
                      <a:pt x="89" y="135"/>
                    </a:lnTo>
                    <a:lnTo>
                      <a:pt x="89" y="140"/>
                    </a:lnTo>
                    <a:lnTo>
                      <a:pt x="76" y="147"/>
                    </a:lnTo>
                    <a:lnTo>
                      <a:pt x="69" y="147"/>
                    </a:lnTo>
                    <a:lnTo>
                      <a:pt x="64" y="142"/>
                    </a:lnTo>
                    <a:lnTo>
                      <a:pt x="52" y="137"/>
                    </a:lnTo>
                    <a:lnTo>
                      <a:pt x="50" y="124"/>
                    </a:lnTo>
                    <a:lnTo>
                      <a:pt x="41" y="124"/>
                    </a:lnTo>
                    <a:lnTo>
                      <a:pt x="37" y="121"/>
                    </a:lnTo>
                    <a:lnTo>
                      <a:pt x="37" y="114"/>
                    </a:lnTo>
                    <a:lnTo>
                      <a:pt x="41" y="110"/>
                    </a:lnTo>
                    <a:lnTo>
                      <a:pt x="34" y="106"/>
                    </a:lnTo>
                    <a:lnTo>
                      <a:pt x="30" y="112"/>
                    </a:lnTo>
                    <a:lnTo>
                      <a:pt x="23" y="110"/>
                    </a:lnTo>
                    <a:lnTo>
                      <a:pt x="14" y="110"/>
                    </a:lnTo>
                    <a:lnTo>
                      <a:pt x="4" y="96"/>
                    </a:lnTo>
                    <a:lnTo>
                      <a:pt x="9" y="82"/>
                    </a:lnTo>
                    <a:lnTo>
                      <a:pt x="2" y="75"/>
                    </a:lnTo>
                    <a:lnTo>
                      <a:pt x="0" y="7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6" name="Freeform 26">
                <a:extLst>
                  <a:ext uri="{FF2B5EF4-FFF2-40B4-BE49-F238E27FC236}">
                    <a16:creationId xmlns:a16="http://schemas.microsoft.com/office/drawing/2014/main" id="{94135603-EA58-A0CF-DDAB-455D37808A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9563" y="3278188"/>
                <a:ext cx="179388" cy="223838"/>
              </a:xfrm>
              <a:custGeom>
                <a:avLst/>
                <a:gdLst>
                  <a:gd name="T0" fmla="*/ 30 w 113"/>
                  <a:gd name="T1" fmla="*/ 120 h 141"/>
                  <a:gd name="T2" fmla="*/ 30 w 113"/>
                  <a:gd name="T3" fmla="*/ 115 h 141"/>
                  <a:gd name="T4" fmla="*/ 26 w 113"/>
                  <a:gd name="T5" fmla="*/ 109 h 141"/>
                  <a:gd name="T6" fmla="*/ 21 w 113"/>
                  <a:gd name="T7" fmla="*/ 109 h 141"/>
                  <a:gd name="T8" fmla="*/ 19 w 113"/>
                  <a:gd name="T9" fmla="*/ 113 h 141"/>
                  <a:gd name="T10" fmla="*/ 21 w 113"/>
                  <a:gd name="T11" fmla="*/ 116 h 141"/>
                  <a:gd name="T12" fmla="*/ 26 w 113"/>
                  <a:gd name="T13" fmla="*/ 120 h 141"/>
                  <a:gd name="T14" fmla="*/ 30 w 113"/>
                  <a:gd name="T15" fmla="*/ 120 h 141"/>
                  <a:gd name="T16" fmla="*/ 30 w 113"/>
                  <a:gd name="T17" fmla="*/ 120 h 141"/>
                  <a:gd name="T18" fmla="*/ 3 w 113"/>
                  <a:gd name="T19" fmla="*/ 33 h 141"/>
                  <a:gd name="T20" fmla="*/ 10 w 113"/>
                  <a:gd name="T21" fmla="*/ 33 h 141"/>
                  <a:gd name="T22" fmla="*/ 23 w 113"/>
                  <a:gd name="T23" fmla="*/ 26 h 141"/>
                  <a:gd name="T24" fmla="*/ 23 w 113"/>
                  <a:gd name="T25" fmla="*/ 21 h 141"/>
                  <a:gd name="T26" fmla="*/ 35 w 113"/>
                  <a:gd name="T27" fmla="*/ 10 h 141"/>
                  <a:gd name="T28" fmla="*/ 40 w 113"/>
                  <a:gd name="T29" fmla="*/ 3 h 141"/>
                  <a:gd name="T30" fmla="*/ 51 w 113"/>
                  <a:gd name="T31" fmla="*/ 0 h 141"/>
                  <a:gd name="T32" fmla="*/ 87 w 113"/>
                  <a:gd name="T33" fmla="*/ 0 h 141"/>
                  <a:gd name="T34" fmla="*/ 92 w 113"/>
                  <a:gd name="T35" fmla="*/ 10 h 141"/>
                  <a:gd name="T36" fmla="*/ 97 w 113"/>
                  <a:gd name="T37" fmla="*/ 17 h 141"/>
                  <a:gd name="T38" fmla="*/ 106 w 113"/>
                  <a:gd name="T39" fmla="*/ 35 h 141"/>
                  <a:gd name="T40" fmla="*/ 106 w 113"/>
                  <a:gd name="T41" fmla="*/ 42 h 141"/>
                  <a:gd name="T42" fmla="*/ 113 w 113"/>
                  <a:gd name="T43" fmla="*/ 49 h 141"/>
                  <a:gd name="T44" fmla="*/ 113 w 113"/>
                  <a:gd name="T45" fmla="*/ 56 h 141"/>
                  <a:gd name="T46" fmla="*/ 108 w 113"/>
                  <a:gd name="T47" fmla="*/ 58 h 141"/>
                  <a:gd name="T48" fmla="*/ 108 w 113"/>
                  <a:gd name="T49" fmla="*/ 65 h 141"/>
                  <a:gd name="T50" fmla="*/ 111 w 113"/>
                  <a:gd name="T51" fmla="*/ 67 h 141"/>
                  <a:gd name="T52" fmla="*/ 110 w 113"/>
                  <a:gd name="T53" fmla="*/ 74 h 141"/>
                  <a:gd name="T54" fmla="*/ 108 w 113"/>
                  <a:gd name="T55" fmla="*/ 129 h 141"/>
                  <a:gd name="T56" fmla="*/ 90 w 113"/>
                  <a:gd name="T57" fmla="*/ 141 h 141"/>
                  <a:gd name="T58" fmla="*/ 85 w 113"/>
                  <a:gd name="T59" fmla="*/ 138 h 141"/>
                  <a:gd name="T60" fmla="*/ 69 w 113"/>
                  <a:gd name="T61" fmla="*/ 138 h 141"/>
                  <a:gd name="T62" fmla="*/ 48 w 113"/>
                  <a:gd name="T63" fmla="*/ 127 h 141"/>
                  <a:gd name="T64" fmla="*/ 37 w 113"/>
                  <a:gd name="T65" fmla="*/ 124 h 141"/>
                  <a:gd name="T66" fmla="*/ 40 w 113"/>
                  <a:gd name="T67" fmla="*/ 120 h 141"/>
                  <a:gd name="T68" fmla="*/ 33 w 113"/>
                  <a:gd name="T69" fmla="*/ 113 h 141"/>
                  <a:gd name="T70" fmla="*/ 30 w 113"/>
                  <a:gd name="T71" fmla="*/ 108 h 141"/>
                  <a:gd name="T72" fmla="*/ 33 w 113"/>
                  <a:gd name="T73" fmla="*/ 101 h 141"/>
                  <a:gd name="T74" fmla="*/ 32 w 113"/>
                  <a:gd name="T75" fmla="*/ 99 h 141"/>
                  <a:gd name="T76" fmla="*/ 25 w 113"/>
                  <a:gd name="T77" fmla="*/ 102 h 141"/>
                  <a:gd name="T78" fmla="*/ 14 w 113"/>
                  <a:gd name="T79" fmla="*/ 92 h 141"/>
                  <a:gd name="T80" fmla="*/ 14 w 113"/>
                  <a:gd name="T81" fmla="*/ 83 h 141"/>
                  <a:gd name="T82" fmla="*/ 10 w 113"/>
                  <a:gd name="T83" fmla="*/ 69 h 141"/>
                  <a:gd name="T84" fmla="*/ 3 w 113"/>
                  <a:gd name="T85" fmla="*/ 69 h 141"/>
                  <a:gd name="T86" fmla="*/ 0 w 113"/>
                  <a:gd name="T87" fmla="*/ 62 h 141"/>
                  <a:gd name="T88" fmla="*/ 5 w 113"/>
                  <a:gd name="T89" fmla="*/ 51 h 141"/>
                  <a:gd name="T90" fmla="*/ 0 w 113"/>
                  <a:gd name="T91" fmla="*/ 47 h 141"/>
                  <a:gd name="T92" fmla="*/ 0 w 113"/>
                  <a:gd name="T93" fmla="*/ 42 h 141"/>
                  <a:gd name="T94" fmla="*/ 5 w 113"/>
                  <a:gd name="T95" fmla="*/ 33 h 141"/>
                  <a:gd name="T96" fmla="*/ 3 w 113"/>
                  <a:gd name="T97" fmla="*/ 3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3" h="141">
                    <a:moveTo>
                      <a:pt x="30" y="120"/>
                    </a:moveTo>
                    <a:lnTo>
                      <a:pt x="30" y="115"/>
                    </a:lnTo>
                    <a:lnTo>
                      <a:pt x="26" y="109"/>
                    </a:lnTo>
                    <a:lnTo>
                      <a:pt x="21" y="109"/>
                    </a:lnTo>
                    <a:lnTo>
                      <a:pt x="19" y="113"/>
                    </a:lnTo>
                    <a:lnTo>
                      <a:pt x="21" y="116"/>
                    </a:lnTo>
                    <a:lnTo>
                      <a:pt x="26" y="120"/>
                    </a:lnTo>
                    <a:lnTo>
                      <a:pt x="30" y="120"/>
                    </a:lnTo>
                    <a:lnTo>
                      <a:pt x="30" y="120"/>
                    </a:lnTo>
                    <a:close/>
                    <a:moveTo>
                      <a:pt x="3" y="33"/>
                    </a:moveTo>
                    <a:lnTo>
                      <a:pt x="10" y="33"/>
                    </a:lnTo>
                    <a:lnTo>
                      <a:pt x="23" y="26"/>
                    </a:lnTo>
                    <a:lnTo>
                      <a:pt x="23" y="21"/>
                    </a:lnTo>
                    <a:lnTo>
                      <a:pt x="35" y="10"/>
                    </a:lnTo>
                    <a:lnTo>
                      <a:pt x="40" y="3"/>
                    </a:lnTo>
                    <a:lnTo>
                      <a:pt x="51" y="0"/>
                    </a:lnTo>
                    <a:lnTo>
                      <a:pt x="87" y="0"/>
                    </a:lnTo>
                    <a:lnTo>
                      <a:pt x="92" y="10"/>
                    </a:lnTo>
                    <a:lnTo>
                      <a:pt x="97" y="17"/>
                    </a:lnTo>
                    <a:lnTo>
                      <a:pt x="106" y="35"/>
                    </a:lnTo>
                    <a:lnTo>
                      <a:pt x="106" y="42"/>
                    </a:lnTo>
                    <a:lnTo>
                      <a:pt x="113" y="49"/>
                    </a:lnTo>
                    <a:lnTo>
                      <a:pt x="113" y="56"/>
                    </a:lnTo>
                    <a:lnTo>
                      <a:pt x="108" y="58"/>
                    </a:lnTo>
                    <a:lnTo>
                      <a:pt x="108" y="65"/>
                    </a:lnTo>
                    <a:lnTo>
                      <a:pt x="111" y="67"/>
                    </a:lnTo>
                    <a:lnTo>
                      <a:pt x="110" y="74"/>
                    </a:lnTo>
                    <a:lnTo>
                      <a:pt x="108" y="129"/>
                    </a:lnTo>
                    <a:lnTo>
                      <a:pt x="90" y="141"/>
                    </a:lnTo>
                    <a:lnTo>
                      <a:pt x="85" y="138"/>
                    </a:lnTo>
                    <a:lnTo>
                      <a:pt x="69" y="138"/>
                    </a:lnTo>
                    <a:lnTo>
                      <a:pt x="48" y="127"/>
                    </a:lnTo>
                    <a:lnTo>
                      <a:pt x="37" y="124"/>
                    </a:lnTo>
                    <a:lnTo>
                      <a:pt x="40" y="120"/>
                    </a:lnTo>
                    <a:lnTo>
                      <a:pt x="33" y="113"/>
                    </a:lnTo>
                    <a:lnTo>
                      <a:pt x="30" y="108"/>
                    </a:lnTo>
                    <a:lnTo>
                      <a:pt x="33" y="101"/>
                    </a:lnTo>
                    <a:lnTo>
                      <a:pt x="32" y="99"/>
                    </a:lnTo>
                    <a:lnTo>
                      <a:pt x="25" y="102"/>
                    </a:lnTo>
                    <a:lnTo>
                      <a:pt x="14" y="92"/>
                    </a:lnTo>
                    <a:lnTo>
                      <a:pt x="14" y="83"/>
                    </a:lnTo>
                    <a:lnTo>
                      <a:pt x="10" y="69"/>
                    </a:lnTo>
                    <a:lnTo>
                      <a:pt x="3" y="69"/>
                    </a:lnTo>
                    <a:lnTo>
                      <a:pt x="0" y="62"/>
                    </a:lnTo>
                    <a:lnTo>
                      <a:pt x="5" y="51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5" y="33"/>
                    </a:lnTo>
                    <a:lnTo>
                      <a:pt x="3" y="3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7" name="Freeform 27">
                <a:extLst>
                  <a:ext uri="{FF2B5EF4-FFF2-40B4-BE49-F238E27FC236}">
                    <a16:creationId xmlns:a16="http://schemas.microsoft.com/office/drawing/2014/main" id="{A3298E77-F2CA-68B9-9CF3-2C2BB004F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7038" y="3378201"/>
                <a:ext cx="265113" cy="284163"/>
              </a:xfrm>
              <a:custGeom>
                <a:avLst/>
                <a:gdLst>
                  <a:gd name="T0" fmla="*/ 0 w 167"/>
                  <a:gd name="T1" fmla="*/ 75 h 179"/>
                  <a:gd name="T2" fmla="*/ 2 w 167"/>
                  <a:gd name="T3" fmla="*/ 69 h 179"/>
                  <a:gd name="T4" fmla="*/ 5 w 167"/>
                  <a:gd name="T5" fmla="*/ 59 h 179"/>
                  <a:gd name="T6" fmla="*/ 16 w 167"/>
                  <a:gd name="T7" fmla="*/ 53 h 179"/>
                  <a:gd name="T8" fmla="*/ 25 w 167"/>
                  <a:gd name="T9" fmla="*/ 43 h 179"/>
                  <a:gd name="T10" fmla="*/ 23 w 167"/>
                  <a:gd name="T11" fmla="*/ 38 h 179"/>
                  <a:gd name="T12" fmla="*/ 28 w 167"/>
                  <a:gd name="T13" fmla="*/ 25 h 179"/>
                  <a:gd name="T14" fmla="*/ 34 w 167"/>
                  <a:gd name="T15" fmla="*/ 23 h 179"/>
                  <a:gd name="T16" fmla="*/ 34 w 167"/>
                  <a:gd name="T17" fmla="*/ 18 h 179"/>
                  <a:gd name="T18" fmla="*/ 36 w 167"/>
                  <a:gd name="T19" fmla="*/ 9 h 179"/>
                  <a:gd name="T20" fmla="*/ 46 w 167"/>
                  <a:gd name="T21" fmla="*/ 4 h 179"/>
                  <a:gd name="T22" fmla="*/ 50 w 167"/>
                  <a:gd name="T23" fmla="*/ 6 h 179"/>
                  <a:gd name="T24" fmla="*/ 67 w 167"/>
                  <a:gd name="T25" fmla="*/ 0 h 179"/>
                  <a:gd name="T26" fmla="*/ 76 w 167"/>
                  <a:gd name="T27" fmla="*/ 4 h 179"/>
                  <a:gd name="T28" fmla="*/ 82 w 167"/>
                  <a:gd name="T29" fmla="*/ 13 h 179"/>
                  <a:gd name="T30" fmla="*/ 89 w 167"/>
                  <a:gd name="T31" fmla="*/ 18 h 179"/>
                  <a:gd name="T32" fmla="*/ 89 w 167"/>
                  <a:gd name="T33" fmla="*/ 34 h 179"/>
                  <a:gd name="T34" fmla="*/ 87 w 167"/>
                  <a:gd name="T35" fmla="*/ 43 h 179"/>
                  <a:gd name="T36" fmla="*/ 98 w 167"/>
                  <a:gd name="T37" fmla="*/ 55 h 179"/>
                  <a:gd name="T38" fmla="*/ 103 w 167"/>
                  <a:gd name="T39" fmla="*/ 53 h 179"/>
                  <a:gd name="T40" fmla="*/ 114 w 167"/>
                  <a:gd name="T41" fmla="*/ 45 h 179"/>
                  <a:gd name="T42" fmla="*/ 119 w 167"/>
                  <a:gd name="T43" fmla="*/ 45 h 179"/>
                  <a:gd name="T44" fmla="*/ 126 w 167"/>
                  <a:gd name="T45" fmla="*/ 52 h 179"/>
                  <a:gd name="T46" fmla="*/ 128 w 167"/>
                  <a:gd name="T47" fmla="*/ 55 h 179"/>
                  <a:gd name="T48" fmla="*/ 126 w 167"/>
                  <a:gd name="T49" fmla="*/ 59 h 179"/>
                  <a:gd name="T50" fmla="*/ 128 w 167"/>
                  <a:gd name="T51" fmla="*/ 68 h 179"/>
                  <a:gd name="T52" fmla="*/ 122 w 167"/>
                  <a:gd name="T53" fmla="*/ 82 h 179"/>
                  <a:gd name="T54" fmla="*/ 115 w 167"/>
                  <a:gd name="T55" fmla="*/ 89 h 179"/>
                  <a:gd name="T56" fmla="*/ 119 w 167"/>
                  <a:gd name="T57" fmla="*/ 96 h 179"/>
                  <a:gd name="T58" fmla="*/ 124 w 167"/>
                  <a:gd name="T59" fmla="*/ 100 h 179"/>
                  <a:gd name="T60" fmla="*/ 128 w 167"/>
                  <a:gd name="T61" fmla="*/ 98 h 179"/>
                  <a:gd name="T62" fmla="*/ 135 w 167"/>
                  <a:gd name="T63" fmla="*/ 98 h 179"/>
                  <a:gd name="T64" fmla="*/ 140 w 167"/>
                  <a:gd name="T65" fmla="*/ 103 h 179"/>
                  <a:gd name="T66" fmla="*/ 145 w 167"/>
                  <a:gd name="T67" fmla="*/ 101 h 179"/>
                  <a:gd name="T68" fmla="*/ 151 w 167"/>
                  <a:gd name="T69" fmla="*/ 105 h 179"/>
                  <a:gd name="T70" fmla="*/ 152 w 167"/>
                  <a:gd name="T71" fmla="*/ 112 h 179"/>
                  <a:gd name="T72" fmla="*/ 160 w 167"/>
                  <a:gd name="T73" fmla="*/ 117 h 179"/>
                  <a:gd name="T74" fmla="*/ 165 w 167"/>
                  <a:gd name="T75" fmla="*/ 117 h 179"/>
                  <a:gd name="T76" fmla="*/ 167 w 167"/>
                  <a:gd name="T77" fmla="*/ 126 h 179"/>
                  <a:gd name="T78" fmla="*/ 161 w 167"/>
                  <a:gd name="T79" fmla="*/ 130 h 179"/>
                  <a:gd name="T80" fmla="*/ 165 w 167"/>
                  <a:gd name="T81" fmla="*/ 135 h 179"/>
                  <a:gd name="T82" fmla="*/ 161 w 167"/>
                  <a:gd name="T83" fmla="*/ 140 h 179"/>
                  <a:gd name="T84" fmla="*/ 158 w 167"/>
                  <a:gd name="T85" fmla="*/ 147 h 179"/>
                  <a:gd name="T86" fmla="*/ 161 w 167"/>
                  <a:gd name="T87" fmla="*/ 153 h 179"/>
                  <a:gd name="T88" fmla="*/ 158 w 167"/>
                  <a:gd name="T89" fmla="*/ 163 h 179"/>
                  <a:gd name="T90" fmla="*/ 161 w 167"/>
                  <a:gd name="T91" fmla="*/ 170 h 179"/>
                  <a:gd name="T92" fmla="*/ 161 w 167"/>
                  <a:gd name="T93" fmla="*/ 179 h 179"/>
                  <a:gd name="T94" fmla="*/ 121 w 167"/>
                  <a:gd name="T95" fmla="*/ 165 h 179"/>
                  <a:gd name="T96" fmla="*/ 89 w 167"/>
                  <a:gd name="T97" fmla="*/ 142 h 179"/>
                  <a:gd name="T98" fmla="*/ 82 w 167"/>
                  <a:gd name="T99" fmla="*/ 140 h 179"/>
                  <a:gd name="T100" fmla="*/ 55 w 167"/>
                  <a:gd name="T101" fmla="*/ 115 h 179"/>
                  <a:gd name="T102" fmla="*/ 37 w 167"/>
                  <a:gd name="T103" fmla="*/ 103 h 179"/>
                  <a:gd name="T104" fmla="*/ 32 w 167"/>
                  <a:gd name="T105" fmla="*/ 103 h 179"/>
                  <a:gd name="T106" fmla="*/ 21 w 167"/>
                  <a:gd name="T107" fmla="*/ 87 h 179"/>
                  <a:gd name="T108" fmla="*/ 14 w 167"/>
                  <a:gd name="T109" fmla="*/ 85 h 179"/>
                  <a:gd name="T110" fmla="*/ 18 w 167"/>
                  <a:gd name="T111" fmla="*/ 78 h 179"/>
                  <a:gd name="T112" fmla="*/ 11 w 167"/>
                  <a:gd name="T113" fmla="*/ 75 h 179"/>
                  <a:gd name="T114" fmla="*/ 0 w 167"/>
                  <a:gd name="T115" fmla="*/ 75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7" h="179">
                    <a:moveTo>
                      <a:pt x="0" y="75"/>
                    </a:moveTo>
                    <a:lnTo>
                      <a:pt x="2" y="69"/>
                    </a:lnTo>
                    <a:lnTo>
                      <a:pt x="5" y="59"/>
                    </a:lnTo>
                    <a:lnTo>
                      <a:pt x="16" y="53"/>
                    </a:lnTo>
                    <a:lnTo>
                      <a:pt x="25" y="43"/>
                    </a:lnTo>
                    <a:lnTo>
                      <a:pt x="23" y="38"/>
                    </a:lnTo>
                    <a:lnTo>
                      <a:pt x="28" y="25"/>
                    </a:lnTo>
                    <a:lnTo>
                      <a:pt x="34" y="23"/>
                    </a:lnTo>
                    <a:lnTo>
                      <a:pt x="34" y="18"/>
                    </a:lnTo>
                    <a:lnTo>
                      <a:pt x="36" y="9"/>
                    </a:lnTo>
                    <a:lnTo>
                      <a:pt x="46" y="4"/>
                    </a:lnTo>
                    <a:lnTo>
                      <a:pt x="50" y="6"/>
                    </a:lnTo>
                    <a:lnTo>
                      <a:pt x="67" y="0"/>
                    </a:lnTo>
                    <a:lnTo>
                      <a:pt x="76" y="4"/>
                    </a:lnTo>
                    <a:lnTo>
                      <a:pt x="82" y="13"/>
                    </a:lnTo>
                    <a:lnTo>
                      <a:pt x="89" y="18"/>
                    </a:lnTo>
                    <a:lnTo>
                      <a:pt x="89" y="34"/>
                    </a:lnTo>
                    <a:lnTo>
                      <a:pt x="87" y="43"/>
                    </a:lnTo>
                    <a:lnTo>
                      <a:pt x="98" y="55"/>
                    </a:lnTo>
                    <a:lnTo>
                      <a:pt x="103" y="53"/>
                    </a:lnTo>
                    <a:lnTo>
                      <a:pt x="114" y="45"/>
                    </a:lnTo>
                    <a:lnTo>
                      <a:pt x="119" y="45"/>
                    </a:lnTo>
                    <a:lnTo>
                      <a:pt x="126" y="52"/>
                    </a:lnTo>
                    <a:lnTo>
                      <a:pt x="128" y="55"/>
                    </a:lnTo>
                    <a:lnTo>
                      <a:pt x="126" y="59"/>
                    </a:lnTo>
                    <a:lnTo>
                      <a:pt x="128" y="68"/>
                    </a:lnTo>
                    <a:lnTo>
                      <a:pt x="122" y="82"/>
                    </a:lnTo>
                    <a:lnTo>
                      <a:pt x="115" y="89"/>
                    </a:lnTo>
                    <a:lnTo>
                      <a:pt x="119" y="96"/>
                    </a:lnTo>
                    <a:lnTo>
                      <a:pt x="124" y="100"/>
                    </a:lnTo>
                    <a:lnTo>
                      <a:pt x="128" y="98"/>
                    </a:lnTo>
                    <a:lnTo>
                      <a:pt x="135" y="98"/>
                    </a:lnTo>
                    <a:lnTo>
                      <a:pt x="140" y="103"/>
                    </a:lnTo>
                    <a:lnTo>
                      <a:pt x="145" y="101"/>
                    </a:lnTo>
                    <a:lnTo>
                      <a:pt x="151" y="105"/>
                    </a:lnTo>
                    <a:lnTo>
                      <a:pt x="152" y="112"/>
                    </a:lnTo>
                    <a:lnTo>
                      <a:pt x="160" y="117"/>
                    </a:lnTo>
                    <a:lnTo>
                      <a:pt x="165" y="117"/>
                    </a:lnTo>
                    <a:lnTo>
                      <a:pt x="167" y="126"/>
                    </a:lnTo>
                    <a:lnTo>
                      <a:pt x="161" y="130"/>
                    </a:lnTo>
                    <a:lnTo>
                      <a:pt x="165" y="135"/>
                    </a:lnTo>
                    <a:lnTo>
                      <a:pt x="161" y="140"/>
                    </a:lnTo>
                    <a:lnTo>
                      <a:pt x="158" y="147"/>
                    </a:lnTo>
                    <a:lnTo>
                      <a:pt x="161" y="153"/>
                    </a:lnTo>
                    <a:lnTo>
                      <a:pt x="158" y="163"/>
                    </a:lnTo>
                    <a:lnTo>
                      <a:pt x="161" y="170"/>
                    </a:lnTo>
                    <a:lnTo>
                      <a:pt x="161" y="179"/>
                    </a:lnTo>
                    <a:lnTo>
                      <a:pt x="121" y="165"/>
                    </a:lnTo>
                    <a:lnTo>
                      <a:pt x="89" y="142"/>
                    </a:lnTo>
                    <a:lnTo>
                      <a:pt x="82" y="140"/>
                    </a:lnTo>
                    <a:lnTo>
                      <a:pt x="55" y="115"/>
                    </a:lnTo>
                    <a:lnTo>
                      <a:pt x="37" y="103"/>
                    </a:lnTo>
                    <a:lnTo>
                      <a:pt x="32" y="103"/>
                    </a:lnTo>
                    <a:lnTo>
                      <a:pt x="21" y="87"/>
                    </a:lnTo>
                    <a:lnTo>
                      <a:pt x="14" y="85"/>
                    </a:lnTo>
                    <a:lnTo>
                      <a:pt x="18" y="78"/>
                    </a:lnTo>
                    <a:lnTo>
                      <a:pt x="11" y="75"/>
                    </a:lnTo>
                    <a:lnTo>
                      <a:pt x="0" y="7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8" name="Freeform 28">
                <a:extLst>
                  <a:ext uri="{FF2B5EF4-FFF2-40B4-BE49-F238E27FC236}">
                    <a16:creationId xmlns:a16="http://schemas.microsoft.com/office/drawing/2014/main" id="{C085C520-13BA-6131-EBF0-F3DEB2FA4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9601" y="3235326"/>
                <a:ext cx="411163" cy="430213"/>
              </a:xfrm>
              <a:custGeom>
                <a:avLst/>
                <a:gdLst>
                  <a:gd name="T0" fmla="*/ 46 w 259"/>
                  <a:gd name="T1" fmla="*/ 260 h 271"/>
                  <a:gd name="T2" fmla="*/ 46 w 259"/>
                  <a:gd name="T3" fmla="*/ 243 h 271"/>
                  <a:gd name="T4" fmla="*/ 46 w 259"/>
                  <a:gd name="T5" fmla="*/ 230 h 271"/>
                  <a:gd name="T6" fmla="*/ 46 w 259"/>
                  <a:gd name="T7" fmla="*/ 220 h 271"/>
                  <a:gd name="T8" fmla="*/ 50 w 259"/>
                  <a:gd name="T9" fmla="*/ 207 h 271"/>
                  <a:gd name="T10" fmla="*/ 37 w 259"/>
                  <a:gd name="T11" fmla="*/ 202 h 271"/>
                  <a:gd name="T12" fmla="*/ 30 w 259"/>
                  <a:gd name="T13" fmla="*/ 191 h 271"/>
                  <a:gd name="T14" fmla="*/ 20 w 259"/>
                  <a:gd name="T15" fmla="*/ 188 h 271"/>
                  <a:gd name="T16" fmla="*/ 9 w 259"/>
                  <a:gd name="T17" fmla="*/ 190 h 271"/>
                  <a:gd name="T18" fmla="*/ 0 w 259"/>
                  <a:gd name="T19" fmla="*/ 179 h 271"/>
                  <a:gd name="T20" fmla="*/ 13 w 259"/>
                  <a:gd name="T21" fmla="*/ 158 h 271"/>
                  <a:gd name="T22" fmla="*/ 13 w 259"/>
                  <a:gd name="T23" fmla="*/ 143 h 271"/>
                  <a:gd name="T24" fmla="*/ 30 w 259"/>
                  <a:gd name="T25" fmla="*/ 117 h 271"/>
                  <a:gd name="T26" fmla="*/ 29 w 259"/>
                  <a:gd name="T27" fmla="*/ 104 h 271"/>
                  <a:gd name="T28" fmla="*/ 22 w 259"/>
                  <a:gd name="T29" fmla="*/ 90 h 271"/>
                  <a:gd name="T30" fmla="*/ 34 w 259"/>
                  <a:gd name="T31" fmla="*/ 89 h 271"/>
                  <a:gd name="T32" fmla="*/ 29 w 259"/>
                  <a:gd name="T33" fmla="*/ 74 h 271"/>
                  <a:gd name="T34" fmla="*/ 23 w 259"/>
                  <a:gd name="T35" fmla="*/ 57 h 271"/>
                  <a:gd name="T36" fmla="*/ 23 w 259"/>
                  <a:gd name="T37" fmla="*/ 32 h 271"/>
                  <a:gd name="T38" fmla="*/ 20 w 259"/>
                  <a:gd name="T39" fmla="*/ 21 h 271"/>
                  <a:gd name="T40" fmla="*/ 52 w 259"/>
                  <a:gd name="T41" fmla="*/ 7 h 271"/>
                  <a:gd name="T42" fmla="*/ 66 w 259"/>
                  <a:gd name="T43" fmla="*/ 12 h 271"/>
                  <a:gd name="T44" fmla="*/ 87 w 259"/>
                  <a:gd name="T45" fmla="*/ 11 h 271"/>
                  <a:gd name="T46" fmla="*/ 101 w 259"/>
                  <a:gd name="T47" fmla="*/ 4 h 271"/>
                  <a:gd name="T48" fmla="*/ 110 w 259"/>
                  <a:gd name="T49" fmla="*/ 7 h 271"/>
                  <a:gd name="T50" fmla="*/ 126 w 259"/>
                  <a:gd name="T51" fmla="*/ 16 h 271"/>
                  <a:gd name="T52" fmla="*/ 140 w 259"/>
                  <a:gd name="T53" fmla="*/ 0 h 271"/>
                  <a:gd name="T54" fmla="*/ 167 w 259"/>
                  <a:gd name="T55" fmla="*/ 18 h 271"/>
                  <a:gd name="T56" fmla="*/ 177 w 259"/>
                  <a:gd name="T57" fmla="*/ 21 h 271"/>
                  <a:gd name="T58" fmla="*/ 193 w 259"/>
                  <a:gd name="T59" fmla="*/ 25 h 271"/>
                  <a:gd name="T60" fmla="*/ 211 w 259"/>
                  <a:gd name="T61" fmla="*/ 39 h 271"/>
                  <a:gd name="T62" fmla="*/ 229 w 259"/>
                  <a:gd name="T63" fmla="*/ 32 h 271"/>
                  <a:gd name="T64" fmla="*/ 239 w 259"/>
                  <a:gd name="T65" fmla="*/ 35 h 271"/>
                  <a:gd name="T66" fmla="*/ 248 w 259"/>
                  <a:gd name="T67" fmla="*/ 41 h 271"/>
                  <a:gd name="T68" fmla="*/ 248 w 259"/>
                  <a:gd name="T69" fmla="*/ 62 h 271"/>
                  <a:gd name="T70" fmla="*/ 255 w 259"/>
                  <a:gd name="T71" fmla="*/ 74 h 271"/>
                  <a:gd name="T72" fmla="*/ 255 w 259"/>
                  <a:gd name="T73" fmla="*/ 94 h 271"/>
                  <a:gd name="T74" fmla="*/ 247 w 259"/>
                  <a:gd name="T75" fmla="*/ 108 h 271"/>
                  <a:gd name="T76" fmla="*/ 234 w 259"/>
                  <a:gd name="T77" fmla="*/ 136 h 271"/>
                  <a:gd name="T78" fmla="*/ 231 w 259"/>
                  <a:gd name="T79" fmla="*/ 152 h 271"/>
                  <a:gd name="T80" fmla="*/ 227 w 259"/>
                  <a:gd name="T81" fmla="*/ 175 h 271"/>
                  <a:gd name="T82" fmla="*/ 223 w 259"/>
                  <a:gd name="T83" fmla="*/ 182 h 271"/>
                  <a:gd name="T84" fmla="*/ 234 w 259"/>
                  <a:gd name="T85" fmla="*/ 202 h 271"/>
                  <a:gd name="T86" fmla="*/ 245 w 259"/>
                  <a:gd name="T87" fmla="*/ 216 h 271"/>
                  <a:gd name="T88" fmla="*/ 248 w 259"/>
                  <a:gd name="T89" fmla="*/ 234 h 271"/>
                  <a:gd name="T90" fmla="*/ 234 w 259"/>
                  <a:gd name="T91" fmla="*/ 236 h 271"/>
                  <a:gd name="T92" fmla="*/ 227 w 259"/>
                  <a:gd name="T93" fmla="*/ 227 h 271"/>
                  <a:gd name="T94" fmla="*/ 216 w 259"/>
                  <a:gd name="T95" fmla="*/ 239 h 271"/>
                  <a:gd name="T96" fmla="*/ 177 w 259"/>
                  <a:gd name="T97" fmla="*/ 237 h 271"/>
                  <a:gd name="T98" fmla="*/ 107 w 259"/>
                  <a:gd name="T99" fmla="*/ 239 h 271"/>
                  <a:gd name="T100" fmla="*/ 78 w 259"/>
                  <a:gd name="T101" fmla="*/ 255 h 271"/>
                  <a:gd name="T102" fmla="*/ 66 w 259"/>
                  <a:gd name="T103" fmla="*/ 259 h 271"/>
                  <a:gd name="T104" fmla="*/ 46 w 259"/>
                  <a:gd name="T105" fmla="*/ 269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71">
                    <a:moveTo>
                      <a:pt x="46" y="269"/>
                    </a:moveTo>
                    <a:lnTo>
                      <a:pt x="46" y="260"/>
                    </a:lnTo>
                    <a:lnTo>
                      <a:pt x="43" y="253"/>
                    </a:lnTo>
                    <a:lnTo>
                      <a:pt x="46" y="243"/>
                    </a:lnTo>
                    <a:lnTo>
                      <a:pt x="43" y="237"/>
                    </a:lnTo>
                    <a:lnTo>
                      <a:pt x="46" y="230"/>
                    </a:lnTo>
                    <a:lnTo>
                      <a:pt x="50" y="225"/>
                    </a:lnTo>
                    <a:lnTo>
                      <a:pt x="46" y="220"/>
                    </a:lnTo>
                    <a:lnTo>
                      <a:pt x="52" y="216"/>
                    </a:lnTo>
                    <a:lnTo>
                      <a:pt x="50" y="207"/>
                    </a:lnTo>
                    <a:lnTo>
                      <a:pt x="45" y="207"/>
                    </a:lnTo>
                    <a:lnTo>
                      <a:pt x="37" y="202"/>
                    </a:lnTo>
                    <a:lnTo>
                      <a:pt x="36" y="195"/>
                    </a:lnTo>
                    <a:lnTo>
                      <a:pt x="30" y="191"/>
                    </a:lnTo>
                    <a:lnTo>
                      <a:pt x="25" y="193"/>
                    </a:lnTo>
                    <a:lnTo>
                      <a:pt x="20" y="188"/>
                    </a:lnTo>
                    <a:lnTo>
                      <a:pt x="13" y="188"/>
                    </a:lnTo>
                    <a:lnTo>
                      <a:pt x="9" y="190"/>
                    </a:lnTo>
                    <a:lnTo>
                      <a:pt x="4" y="186"/>
                    </a:lnTo>
                    <a:lnTo>
                      <a:pt x="0" y="179"/>
                    </a:lnTo>
                    <a:lnTo>
                      <a:pt x="7" y="172"/>
                    </a:lnTo>
                    <a:lnTo>
                      <a:pt x="13" y="158"/>
                    </a:lnTo>
                    <a:lnTo>
                      <a:pt x="11" y="149"/>
                    </a:lnTo>
                    <a:lnTo>
                      <a:pt x="13" y="143"/>
                    </a:lnTo>
                    <a:lnTo>
                      <a:pt x="20" y="142"/>
                    </a:lnTo>
                    <a:lnTo>
                      <a:pt x="30" y="117"/>
                    </a:lnTo>
                    <a:lnTo>
                      <a:pt x="32" y="108"/>
                    </a:lnTo>
                    <a:lnTo>
                      <a:pt x="29" y="104"/>
                    </a:lnTo>
                    <a:lnTo>
                      <a:pt x="22" y="96"/>
                    </a:lnTo>
                    <a:lnTo>
                      <a:pt x="22" y="90"/>
                    </a:lnTo>
                    <a:lnTo>
                      <a:pt x="27" y="89"/>
                    </a:lnTo>
                    <a:lnTo>
                      <a:pt x="34" y="89"/>
                    </a:lnTo>
                    <a:lnTo>
                      <a:pt x="34" y="83"/>
                    </a:lnTo>
                    <a:lnTo>
                      <a:pt x="29" y="74"/>
                    </a:lnTo>
                    <a:lnTo>
                      <a:pt x="25" y="73"/>
                    </a:lnTo>
                    <a:lnTo>
                      <a:pt x="23" y="57"/>
                    </a:lnTo>
                    <a:lnTo>
                      <a:pt x="25" y="51"/>
                    </a:lnTo>
                    <a:lnTo>
                      <a:pt x="23" y="32"/>
                    </a:lnTo>
                    <a:lnTo>
                      <a:pt x="20" y="28"/>
                    </a:lnTo>
                    <a:lnTo>
                      <a:pt x="20" y="21"/>
                    </a:lnTo>
                    <a:lnTo>
                      <a:pt x="36" y="16"/>
                    </a:lnTo>
                    <a:lnTo>
                      <a:pt x="52" y="7"/>
                    </a:lnTo>
                    <a:lnTo>
                      <a:pt x="57" y="7"/>
                    </a:lnTo>
                    <a:lnTo>
                      <a:pt x="66" y="12"/>
                    </a:lnTo>
                    <a:lnTo>
                      <a:pt x="84" y="12"/>
                    </a:lnTo>
                    <a:lnTo>
                      <a:pt x="87" y="11"/>
                    </a:lnTo>
                    <a:lnTo>
                      <a:pt x="87" y="5"/>
                    </a:lnTo>
                    <a:lnTo>
                      <a:pt x="101" y="4"/>
                    </a:lnTo>
                    <a:lnTo>
                      <a:pt x="112" y="5"/>
                    </a:lnTo>
                    <a:lnTo>
                      <a:pt x="110" y="7"/>
                    </a:lnTo>
                    <a:lnTo>
                      <a:pt x="112" y="12"/>
                    </a:lnTo>
                    <a:lnTo>
                      <a:pt x="126" y="16"/>
                    </a:lnTo>
                    <a:lnTo>
                      <a:pt x="133" y="5"/>
                    </a:lnTo>
                    <a:lnTo>
                      <a:pt x="140" y="0"/>
                    </a:lnTo>
                    <a:lnTo>
                      <a:pt x="151" y="11"/>
                    </a:lnTo>
                    <a:lnTo>
                      <a:pt x="167" y="18"/>
                    </a:lnTo>
                    <a:lnTo>
                      <a:pt x="174" y="18"/>
                    </a:lnTo>
                    <a:lnTo>
                      <a:pt x="177" y="21"/>
                    </a:lnTo>
                    <a:lnTo>
                      <a:pt x="185" y="21"/>
                    </a:lnTo>
                    <a:lnTo>
                      <a:pt x="193" y="25"/>
                    </a:lnTo>
                    <a:lnTo>
                      <a:pt x="197" y="32"/>
                    </a:lnTo>
                    <a:lnTo>
                      <a:pt x="211" y="39"/>
                    </a:lnTo>
                    <a:lnTo>
                      <a:pt x="220" y="37"/>
                    </a:lnTo>
                    <a:lnTo>
                      <a:pt x="229" y="32"/>
                    </a:lnTo>
                    <a:lnTo>
                      <a:pt x="234" y="32"/>
                    </a:lnTo>
                    <a:lnTo>
                      <a:pt x="239" y="35"/>
                    </a:lnTo>
                    <a:lnTo>
                      <a:pt x="248" y="37"/>
                    </a:lnTo>
                    <a:lnTo>
                      <a:pt x="248" y="41"/>
                    </a:lnTo>
                    <a:lnTo>
                      <a:pt x="245" y="53"/>
                    </a:lnTo>
                    <a:lnTo>
                      <a:pt x="248" y="62"/>
                    </a:lnTo>
                    <a:lnTo>
                      <a:pt x="248" y="69"/>
                    </a:lnTo>
                    <a:lnTo>
                      <a:pt x="255" y="74"/>
                    </a:lnTo>
                    <a:lnTo>
                      <a:pt x="259" y="85"/>
                    </a:lnTo>
                    <a:lnTo>
                      <a:pt x="255" y="94"/>
                    </a:lnTo>
                    <a:lnTo>
                      <a:pt x="255" y="103"/>
                    </a:lnTo>
                    <a:lnTo>
                      <a:pt x="247" y="108"/>
                    </a:lnTo>
                    <a:lnTo>
                      <a:pt x="234" y="128"/>
                    </a:lnTo>
                    <a:lnTo>
                      <a:pt x="234" y="136"/>
                    </a:lnTo>
                    <a:lnTo>
                      <a:pt x="231" y="142"/>
                    </a:lnTo>
                    <a:lnTo>
                      <a:pt x="231" y="152"/>
                    </a:lnTo>
                    <a:lnTo>
                      <a:pt x="227" y="158"/>
                    </a:lnTo>
                    <a:lnTo>
                      <a:pt x="227" y="175"/>
                    </a:lnTo>
                    <a:lnTo>
                      <a:pt x="223" y="179"/>
                    </a:lnTo>
                    <a:lnTo>
                      <a:pt x="223" y="182"/>
                    </a:lnTo>
                    <a:lnTo>
                      <a:pt x="229" y="188"/>
                    </a:lnTo>
                    <a:lnTo>
                      <a:pt x="234" y="202"/>
                    </a:lnTo>
                    <a:lnTo>
                      <a:pt x="236" y="213"/>
                    </a:lnTo>
                    <a:lnTo>
                      <a:pt x="245" y="216"/>
                    </a:lnTo>
                    <a:lnTo>
                      <a:pt x="248" y="221"/>
                    </a:lnTo>
                    <a:lnTo>
                      <a:pt x="248" y="234"/>
                    </a:lnTo>
                    <a:lnTo>
                      <a:pt x="243" y="236"/>
                    </a:lnTo>
                    <a:lnTo>
                      <a:pt x="234" y="236"/>
                    </a:lnTo>
                    <a:lnTo>
                      <a:pt x="232" y="239"/>
                    </a:lnTo>
                    <a:lnTo>
                      <a:pt x="227" y="227"/>
                    </a:lnTo>
                    <a:lnTo>
                      <a:pt x="218" y="230"/>
                    </a:lnTo>
                    <a:lnTo>
                      <a:pt x="216" y="239"/>
                    </a:lnTo>
                    <a:lnTo>
                      <a:pt x="197" y="230"/>
                    </a:lnTo>
                    <a:lnTo>
                      <a:pt x="177" y="237"/>
                    </a:lnTo>
                    <a:lnTo>
                      <a:pt x="123" y="237"/>
                    </a:lnTo>
                    <a:lnTo>
                      <a:pt x="107" y="239"/>
                    </a:lnTo>
                    <a:lnTo>
                      <a:pt x="107" y="244"/>
                    </a:lnTo>
                    <a:lnTo>
                      <a:pt x="78" y="255"/>
                    </a:lnTo>
                    <a:lnTo>
                      <a:pt x="75" y="259"/>
                    </a:lnTo>
                    <a:lnTo>
                      <a:pt x="66" y="259"/>
                    </a:lnTo>
                    <a:lnTo>
                      <a:pt x="52" y="271"/>
                    </a:lnTo>
                    <a:lnTo>
                      <a:pt x="46" y="26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9" name="Freeform 29">
                <a:extLst>
                  <a:ext uri="{FF2B5EF4-FFF2-40B4-BE49-F238E27FC236}">
                    <a16:creationId xmlns:a16="http://schemas.microsoft.com/office/drawing/2014/main" id="{ED38B648-6B31-17F1-67EE-27A6C6B1DA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3613" y="3201988"/>
                <a:ext cx="276225" cy="434975"/>
              </a:xfrm>
              <a:custGeom>
                <a:avLst/>
                <a:gdLst>
                  <a:gd name="T0" fmla="*/ 11 w 174"/>
                  <a:gd name="T1" fmla="*/ 257 h 274"/>
                  <a:gd name="T2" fmla="*/ 25 w 174"/>
                  <a:gd name="T3" fmla="*/ 255 h 274"/>
                  <a:gd name="T4" fmla="*/ 22 w 174"/>
                  <a:gd name="T5" fmla="*/ 237 h 274"/>
                  <a:gd name="T6" fmla="*/ 11 w 174"/>
                  <a:gd name="T7" fmla="*/ 223 h 274"/>
                  <a:gd name="T8" fmla="*/ 0 w 174"/>
                  <a:gd name="T9" fmla="*/ 203 h 274"/>
                  <a:gd name="T10" fmla="*/ 4 w 174"/>
                  <a:gd name="T11" fmla="*/ 196 h 274"/>
                  <a:gd name="T12" fmla="*/ 8 w 174"/>
                  <a:gd name="T13" fmla="*/ 173 h 274"/>
                  <a:gd name="T14" fmla="*/ 11 w 174"/>
                  <a:gd name="T15" fmla="*/ 157 h 274"/>
                  <a:gd name="T16" fmla="*/ 24 w 174"/>
                  <a:gd name="T17" fmla="*/ 129 h 274"/>
                  <a:gd name="T18" fmla="*/ 32 w 174"/>
                  <a:gd name="T19" fmla="*/ 115 h 274"/>
                  <a:gd name="T20" fmla="*/ 32 w 174"/>
                  <a:gd name="T21" fmla="*/ 95 h 274"/>
                  <a:gd name="T22" fmla="*/ 25 w 174"/>
                  <a:gd name="T23" fmla="*/ 83 h 274"/>
                  <a:gd name="T24" fmla="*/ 25 w 174"/>
                  <a:gd name="T25" fmla="*/ 62 h 274"/>
                  <a:gd name="T26" fmla="*/ 20 w 174"/>
                  <a:gd name="T27" fmla="*/ 35 h 274"/>
                  <a:gd name="T28" fmla="*/ 13 w 174"/>
                  <a:gd name="T29" fmla="*/ 17 h 274"/>
                  <a:gd name="T30" fmla="*/ 29 w 174"/>
                  <a:gd name="T31" fmla="*/ 7 h 274"/>
                  <a:gd name="T32" fmla="*/ 62 w 174"/>
                  <a:gd name="T33" fmla="*/ 7 h 274"/>
                  <a:gd name="T34" fmla="*/ 100 w 174"/>
                  <a:gd name="T35" fmla="*/ 3 h 274"/>
                  <a:gd name="T36" fmla="*/ 119 w 174"/>
                  <a:gd name="T37" fmla="*/ 0 h 274"/>
                  <a:gd name="T38" fmla="*/ 126 w 174"/>
                  <a:gd name="T39" fmla="*/ 10 h 274"/>
                  <a:gd name="T40" fmla="*/ 130 w 174"/>
                  <a:gd name="T41" fmla="*/ 21 h 274"/>
                  <a:gd name="T42" fmla="*/ 142 w 174"/>
                  <a:gd name="T43" fmla="*/ 33 h 274"/>
                  <a:gd name="T44" fmla="*/ 149 w 174"/>
                  <a:gd name="T45" fmla="*/ 51 h 274"/>
                  <a:gd name="T46" fmla="*/ 153 w 174"/>
                  <a:gd name="T47" fmla="*/ 71 h 274"/>
                  <a:gd name="T48" fmla="*/ 158 w 174"/>
                  <a:gd name="T49" fmla="*/ 85 h 274"/>
                  <a:gd name="T50" fmla="*/ 155 w 174"/>
                  <a:gd name="T51" fmla="*/ 97 h 274"/>
                  <a:gd name="T52" fmla="*/ 160 w 174"/>
                  <a:gd name="T53" fmla="*/ 110 h 274"/>
                  <a:gd name="T54" fmla="*/ 158 w 174"/>
                  <a:gd name="T55" fmla="*/ 120 h 274"/>
                  <a:gd name="T56" fmla="*/ 160 w 174"/>
                  <a:gd name="T57" fmla="*/ 140 h 274"/>
                  <a:gd name="T58" fmla="*/ 158 w 174"/>
                  <a:gd name="T59" fmla="*/ 173 h 274"/>
                  <a:gd name="T60" fmla="*/ 155 w 174"/>
                  <a:gd name="T61" fmla="*/ 189 h 274"/>
                  <a:gd name="T62" fmla="*/ 162 w 174"/>
                  <a:gd name="T63" fmla="*/ 211 h 274"/>
                  <a:gd name="T64" fmla="*/ 171 w 174"/>
                  <a:gd name="T65" fmla="*/ 218 h 274"/>
                  <a:gd name="T66" fmla="*/ 151 w 174"/>
                  <a:gd name="T67" fmla="*/ 226 h 274"/>
                  <a:gd name="T68" fmla="*/ 110 w 174"/>
                  <a:gd name="T69" fmla="*/ 255 h 274"/>
                  <a:gd name="T70" fmla="*/ 50 w 174"/>
                  <a:gd name="T71" fmla="*/ 274 h 274"/>
                  <a:gd name="T72" fmla="*/ 11 w 174"/>
                  <a:gd name="T73" fmla="*/ 26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74" h="274">
                    <a:moveTo>
                      <a:pt x="9" y="260"/>
                    </a:moveTo>
                    <a:lnTo>
                      <a:pt x="11" y="257"/>
                    </a:lnTo>
                    <a:lnTo>
                      <a:pt x="20" y="257"/>
                    </a:lnTo>
                    <a:lnTo>
                      <a:pt x="25" y="255"/>
                    </a:lnTo>
                    <a:lnTo>
                      <a:pt x="25" y="242"/>
                    </a:lnTo>
                    <a:lnTo>
                      <a:pt x="22" y="237"/>
                    </a:lnTo>
                    <a:lnTo>
                      <a:pt x="13" y="234"/>
                    </a:lnTo>
                    <a:lnTo>
                      <a:pt x="11" y="223"/>
                    </a:lnTo>
                    <a:lnTo>
                      <a:pt x="6" y="209"/>
                    </a:lnTo>
                    <a:lnTo>
                      <a:pt x="0" y="203"/>
                    </a:lnTo>
                    <a:lnTo>
                      <a:pt x="0" y="200"/>
                    </a:lnTo>
                    <a:lnTo>
                      <a:pt x="4" y="196"/>
                    </a:lnTo>
                    <a:lnTo>
                      <a:pt x="4" y="179"/>
                    </a:lnTo>
                    <a:lnTo>
                      <a:pt x="8" y="173"/>
                    </a:lnTo>
                    <a:lnTo>
                      <a:pt x="8" y="163"/>
                    </a:lnTo>
                    <a:lnTo>
                      <a:pt x="11" y="157"/>
                    </a:lnTo>
                    <a:lnTo>
                      <a:pt x="11" y="149"/>
                    </a:lnTo>
                    <a:lnTo>
                      <a:pt x="24" y="129"/>
                    </a:lnTo>
                    <a:lnTo>
                      <a:pt x="32" y="124"/>
                    </a:lnTo>
                    <a:lnTo>
                      <a:pt x="32" y="115"/>
                    </a:lnTo>
                    <a:lnTo>
                      <a:pt x="36" y="106"/>
                    </a:lnTo>
                    <a:lnTo>
                      <a:pt x="32" y="95"/>
                    </a:lnTo>
                    <a:lnTo>
                      <a:pt x="25" y="90"/>
                    </a:lnTo>
                    <a:lnTo>
                      <a:pt x="25" y="83"/>
                    </a:lnTo>
                    <a:lnTo>
                      <a:pt x="22" y="74"/>
                    </a:lnTo>
                    <a:lnTo>
                      <a:pt x="25" y="62"/>
                    </a:lnTo>
                    <a:lnTo>
                      <a:pt x="25" y="46"/>
                    </a:lnTo>
                    <a:lnTo>
                      <a:pt x="20" y="35"/>
                    </a:lnTo>
                    <a:lnTo>
                      <a:pt x="16" y="32"/>
                    </a:lnTo>
                    <a:lnTo>
                      <a:pt x="13" y="17"/>
                    </a:lnTo>
                    <a:lnTo>
                      <a:pt x="15" y="9"/>
                    </a:lnTo>
                    <a:lnTo>
                      <a:pt x="29" y="7"/>
                    </a:lnTo>
                    <a:lnTo>
                      <a:pt x="59" y="7"/>
                    </a:lnTo>
                    <a:lnTo>
                      <a:pt x="62" y="7"/>
                    </a:lnTo>
                    <a:lnTo>
                      <a:pt x="84" y="7"/>
                    </a:lnTo>
                    <a:lnTo>
                      <a:pt x="100" y="3"/>
                    </a:lnTo>
                    <a:lnTo>
                      <a:pt x="110" y="3"/>
                    </a:lnTo>
                    <a:lnTo>
                      <a:pt x="119" y="0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0" y="14"/>
                    </a:lnTo>
                    <a:lnTo>
                      <a:pt x="130" y="21"/>
                    </a:lnTo>
                    <a:lnTo>
                      <a:pt x="139" y="30"/>
                    </a:lnTo>
                    <a:lnTo>
                      <a:pt x="142" y="33"/>
                    </a:lnTo>
                    <a:lnTo>
                      <a:pt x="151" y="40"/>
                    </a:lnTo>
                    <a:lnTo>
                      <a:pt x="149" y="51"/>
                    </a:lnTo>
                    <a:lnTo>
                      <a:pt x="149" y="67"/>
                    </a:lnTo>
                    <a:lnTo>
                      <a:pt x="153" y="71"/>
                    </a:lnTo>
                    <a:lnTo>
                      <a:pt x="158" y="71"/>
                    </a:lnTo>
                    <a:lnTo>
                      <a:pt x="158" y="85"/>
                    </a:lnTo>
                    <a:lnTo>
                      <a:pt x="155" y="92"/>
                    </a:lnTo>
                    <a:lnTo>
                      <a:pt x="155" y="97"/>
                    </a:lnTo>
                    <a:lnTo>
                      <a:pt x="158" y="101"/>
                    </a:lnTo>
                    <a:lnTo>
                      <a:pt x="160" y="110"/>
                    </a:lnTo>
                    <a:lnTo>
                      <a:pt x="156" y="115"/>
                    </a:lnTo>
                    <a:lnTo>
                      <a:pt x="158" y="120"/>
                    </a:lnTo>
                    <a:lnTo>
                      <a:pt x="158" y="134"/>
                    </a:lnTo>
                    <a:lnTo>
                      <a:pt x="160" y="140"/>
                    </a:lnTo>
                    <a:lnTo>
                      <a:pt x="162" y="164"/>
                    </a:lnTo>
                    <a:lnTo>
                      <a:pt x="158" y="173"/>
                    </a:lnTo>
                    <a:lnTo>
                      <a:pt x="156" y="179"/>
                    </a:lnTo>
                    <a:lnTo>
                      <a:pt x="155" y="189"/>
                    </a:lnTo>
                    <a:lnTo>
                      <a:pt x="158" y="200"/>
                    </a:lnTo>
                    <a:lnTo>
                      <a:pt x="162" y="211"/>
                    </a:lnTo>
                    <a:lnTo>
                      <a:pt x="165" y="212"/>
                    </a:lnTo>
                    <a:lnTo>
                      <a:pt x="171" y="218"/>
                    </a:lnTo>
                    <a:lnTo>
                      <a:pt x="174" y="223"/>
                    </a:lnTo>
                    <a:lnTo>
                      <a:pt x="151" y="226"/>
                    </a:lnTo>
                    <a:lnTo>
                      <a:pt x="132" y="235"/>
                    </a:lnTo>
                    <a:lnTo>
                      <a:pt x="110" y="255"/>
                    </a:lnTo>
                    <a:lnTo>
                      <a:pt x="86" y="257"/>
                    </a:lnTo>
                    <a:lnTo>
                      <a:pt x="50" y="274"/>
                    </a:lnTo>
                    <a:lnTo>
                      <a:pt x="34" y="267"/>
                    </a:lnTo>
                    <a:lnTo>
                      <a:pt x="11" y="264"/>
                    </a:lnTo>
                    <a:lnTo>
                      <a:pt x="9" y="2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0" name="Freeform 30">
                <a:extLst>
                  <a:ext uri="{FF2B5EF4-FFF2-40B4-BE49-F238E27FC236}">
                    <a16:creationId xmlns:a16="http://schemas.microsoft.com/office/drawing/2014/main" id="{3A78F1A3-B59C-BCB6-709B-C4512F3B2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876" y="3201988"/>
                <a:ext cx="131763" cy="354013"/>
              </a:xfrm>
              <a:custGeom>
                <a:avLst/>
                <a:gdLst>
                  <a:gd name="T0" fmla="*/ 46 w 83"/>
                  <a:gd name="T1" fmla="*/ 10 h 223"/>
                  <a:gd name="T2" fmla="*/ 3 w 83"/>
                  <a:gd name="T3" fmla="*/ 0 h 223"/>
                  <a:gd name="T4" fmla="*/ 0 w 83"/>
                  <a:gd name="T5" fmla="*/ 0 h 223"/>
                  <a:gd name="T6" fmla="*/ 3 w 83"/>
                  <a:gd name="T7" fmla="*/ 10 h 223"/>
                  <a:gd name="T8" fmla="*/ 7 w 83"/>
                  <a:gd name="T9" fmla="*/ 14 h 223"/>
                  <a:gd name="T10" fmla="*/ 7 w 83"/>
                  <a:gd name="T11" fmla="*/ 21 h 223"/>
                  <a:gd name="T12" fmla="*/ 16 w 83"/>
                  <a:gd name="T13" fmla="*/ 30 h 223"/>
                  <a:gd name="T14" fmla="*/ 19 w 83"/>
                  <a:gd name="T15" fmla="*/ 33 h 223"/>
                  <a:gd name="T16" fmla="*/ 28 w 83"/>
                  <a:gd name="T17" fmla="*/ 40 h 223"/>
                  <a:gd name="T18" fmla="*/ 26 w 83"/>
                  <a:gd name="T19" fmla="*/ 51 h 223"/>
                  <a:gd name="T20" fmla="*/ 26 w 83"/>
                  <a:gd name="T21" fmla="*/ 67 h 223"/>
                  <a:gd name="T22" fmla="*/ 30 w 83"/>
                  <a:gd name="T23" fmla="*/ 71 h 223"/>
                  <a:gd name="T24" fmla="*/ 35 w 83"/>
                  <a:gd name="T25" fmla="*/ 71 h 223"/>
                  <a:gd name="T26" fmla="*/ 35 w 83"/>
                  <a:gd name="T27" fmla="*/ 85 h 223"/>
                  <a:gd name="T28" fmla="*/ 32 w 83"/>
                  <a:gd name="T29" fmla="*/ 92 h 223"/>
                  <a:gd name="T30" fmla="*/ 32 w 83"/>
                  <a:gd name="T31" fmla="*/ 97 h 223"/>
                  <a:gd name="T32" fmla="*/ 35 w 83"/>
                  <a:gd name="T33" fmla="*/ 101 h 223"/>
                  <a:gd name="T34" fmla="*/ 37 w 83"/>
                  <a:gd name="T35" fmla="*/ 110 h 223"/>
                  <a:gd name="T36" fmla="*/ 33 w 83"/>
                  <a:gd name="T37" fmla="*/ 115 h 223"/>
                  <a:gd name="T38" fmla="*/ 35 w 83"/>
                  <a:gd name="T39" fmla="*/ 120 h 223"/>
                  <a:gd name="T40" fmla="*/ 35 w 83"/>
                  <a:gd name="T41" fmla="*/ 134 h 223"/>
                  <a:gd name="T42" fmla="*/ 37 w 83"/>
                  <a:gd name="T43" fmla="*/ 140 h 223"/>
                  <a:gd name="T44" fmla="*/ 39 w 83"/>
                  <a:gd name="T45" fmla="*/ 164 h 223"/>
                  <a:gd name="T46" fmla="*/ 35 w 83"/>
                  <a:gd name="T47" fmla="*/ 173 h 223"/>
                  <a:gd name="T48" fmla="*/ 33 w 83"/>
                  <a:gd name="T49" fmla="*/ 179 h 223"/>
                  <a:gd name="T50" fmla="*/ 32 w 83"/>
                  <a:gd name="T51" fmla="*/ 189 h 223"/>
                  <a:gd name="T52" fmla="*/ 35 w 83"/>
                  <a:gd name="T53" fmla="*/ 200 h 223"/>
                  <a:gd name="T54" fmla="*/ 39 w 83"/>
                  <a:gd name="T55" fmla="*/ 211 h 223"/>
                  <a:gd name="T56" fmla="*/ 42 w 83"/>
                  <a:gd name="T57" fmla="*/ 212 h 223"/>
                  <a:gd name="T58" fmla="*/ 48 w 83"/>
                  <a:gd name="T59" fmla="*/ 218 h 223"/>
                  <a:gd name="T60" fmla="*/ 51 w 83"/>
                  <a:gd name="T61" fmla="*/ 223 h 223"/>
                  <a:gd name="T62" fmla="*/ 55 w 83"/>
                  <a:gd name="T63" fmla="*/ 223 h 223"/>
                  <a:gd name="T64" fmla="*/ 78 w 83"/>
                  <a:gd name="T65" fmla="*/ 209 h 223"/>
                  <a:gd name="T66" fmla="*/ 81 w 83"/>
                  <a:gd name="T67" fmla="*/ 211 h 223"/>
                  <a:gd name="T68" fmla="*/ 83 w 83"/>
                  <a:gd name="T69" fmla="*/ 202 h 223"/>
                  <a:gd name="T70" fmla="*/ 78 w 83"/>
                  <a:gd name="T71" fmla="*/ 193 h 223"/>
                  <a:gd name="T72" fmla="*/ 78 w 83"/>
                  <a:gd name="T73" fmla="*/ 180 h 223"/>
                  <a:gd name="T74" fmla="*/ 74 w 83"/>
                  <a:gd name="T75" fmla="*/ 172 h 223"/>
                  <a:gd name="T76" fmla="*/ 76 w 83"/>
                  <a:gd name="T77" fmla="*/ 120 h 223"/>
                  <a:gd name="T78" fmla="*/ 76 w 83"/>
                  <a:gd name="T79" fmla="*/ 113 h 223"/>
                  <a:gd name="T80" fmla="*/ 79 w 83"/>
                  <a:gd name="T81" fmla="*/ 108 h 223"/>
                  <a:gd name="T82" fmla="*/ 79 w 83"/>
                  <a:gd name="T83" fmla="*/ 99 h 223"/>
                  <a:gd name="T84" fmla="*/ 78 w 83"/>
                  <a:gd name="T85" fmla="*/ 92 h 223"/>
                  <a:gd name="T86" fmla="*/ 78 w 83"/>
                  <a:gd name="T87" fmla="*/ 81 h 223"/>
                  <a:gd name="T88" fmla="*/ 74 w 83"/>
                  <a:gd name="T89" fmla="*/ 63 h 223"/>
                  <a:gd name="T90" fmla="*/ 65 w 83"/>
                  <a:gd name="T91" fmla="*/ 40 h 223"/>
                  <a:gd name="T92" fmla="*/ 62 w 83"/>
                  <a:gd name="T93" fmla="*/ 39 h 223"/>
                  <a:gd name="T94" fmla="*/ 56 w 83"/>
                  <a:gd name="T95" fmla="*/ 33 h 223"/>
                  <a:gd name="T96" fmla="*/ 46 w 83"/>
                  <a:gd name="T97" fmla="*/ 28 h 223"/>
                  <a:gd name="T98" fmla="*/ 42 w 83"/>
                  <a:gd name="T99" fmla="*/ 16 h 223"/>
                  <a:gd name="T100" fmla="*/ 46 w 83"/>
                  <a:gd name="T101" fmla="*/ 10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3" h="223">
                    <a:moveTo>
                      <a:pt x="46" y="1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10"/>
                    </a:lnTo>
                    <a:lnTo>
                      <a:pt x="7" y="14"/>
                    </a:lnTo>
                    <a:lnTo>
                      <a:pt x="7" y="21"/>
                    </a:lnTo>
                    <a:lnTo>
                      <a:pt x="16" y="30"/>
                    </a:lnTo>
                    <a:lnTo>
                      <a:pt x="19" y="33"/>
                    </a:lnTo>
                    <a:lnTo>
                      <a:pt x="28" y="40"/>
                    </a:lnTo>
                    <a:lnTo>
                      <a:pt x="26" y="51"/>
                    </a:lnTo>
                    <a:lnTo>
                      <a:pt x="26" y="67"/>
                    </a:lnTo>
                    <a:lnTo>
                      <a:pt x="30" y="71"/>
                    </a:lnTo>
                    <a:lnTo>
                      <a:pt x="35" y="71"/>
                    </a:lnTo>
                    <a:lnTo>
                      <a:pt x="35" y="85"/>
                    </a:lnTo>
                    <a:lnTo>
                      <a:pt x="32" y="92"/>
                    </a:lnTo>
                    <a:lnTo>
                      <a:pt x="32" y="97"/>
                    </a:lnTo>
                    <a:lnTo>
                      <a:pt x="35" y="101"/>
                    </a:lnTo>
                    <a:lnTo>
                      <a:pt x="37" y="110"/>
                    </a:lnTo>
                    <a:lnTo>
                      <a:pt x="33" y="115"/>
                    </a:lnTo>
                    <a:lnTo>
                      <a:pt x="35" y="120"/>
                    </a:lnTo>
                    <a:lnTo>
                      <a:pt x="35" y="134"/>
                    </a:lnTo>
                    <a:lnTo>
                      <a:pt x="37" y="140"/>
                    </a:lnTo>
                    <a:lnTo>
                      <a:pt x="39" y="164"/>
                    </a:lnTo>
                    <a:lnTo>
                      <a:pt x="35" y="173"/>
                    </a:lnTo>
                    <a:lnTo>
                      <a:pt x="33" y="179"/>
                    </a:lnTo>
                    <a:lnTo>
                      <a:pt x="32" y="189"/>
                    </a:lnTo>
                    <a:lnTo>
                      <a:pt x="35" y="200"/>
                    </a:lnTo>
                    <a:lnTo>
                      <a:pt x="39" y="211"/>
                    </a:lnTo>
                    <a:lnTo>
                      <a:pt x="42" y="212"/>
                    </a:lnTo>
                    <a:lnTo>
                      <a:pt x="48" y="218"/>
                    </a:lnTo>
                    <a:lnTo>
                      <a:pt x="51" y="223"/>
                    </a:lnTo>
                    <a:lnTo>
                      <a:pt x="55" y="223"/>
                    </a:lnTo>
                    <a:lnTo>
                      <a:pt x="78" y="209"/>
                    </a:lnTo>
                    <a:lnTo>
                      <a:pt x="81" y="211"/>
                    </a:lnTo>
                    <a:lnTo>
                      <a:pt x="83" y="202"/>
                    </a:lnTo>
                    <a:lnTo>
                      <a:pt x="78" y="193"/>
                    </a:lnTo>
                    <a:lnTo>
                      <a:pt x="78" y="180"/>
                    </a:lnTo>
                    <a:lnTo>
                      <a:pt x="74" y="172"/>
                    </a:lnTo>
                    <a:lnTo>
                      <a:pt x="76" y="120"/>
                    </a:lnTo>
                    <a:lnTo>
                      <a:pt x="76" y="113"/>
                    </a:lnTo>
                    <a:lnTo>
                      <a:pt x="79" y="108"/>
                    </a:lnTo>
                    <a:lnTo>
                      <a:pt x="79" y="99"/>
                    </a:lnTo>
                    <a:lnTo>
                      <a:pt x="78" y="92"/>
                    </a:lnTo>
                    <a:lnTo>
                      <a:pt x="78" y="81"/>
                    </a:lnTo>
                    <a:lnTo>
                      <a:pt x="74" y="63"/>
                    </a:lnTo>
                    <a:lnTo>
                      <a:pt x="65" y="40"/>
                    </a:lnTo>
                    <a:lnTo>
                      <a:pt x="62" y="39"/>
                    </a:lnTo>
                    <a:lnTo>
                      <a:pt x="56" y="33"/>
                    </a:lnTo>
                    <a:lnTo>
                      <a:pt x="46" y="28"/>
                    </a:lnTo>
                    <a:lnTo>
                      <a:pt x="42" y="16"/>
                    </a:lnTo>
                    <a:lnTo>
                      <a:pt x="4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1" name="Freeform 31">
                <a:extLst>
                  <a:ext uri="{FF2B5EF4-FFF2-40B4-BE49-F238E27FC236}">
                    <a16:creationId xmlns:a16="http://schemas.microsoft.com/office/drawing/2014/main" id="{087E0A26-09A9-1247-D3B2-5F8D1B127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551" y="3108326"/>
                <a:ext cx="207963" cy="430213"/>
              </a:xfrm>
              <a:custGeom>
                <a:avLst/>
                <a:gdLst>
                  <a:gd name="T0" fmla="*/ 62 w 131"/>
                  <a:gd name="T1" fmla="*/ 22 h 271"/>
                  <a:gd name="T2" fmla="*/ 46 w 131"/>
                  <a:gd name="T3" fmla="*/ 32 h 271"/>
                  <a:gd name="T4" fmla="*/ 29 w 131"/>
                  <a:gd name="T5" fmla="*/ 37 h 271"/>
                  <a:gd name="T6" fmla="*/ 21 w 131"/>
                  <a:gd name="T7" fmla="*/ 50 h 271"/>
                  <a:gd name="T8" fmla="*/ 16 w 131"/>
                  <a:gd name="T9" fmla="*/ 62 h 271"/>
                  <a:gd name="T10" fmla="*/ 0 w 131"/>
                  <a:gd name="T11" fmla="*/ 75 h 271"/>
                  <a:gd name="T12" fmla="*/ 14 w 131"/>
                  <a:gd name="T13" fmla="*/ 92 h 271"/>
                  <a:gd name="T14" fmla="*/ 23 w 131"/>
                  <a:gd name="T15" fmla="*/ 99 h 271"/>
                  <a:gd name="T16" fmla="*/ 36 w 131"/>
                  <a:gd name="T17" fmla="*/ 140 h 271"/>
                  <a:gd name="T18" fmla="*/ 37 w 131"/>
                  <a:gd name="T19" fmla="*/ 158 h 271"/>
                  <a:gd name="T20" fmla="*/ 34 w 131"/>
                  <a:gd name="T21" fmla="*/ 172 h 271"/>
                  <a:gd name="T22" fmla="*/ 32 w 131"/>
                  <a:gd name="T23" fmla="*/ 231 h 271"/>
                  <a:gd name="T24" fmla="*/ 36 w 131"/>
                  <a:gd name="T25" fmla="*/ 252 h 271"/>
                  <a:gd name="T26" fmla="*/ 39 w 131"/>
                  <a:gd name="T27" fmla="*/ 270 h 271"/>
                  <a:gd name="T28" fmla="*/ 83 w 131"/>
                  <a:gd name="T29" fmla="*/ 261 h 271"/>
                  <a:gd name="T30" fmla="*/ 83 w 131"/>
                  <a:gd name="T31" fmla="*/ 254 h 271"/>
                  <a:gd name="T32" fmla="*/ 83 w 131"/>
                  <a:gd name="T33" fmla="*/ 225 h 271"/>
                  <a:gd name="T34" fmla="*/ 82 w 131"/>
                  <a:gd name="T35" fmla="*/ 202 h 271"/>
                  <a:gd name="T36" fmla="*/ 83 w 131"/>
                  <a:gd name="T37" fmla="*/ 192 h 271"/>
                  <a:gd name="T38" fmla="*/ 82 w 131"/>
                  <a:gd name="T39" fmla="*/ 184 h 271"/>
                  <a:gd name="T40" fmla="*/ 80 w 131"/>
                  <a:gd name="T41" fmla="*/ 176 h 271"/>
                  <a:gd name="T42" fmla="*/ 82 w 131"/>
                  <a:gd name="T43" fmla="*/ 160 h 271"/>
                  <a:gd name="T44" fmla="*/ 85 w 131"/>
                  <a:gd name="T45" fmla="*/ 147 h 271"/>
                  <a:gd name="T46" fmla="*/ 96 w 131"/>
                  <a:gd name="T47" fmla="*/ 144 h 271"/>
                  <a:gd name="T48" fmla="*/ 103 w 131"/>
                  <a:gd name="T49" fmla="*/ 133 h 271"/>
                  <a:gd name="T50" fmla="*/ 112 w 131"/>
                  <a:gd name="T51" fmla="*/ 117 h 271"/>
                  <a:gd name="T52" fmla="*/ 122 w 131"/>
                  <a:gd name="T53" fmla="*/ 114 h 271"/>
                  <a:gd name="T54" fmla="*/ 117 w 131"/>
                  <a:gd name="T55" fmla="*/ 99 h 271"/>
                  <a:gd name="T56" fmla="*/ 121 w 131"/>
                  <a:gd name="T57" fmla="*/ 91 h 271"/>
                  <a:gd name="T58" fmla="*/ 131 w 131"/>
                  <a:gd name="T59" fmla="*/ 85 h 271"/>
                  <a:gd name="T60" fmla="*/ 126 w 131"/>
                  <a:gd name="T61" fmla="*/ 60 h 271"/>
                  <a:gd name="T62" fmla="*/ 114 w 131"/>
                  <a:gd name="T63" fmla="*/ 45 h 271"/>
                  <a:gd name="T64" fmla="*/ 115 w 131"/>
                  <a:gd name="T65" fmla="*/ 36 h 271"/>
                  <a:gd name="T66" fmla="*/ 98 w 131"/>
                  <a:gd name="T67" fmla="*/ 22 h 271"/>
                  <a:gd name="T68" fmla="*/ 76 w 131"/>
                  <a:gd name="T69" fmla="*/ 0 h 271"/>
                  <a:gd name="T70" fmla="*/ 75 w 131"/>
                  <a:gd name="T71" fmla="*/ 13 h 271"/>
                  <a:gd name="T72" fmla="*/ 62 w 131"/>
                  <a:gd name="T73" fmla="*/ 14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1" h="271">
                    <a:moveTo>
                      <a:pt x="62" y="14"/>
                    </a:moveTo>
                    <a:lnTo>
                      <a:pt x="62" y="22"/>
                    </a:lnTo>
                    <a:lnTo>
                      <a:pt x="53" y="32"/>
                    </a:lnTo>
                    <a:lnTo>
                      <a:pt x="46" y="32"/>
                    </a:lnTo>
                    <a:lnTo>
                      <a:pt x="32" y="39"/>
                    </a:lnTo>
                    <a:lnTo>
                      <a:pt x="29" y="37"/>
                    </a:lnTo>
                    <a:lnTo>
                      <a:pt x="20" y="41"/>
                    </a:lnTo>
                    <a:lnTo>
                      <a:pt x="21" y="50"/>
                    </a:lnTo>
                    <a:lnTo>
                      <a:pt x="14" y="53"/>
                    </a:lnTo>
                    <a:lnTo>
                      <a:pt x="16" y="62"/>
                    </a:lnTo>
                    <a:lnTo>
                      <a:pt x="6" y="66"/>
                    </a:lnTo>
                    <a:lnTo>
                      <a:pt x="0" y="75"/>
                    </a:lnTo>
                    <a:lnTo>
                      <a:pt x="4" y="87"/>
                    </a:lnTo>
                    <a:lnTo>
                      <a:pt x="14" y="92"/>
                    </a:lnTo>
                    <a:lnTo>
                      <a:pt x="20" y="98"/>
                    </a:lnTo>
                    <a:lnTo>
                      <a:pt x="23" y="99"/>
                    </a:lnTo>
                    <a:lnTo>
                      <a:pt x="32" y="122"/>
                    </a:lnTo>
                    <a:lnTo>
                      <a:pt x="36" y="140"/>
                    </a:lnTo>
                    <a:lnTo>
                      <a:pt x="36" y="151"/>
                    </a:lnTo>
                    <a:lnTo>
                      <a:pt x="37" y="158"/>
                    </a:lnTo>
                    <a:lnTo>
                      <a:pt x="37" y="167"/>
                    </a:lnTo>
                    <a:lnTo>
                      <a:pt x="34" y="172"/>
                    </a:lnTo>
                    <a:lnTo>
                      <a:pt x="34" y="179"/>
                    </a:lnTo>
                    <a:lnTo>
                      <a:pt x="32" y="231"/>
                    </a:lnTo>
                    <a:lnTo>
                      <a:pt x="36" y="239"/>
                    </a:lnTo>
                    <a:lnTo>
                      <a:pt x="36" y="252"/>
                    </a:lnTo>
                    <a:lnTo>
                      <a:pt x="41" y="261"/>
                    </a:lnTo>
                    <a:lnTo>
                      <a:pt x="39" y="270"/>
                    </a:lnTo>
                    <a:lnTo>
                      <a:pt x="53" y="271"/>
                    </a:lnTo>
                    <a:lnTo>
                      <a:pt x="83" y="261"/>
                    </a:lnTo>
                    <a:lnTo>
                      <a:pt x="83" y="262"/>
                    </a:lnTo>
                    <a:lnTo>
                      <a:pt x="83" y="254"/>
                    </a:lnTo>
                    <a:lnTo>
                      <a:pt x="85" y="232"/>
                    </a:lnTo>
                    <a:lnTo>
                      <a:pt x="83" y="225"/>
                    </a:lnTo>
                    <a:lnTo>
                      <a:pt x="83" y="220"/>
                    </a:lnTo>
                    <a:lnTo>
                      <a:pt x="82" y="202"/>
                    </a:lnTo>
                    <a:lnTo>
                      <a:pt x="83" y="195"/>
                    </a:lnTo>
                    <a:lnTo>
                      <a:pt x="83" y="192"/>
                    </a:lnTo>
                    <a:lnTo>
                      <a:pt x="82" y="188"/>
                    </a:lnTo>
                    <a:lnTo>
                      <a:pt x="82" y="184"/>
                    </a:lnTo>
                    <a:lnTo>
                      <a:pt x="82" y="177"/>
                    </a:lnTo>
                    <a:lnTo>
                      <a:pt x="80" y="176"/>
                    </a:lnTo>
                    <a:lnTo>
                      <a:pt x="82" y="167"/>
                    </a:lnTo>
                    <a:lnTo>
                      <a:pt x="82" y="160"/>
                    </a:lnTo>
                    <a:lnTo>
                      <a:pt x="82" y="153"/>
                    </a:lnTo>
                    <a:lnTo>
                      <a:pt x="85" y="147"/>
                    </a:lnTo>
                    <a:lnTo>
                      <a:pt x="91" y="146"/>
                    </a:lnTo>
                    <a:lnTo>
                      <a:pt x="96" y="144"/>
                    </a:lnTo>
                    <a:lnTo>
                      <a:pt x="99" y="142"/>
                    </a:lnTo>
                    <a:lnTo>
                      <a:pt x="103" y="133"/>
                    </a:lnTo>
                    <a:lnTo>
                      <a:pt x="110" y="124"/>
                    </a:lnTo>
                    <a:lnTo>
                      <a:pt x="112" y="117"/>
                    </a:lnTo>
                    <a:lnTo>
                      <a:pt x="117" y="112"/>
                    </a:lnTo>
                    <a:lnTo>
                      <a:pt x="122" y="114"/>
                    </a:lnTo>
                    <a:lnTo>
                      <a:pt x="126" y="108"/>
                    </a:lnTo>
                    <a:lnTo>
                      <a:pt x="117" y="99"/>
                    </a:lnTo>
                    <a:lnTo>
                      <a:pt x="117" y="96"/>
                    </a:lnTo>
                    <a:lnTo>
                      <a:pt x="121" y="91"/>
                    </a:lnTo>
                    <a:lnTo>
                      <a:pt x="130" y="91"/>
                    </a:lnTo>
                    <a:lnTo>
                      <a:pt x="131" y="85"/>
                    </a:lnTo>
                    <a:lnTo>
                      <a:pt x="126" y="71"/>
                    </a:lnTo>
                    <a:lnTo>
                      <a:pt x="126" y="60"/>
                    </a:lnTo>
                    <a:lnTo>
                      <a:pt x="115" y="52"/>
                    </a:lnTo>
                    <a:lnTo>
                      <a:pt x="114" y="45"/>
                    </a:lnTo>
                    <a:lnTo>
                      <a:pt x="115" y="36"/>
                    </a:lnTo>
                    <a:lnTo>
                      <a:pt x="115" y="36"/>
                    </a:lnTo>
                    <a:lnTo>
                      <a:pt x="107" y="23"/>
                    </a:lnTo>
                    <a:lnTo>
                      <a:pt x="98" y="22"/>
                    </a:lnTo>
                    <a:lnTo>
                      <a:pt x="91" y="11"/>
                    </a:lnTo>
                    <a:lnTo>
                      <a:pt x="76" y="0"/>
                    </a:lnTo>
                    <a:lnTo>
                      <a:pt x="73" y="7"/>
                    </a:lnTo>
                    <a:lnTo>
                      <a:pt x="75" y="13"/>
                    </a:lnTo>
                    <a:lnTo>
                      <a:pt x="66" y="14"/>
                    </a:lnTo>
                    <a:lnTo>
                      <a:pt x="6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2" name="Freeform 32">
                <a:extLst>
                  <a:ext uri="{FF2B5EF4-FFF2-40B4-BE49-F238E27FC236}">
                    <a16:creationId xmlns:a16="http://schemas.microsoft.com/office/drawing/2014/main" id="{1F9AC73E-62BD-A578-E9D1-B25AB92D29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1038" y="2368551"/>
                <a:ext cx="768350" cy="1093788"/>
              </a:xfrm>
              <a:custGeom>
                <a:avLst/>
                <a:gdLst>
                  <a:gd name="T0" fmla="*/ 480 w 484"/>
                  <a:gd name="T1" fmla="*/ 169 h 689"/>
                  <a:gd name="T2" fmla="*/ 470 w 484"/>
                  <a:gd name="T3" fmla="*/ 340 h 689"/>
                  <a:gd name="T4" fmla="*/ 445 w 484"/>
                  <a:gd name="T5" fmla="*/ 342 h 689"/>
                  <a:gd name="T6" fmla="*/ 443 w 484"/>
                  <a:gd name="T7" fmla="*/ 367 h 689"/>
                  <a:gd name="T8" fmla="*/ 418 w 484"/>
                  <a:gd name="T9" fmla="*/ 392 h 689"/>
                  <a:gd name="T10" fmla="*/ 420 w 484"/>
                  <a:gd name="T11" fmla="*/ 411 h 689"/>
                  <a:gd name="T12" fmla="*/ 417 w 484"/>
                  <a:gd name="T13" fmla="*/ 427 h 689"/>
                  <a:gd name="T14" fmla="*/ 401 w 484"/>
                  <a:gd name="T15" fmla="*/ 456 h 689"/>
                  <a:gd name="T16" fmla="*/ 417 w 484"/>
                  <a:gd name="T17" fmla="*/ 463 h 689"/>
                  <a:gd name="T18" fmla="*/ 417 w 484"/>
                  <a:gd name="T19" fmla="*/ 473 h 689"/>
                  <a:gd name="T20" fmla="*/ 422 w 484"/>
                  <a:gd name="T21" fmla="*/ 489 h 689"/>
                  <a:gd name="T22" fmla="*/ 440 w 484"/>
                  <a:gd name="T23" fmla="*/ 512 h 689"/>
                  <a:gd name="T24" fmla="*/ 440 w 484"/>
                  <a:gd name="T25" fmla="*/ 530 h 689"/>
                  <a:gd name="T26" fmla="*/ 422 w 484"/>
                  <a:gd name="T27" fmla="*/ 537 h 689"/>
                  <a:gd name="T28" fmla="*/ 394 w 484"/>
                  <a:gd name="T29" fmla="*/ 548 h 689"/>
                  <a:gd name="T30" fmla="*/ 388 w 484"/>
                  <a:gd name="T31" fmla="*/ 562 h 689"/>
                  <a:gd name="T32" fmla="*/ 372 w 484"/>
                  <a:gd name="T33" fmla="*/ 573 h 689"/>
                  <a:gd name="T34" fmla="*/ 362 w 484"/>
                  <a:gd name="T35" fmla="*/ 588 h 689"/>
                  <a:gd name="T36" fmla="*/ 360 w 484"/>
                  <a:gd name="T37" fmla="*/ 608 h 689"/>
                  <a:gd name="T38" fmla="*/ 328 w 484"/>
                  <a:gd name="T39" fmla="*/ 620 h 689"/>
                  <a:gd name="T40" fmla="*/ 300 w 484"/>
                  <a:gd name="T41" fmla="*/ 617 h 689"/>
                  <a:gd name="T42" fmla="*/ 278 w 484"/>
                  <a:gd name="T43" fmla="*/ 620 h 689"/>
                  <a:gd name="T44" fmla="*/ 289 w 484"/>
                  <a:gd name="T45" fmla="*/ 636 h 689"/>
                  <a:gd name="T46" fmla="*/ 273 w 484"/>
                  <a:gd name="T47" fmla="*/ 656 h 689"/>
                  <a:gd name="T48" fmla="*/ 227 w 484"/>
                  <a:gd name="T49" fmla="*/ 668 h 689"/>
                  <a:gd name="T50" fmla="*/ 197 w 484"/>
                  <a:gd name="T51" fmla="*/ 682 h 689"/>
                  <a:gd name="T52" fmla="*/ 186 w 484"/>
                  <a:gd name="T53" fmla="*/ 665 h 689"/>
                  <a:gd name="T54" fmla="*/ 177 w 484"/>
                  <a:gd name="T55" fmla="*/ 688 h 689"/>
                  <a:gd name="T56" fmla="*/ 151 w 484"/>
                  <a:gd name="T57" fmla="*/ 689 h 689"/>
                  <a:gd name="T58" fmla="*/ 146 w 484"/>
                  <a:gd name="T59" fmla="*/ 668 h 689"/>
                  <a:gd name="T60" fmla="*/ 124 w 484"/>
                  <a:gd name="T61" fmla="*/ 642 h 689"/>
                  <a:gd name="T62" fmla="*/ 89 w 484"/>
                  <a:gd name="T63" fmla="*/ 610 h 689"/>
                  <a:gd name="T64" fmla="*/ 82 w 484"/>
                  <a:gd name="T65" fmla="*/ 597 h 689"/>
                  <a:gd name="T66" fmla="*/ 84 w 484"/>
                  <a:gd name="T67" fmla="*/ 580 h 689"/>
                  <a:gd name="T68" fmla="*/ 101 w 484"/>
                  <a:gd name="T69" fmla="*/ 580 h 689"/>
                  <a:gd name="T70" fmla="*/ 121 w 484"/>
                  <a:gd name="T71" fmla="*/ 580 h 689"/>
                  <a:gd name="T72" fmla="*/ 140 w 484"/>
                  <a:gd name="T73" fmla="*/ 583 h 689"/>
                  <a:gd name="T74" fmla="*/ 130 w 484"/>
                  <a:gd name="T75" fmla="*/ 571 h 689"/>
                  <a:gd name="T76" fmla="*/ 114 w 484"/>
                  <a:gd name="T77" fmla="*/ 548 h 689"/>
                  <a:gd name="T78" fmla="*/ 121 w 484"/>
                  <a:gd name="T79" fmla="*/ 523 h 689"/>
                  <a:gd name="T80" fmla="*/ 119 w 484"/>
                  <a:gd name="T81" fmla="*/ 511 h 689"/>
                  <a:gd name="T82" fmla="*/ 112 w 484"/>
                  <a:gd name="T83" fmla="*/ 486 h 689"/>
                  <a:gd name="T84" fmla="*/ 98 w 484"/>
                  <a:gd name="T85" fmla="*/ 461 h 689"/>
                  <a:gd name="T86" fmla="*/ 71 w 484"/>
                  <a:gd name="T87" fmla="*/ 441 h 689"/>
                  <a:gd name="T88" fmla="*/ 52 w 484"/>
                  <a:gd name="T89" fmla="*/ 372 h 689"/>
                  <a:gd name="T90" fmla="*/ 62 w 484"/>
                  <a:gd name="T91" fmla="*/ 365 h 689"/>
                  <a:gd name="T92" fmla="*/ 131 w 484"/>
                  <a:gd name="T93" fmla="*/ 231 h 689"/>
                  <a:gd name="T94" fmla="*/ 149 w 484"/>
                  <a:gd name="T95" fmla="*/ 131 h 689"/>
                  <a:gd name="T96" fmla="*/ 124 w 484"/>
                  <a:gd name="T97" fmla="*/ 82 h 689"/>
                  <a:gd name="T98" fmla="*/ 99 w 484"/>
                  <a:gd name="T99" fmla="*/ 20 h 689"/>
                  <a:gd name="T100" fmla="*/ 4 w 484"/>
                  <a:gd name="T101" fmla="*/ 452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84" h="689">
                    <a:moveTo>
                      <a:pt x="99" y="20"/>
                    </a:moveTo>
                    <a:lnTo>
                      <a:pt x="147" y="0"/>
                    </a:lnTo>
                    <a:lnTo>
                      <a:pt x="480" y="169"/>
                    </a:lnTo>
                    <a:lnTo>
                      <a:pt x="484" y="333"/>
                    </a:lnTo>
                    <a:lnTo>
                      <a:pt x="477" y="335"/>
                    </a:lnTo>
                    <a:lnTo>
                      <a:pt x="470" y="340"/>
                    </a:lnTo>
                    <a:lnTo>
                      <a:pt x="463" y="335"/>
                    </a:lnTo>
                    <a:lnTo>
                      <a:pt x="452" y="335"/>
                    </a:lnTo>
                    <a:lnTo>
                      <a:pt x="445" y="342"/>
                    </a:lnTo>
                    <a:lnTo>
                      <a:pt x="445" y="353"/>
                    </a:lnTo>
                    <a:lnTo>
                      <a:pt x="448" y="358"/>
                    </a:lnTo>
                    <a:lnTo>
                      <a:pt x="443" y="367"/>
                    </a:lnTo>
                    <a:lnTo>
                      <a:pt x="431" y="385"/>
                    </a:lnTo>
                    <a:lnTo>
                      <a:pt x="425" y="385"/>
                    </a:lnTo>
                    <a:lnTo>
                      <a:pt x="418" y="392"/>
                    </a:lnTo>
                    <a:lnTo>
                      <a:pt x="418" y="397"/>
                    </a:lnTo>
                    <a:lnTo>
                      <a:pt x="424" y="402"/>
                    </a:lnTo>
                    <a:lnTo>
                      <a:pt x="420" y="411"/>
                    </a:lnTo>
                    <a:lnTo>
                      <a:pt x="411" y="417"/>
                    </a:lnTo>
                    <a:lnTo>
                      <a:pt x="409" y="422"/>
                    </a:lnTo>
                    <a:lnTo>
                      <a:pt x="417" y="427"/>
                    </a:lnTo>
                    <a:lnTo>
                      <a:pt x="418" y="434"/>
                    </a:lnTo>
                    <a:lnTo>
                      <a:pt x="413" y="441"/>
                    </a:lnTo>
                    <a:lnTo>
                      <a:pt x="401" y="456"/>
                    </a:lnTo>
                    <a:lnTo>
                      <a:pt x="401" y="464"/>
                    </a:lnTo>
                    <a:lnTo>
                      <a:pt x="406" y="470"/>
                    </a:lnTo>
                    <a:lnTo>
                      <a:pt x="417" y="463"/>
                    </a:lnTo>
                    <a:lnTo>
                      <a:pt x="420" y="464"/>
                    </a:lnTo>
                    <a:lnTo>
                      <a:pt x="420" y="470"/>
                    </a:lnTo>
                    <a:lnTo>
                      <a:pt x="417" y="473"/>
                    </a:lnTo>
                    <a:lnTo>
                      <a:pt x="422" y="477"/>
                    </a:lnTo>
                    <a:lnTo>
                      <a:pt x="418" y="482"/>
                    </a:lnTo>
                    <a:lnTo>
                      <a:pt x="422" y="489"/>
                    </a:lnTo>
                    <a:lnTo>
                      <a:pt x="422" y="500"/>
                    </a:lnTo>
                    <a:lnTo>
                      <a:pt x="424" y="509"/>
                    </a:lnTo>
                    <a:lnTo>
                      <a:pt x="440" y="512"/>
                    </a:lnTo>
                    <a:lnTo>
                      <a:pt x="443" y="519"/>
                    </a:lnTo>
                    <a:lnTo>
                      <a:pt x="440" y="525"/>
                    </a:lnTo>
                    <a:lnTo>
                      <a:pt x="440" y="530"/>
                    </a:lnTo>
                    <a:lnTo>
                      <a:pt x="438" y="535"/>
                    </a:lnTo>
                    <a:lnTo>
                      <a:pt x="427" y="541"/>
                    </a:lnTo>
                    <a:lnTo>
                      <a:pt x="422" y="537"/>
                    </a:lnTo>
                    <a:lnTo>
                      <a:pt x="411" y="537"/>
                    </a:lnTo>
                    <a:lnTo>
                      <a:pt x="404" y="542"/>
                    </a:lnTo>
                    <a:lnTo>
                      <a:pt x="394" y="548"/>
                    </a:lnTo>
                    <a:lnTo>
                      <a:pt x="392" y="555"/>
                    </a:lnTo>
                    <a:lnTo>
                      <a:pt x="394" y="560"/>
                    </a:lnTo>
                    <a:lnTo>
                      <a:pt x="388" y="562"/>
                    </a:lnTo>
                    <a:lnTo>
                      <a:pt x="381" y="574"/>
                    </a:lnTo>
                    <a:lnTo>
                      <a:pt x="376" y="574"/>
                    </a:lnTo>
                    <a:lnTo>
                      <a:pt x="372" y="573"/>
                    </a:lnTo>
                    <a:lnTo>
                      <a:pt x="367" y="580"/>
                    </a:lnTo>
                    <a:lnTo>
                      <a:pt x="367" y="585"/>
                    </a:lnTo>
                    <a:lnTo>
                      <a:pt x="362" y="588"/>
                    </a:lnTo>
                    <a:lnTo>
                      <a:pt x="360" y="596"/>
                    </a:lnTo>
                    <a:lnTo>
                      <a:pt x="362" y="603"/>
                    </a:lnTo>
                    <a:lnTo>
                      <a:pt x="360" y="608"/>
                    </a:lnTo>
                    <a:lnTo>
                      <a:pt x="353" y="612"/>
                    </a:lnTo>
                    <a:lnTo>
                      <a:pt x="344" y="619"/>
                    </a:lnTo>
                    <a:lnTo>
                      <a:pt x="328" y="620"/>
                    </a:lnTo>
                    <a:lnTo>
                      <a:pt x="317" y="622"/>
                    </a:lnTo>
                    <a:lnTo>
                      <a:pt x="307" y="620"/>
                    </a:lnTo>
                    <a:lnTo>
                      <a:pt x="300" y="617"/>
                    </a:lnTo>
                    <a:lnTo>
                      <a:pt x="291" y="619"/>
                    </a:lnTo>
                    <a:lnTo>
                      <a:pt x="284" y="617"/>
                    </a:lnTo>
                    <a:lnTo>
                      <a:pt x="278" y="620"/>
                    </a:lnTo>
                    <a:lnTo>
                      <a:pt x="278" y="627"/>
                    </a:lnTo>
                    <a:lnTo>
                      <a:pt x="284" y="636"/>
                    </a:lnTo>
                    <a:lnTo>
                      <a:pt x="289" y="636"/>
                    </a:lnTo>
                    <a:lnTo>
                      <a:pt x="291" y="642"/>
                    </a:lnTo>
                    <a:lnTo>
                      <a:pt x="278" y="649"/>
                    </a:lnTo>
                    <a:lnTo>
                      <a:pt x="273" y="656"/>
                    </a:lnTo>
                    <a:lnTo>
                      <a:pt x="262" y="656"/>
                    </a:lnTo>
                    <a:lnTo>
                      <a:pt x="238" y="661"/>
                    </a:lnTo>
                    <a:lnTo>
                      <a:pt x="227" y="668"/>
                    </a:lnTo>
                    <a:lnTo>
                      <a:pt x="216" y="674"/>
                    </a:lnTo>
                    <a:lnTo>
                      <a:pt x="206" y="681"/>
                    </a:lnTo>
                    <a:lnTo>
                      <a:pt x="197" y="682"/>
                    </a:lnTo>
                    <a:lnTo>
                      <a:pt x="193" y="679"/>
                    </a:lnTo>
                    <a:lnTo>
                      <a:pt x="192" y="668"/>
                    </a:lnTo>
                    <a:lnTo>
                      <a:pt x="186" y="665"/>
                    </a:lnTo>
                    <a:lnTo>
                      <a:pt x="183" y="670"/>
                    </a:lnTo>
                    <a:lnTo>
                      <a:pt x="183" y="677"/>
                    </a:lnTo>
                    <a:lnTo>
                      <a:pt x="177" y="688"/>
                    </a:lnTo>
                    <a:lnTo>
                      <a:pt x="165" y="688"/>
                    </a:lnTo>
                    <a:lnTo>
                      <a:pt x="160" y="689"/>
                    </a:lnTo>
                    <a:lnTo>
                      <a:pt x="151" y="689"/>
                    </a:lnTo>
                    <a:lnTo>
                      <a:pt x="149" y="681"/>
                    </a:lnTo>
                    <a:lnTo>
                      <a:pt x="146" y="675"/>
                    </a:lnTo>
                    <a:lnTo>
                      <a:pt x="146" y="668"/>
                    </a:lnTo>
                    <a:lnTo>
                      <a:pt x="138" y="658"/>
                    </a:lnTo>
                    <a:lnTo>
                      <a:pt x="131" y="647"/>
                    </a:lnTo>
                    <a:lnTo>
                      <a:pt x="124" y="642"/>
                    </a:lnTo>
                    <a:lnTo>
                      <a:pt x="110" y="626"/>
                    </a:lnTo>
                    <a:lnTo>
                      <a:pt x="94" y="613"/>
                    </a:lnTo>
                    <a:lnTo>
                      <a:pt x="89" y="610"/>
                    </a:lnTo>
                    <a:lnTo>
                      <a:pt x="87" y="604"/>
                    </a:lnTo>
                    <a:lnTo>
                      <a:pt x="82" y="603"/>
                    </a:lnTo>
                    <a:lnTo>
                      <a:pt x="82" y="597"/>
                    </a:lnTo>
                    <a:lnTo>
                      <a:pt x="82" y="590"/>
                    </a:lnTo>
                    <a:lnTo>
                      <a:pt x="84" y="587"/>
                    </a:lnTo>
                    <a:lnTo>
                      <a:pt x="84" y="580"/>
                    </a:lnTo>
                    <a:lnTo>
                      <a:pt x="91" y="580"/>
                    </a:lnTo>
                    <a:lnTo>
                      <a:pt x="98" y="580"/>
                    </a:lnTo>
                    <a:lnTo>
                      <a:pt x="101" y="580"/>
                    </a:lnTo>
                    <a:lnTo>
                      <a:pt x="108" y="580"/>
                    </a:lnTo>
                    <a:lnTo>
                      <a:pt x="115" y="580"/>
                    </a:lnTo>
                    <a:lnTo>
                      <a:pt x="121" y="580"/>
                    </a:lnTo>
                    <a:lnTo>
                      <a:pt x="130" y="580"/>
                    </a:lnTo>
                    <a:lnTo>
                      <a:pt x="133" y="583"/>
                    </a:lnTo>
                    <a:lnTo>
                      <a:pt x="140" y="583"/>
                    </a:lnTo>
                    <a:lnTo>
                      <a:pt x="144" y="581"/>
                    </a:lnTo>
                    <a:lnTo>
                      <a:pt x="140" y="580"/>
                    </a:lnTo>
                    <a:lnTo>
                      <a:pt x="130" y="571"/>
                    </a:lnTo>
                    <a:lnTo>
                      <a:pt x="128" y="562"/>
                    </a:lnTo>
                    <a:lnTo>
                      <a:pt x="121" y="558"/>
                    </a:lnTo>
                    <a:lnTo>
                      <a:pt x="114" y="548"/>
                    </a:lnTo>
                    <a:lnTo>
                      <a:pt x="114" y="539"/>
                    </a:lnTo>
                    <a:lnTo>
                      <a:pt x="117" y="535"/>
                    </a:lnTo>
                    <a:lnTo>
                      <a:pt x="121" y="523"/>
                    </a:lnTo>
                    <a:lnTo>
                      <a:pt x="117" y="518"/>
                    </a:lnTo>
                    <a:lnTo>
                      <a:pt x="117" y="514"/>
                    </a:lnTo>
                    <a:lnTo>
                      <a:pt x="119" y="511"/>
                    </a:lnTo>
                    <a:lnTo>
                      <a:pt x="119" y="505"/>
                    </a:lnTo>
                    <a:lnTo>
                      <a:pt x="114" y="493"/>
                    </a:lnTo>
                    <a:lnTo>
                      <a:pt x="112" y="486"/>
                    </a:lnTo>
                    <a:lnTo>
                      <a:pt x="108" y="482"/>
                    </a:lnTo>
                    <a:lnTo>
                      <a:pt x="107" y="470"/>
                    </a:lnTo>
                    <a:lnTo>
                      <a:pt x="98" y="461"/>
                    </a:lnTo>
                    <a:lnTo>
                      <a:pt x="76" y="452"/>
                    </a:lnTo>
                    <a:lnTo>
                      <a:pt x="76" y="450"/>
                    </a:lnTo>
                    <a:lnTo>
                      <a:pt x="71" y="441"/>
                    </a:lnTo>
                    <a:lnTo>
                      <a:pt x="61" y="427"/>
                    </a:lnTo>
                    <a:lnTo>
                      <a:pt x="55" y="426"/>
                    </a:lnTo>
                    <a:lnTo>
                      <a:pt x="52" y="372"/>
                    </a:lnTo>
                    <a:lnTo>
                      <a:pt x="52" y="367"/>
                    </a:lnTo>
                    <a:lnTo>
                      <a:pt x="57" y="367"/>
                    </a:lnTo>
                    <a:lnTo>
                      <a:pt x="62" y="365"/>
                    </a:lnTo>
                    <a:lnTo>
                      <a:pt x="64" y="362"/>
                    </a:lnTo>
                    <a:lnTo>
                      <a:pt x="133" y="291"/>
                    </a:lnTo>
                    <a:lnTo>
                      <a:pt x="131" y="231"/>
                    </a:lnTo>
                    <a:lnTo>
                      <a:pt x="142" y="153"/>
                    </a:lnTo>
                    <a:lnTo>
                      <a:pt x="149" y="146"/>
                    </a:lnTo>
                    <a:lnTo>
                      <a:pt x="149" y="131"/>
                    </a:lnTo>
                    <a:lnTo>
                      <a:pt x="121" y="98"/>
                    </a:lnTo>
                    <a:lnTo>
                      <a:pt x="124" y="93"/>
                    </a:lnTo>
                    <a:lnTo>
                      <a:pt x="124" y="82"/>
                    </a:lnTo>
                    <a:lnTo>
                      <a:pt x="105" y="25"/>
                    </a:lnTo>
                    <a:lnTo>
                      <a:pt x="99" y="20"/>
                    </a:lnTo>
                    <a:lnTo>
                      <a:pt x="99" y="20"/>
                    </a:lnTo>
                    <a:close/>
                    <a:moveTo>
                      <a:pt x="13" y="445"/>
                    </a:moveTo>
                    <a:lnTo>
                      <a:pt x="9" y="452"/>
                    </a:lnTo>
                    <a:lnTo>
                      <a:pt x="4" y="452"/>
                    </a:lnTo>
                    <a:lnTo>
                      <a:pt x="0" y="450"/>
                    </a:lnTo>
                    <a:lnTo>
                      <a:pt x="13" y="44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3" name="Freeform 33">
                <a:extLst>
                  <a:ext uri="{FF2B5EF4-FFF2-40B4-BE49-F238E27FC236}">
                    <a16:creationId xmlns:a16="http://schemas.microsoft.com/office/drawing/2014/main" id="{0F34E7AC-684A-836F-00CE-751FFA926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4276" y="2382838"/>
                <a:ext cx="1003300" cy="782638"/>
              </a:xfrm>
              <a:custGeom>
                <a:avLst/>
                <a:gdLst>
                  <a:gd name="T0" fmla="*/ 133 w 632"/>
                  <a:gd name="T1" fmla="*/ 480 h 493"/>
                  <a:gd name="T2" fmla="*/ 117 w 632"/>
                  <a:gd name="T3" fmla="*/ 468 h 493"/>
                  <a:gd name="T4" fmla="*/ 99 w 632"/>
                  <a:gd name="T5" fmla="*/ 464 h 493"/>
                  <a:gd name="T6" fmla="*/ 92 w 632"/>
                  <a:gd name="T7" fmla="*/ 471 h 493"/>
                  <a:gd name="T8" fmla="*/ 76 w 632"/>
                  <a:gd name="T9" fmla="*/ 461 h 493"/>
                  <a:gd name="T10" fmla="*/ 81 w 632"/>
                  <a:gd name="T11" fmla="*/ 447 h 493"/>
                  <a:gd name="T12" fmla="*/ 76 w 632"/>
                  <a:gd name="T13" fmla="*/ 438 h 493"/>
                  <a:gd name="T14" fmla="*/ 53 w 632"/>
                  <a:gd name="T15" fmla="*/ 445 h 493"/>
                  <a:gd name="T16" fmla="*/ 39 w 632"/>
                  <a:gd name="T17" fmla="*/ 417 h 493"/>
                  <a:gd name="T18" fmla="*/ 0 w 632"/>
                  <a:gd name="T19" fmla="*/ 379 h 493"/>
                  <a:gd name="T20" fmla="*/ 7 w 632"/>
                  <a:gd name="T21" fmla="*/ 360 h 493"/>
                  <a:gd name="T22" fmla="*/ 19 w 632"/>
                  <a:gd name="T23" fmla="*/ 356 h 493"/>
                  <a:gd name="T24" fmla="*/ 56 w 632"/>
                  <a:gd name="T25" fmla="*/ 355 h 493"/>
                  <a:gd name="T26" fmla="*/ 85 w 632"/>
                  <a:gd name="T27" fmla="*/ 349 h 493"/>
                  <a:gd name="T28" fmla="*/ 106 w 632"/>
                  <a:gd name="T29" fmla="*/ 340 h 493"/>
                  <a:gd name="T30" fmla="*/ 131 w 632"/>
                  <a:gd name="T31" fmla="*/ 333 h 493"/>
                  <a:gd name="T32" fmla="*/ 154 w 632"/>
                  <a:gd name="T33" fmla="*/ 314 h 493"/>
                  <a:gd name="T34" fmla="*/ 161 w 632"/>
                  <a:gd name="T35" fmla="*/ 294 h 493"/>
                  <a:gd name="T36" fmla="*/ 166 w 632"/>
                  <a:gd name="T37" fmla="*/ 177 h 493"/>
                  <a:gd name="T38" fmla="*/ 281 w 632"/>
                  <a:gd name="T39" fmla="*/ 115 h 493"/>
                  <a:gd name="T40" fmla="*/ 540 w 632"/>
                  <a:gd name="T41" fmla="*/ 18 h 493"/>
                  <a:gd name="T42" fmla="*/ 582 w 632"/>
                  <a:gd name="T43" fmla="*/ 11 h 493"/>
                  <a:gd name="T44" fmla="*/ 607 w 632"/>
                  <a:gd name="T45" fmla="*/ 73 h 493"/>
                  <a:gd name="T46" fmla="*/ 604 w 632"/>
                  <a:gd name="T47" fmla="*/ 89 h 493"/>
                  <a:gd name="T48" fmla="*/ 632 w 632"/>
                  <a:gd name="T49" fmla="*/ 137 h 493"/>
                  <a:gd name="T50" fmla="*/ 614 w 632"/>
                  <a:gd name="T51" fmla="*/ 222 h 493"/>
                  <a:gd name="T52" fmla="*/ 547 w 632"/>
                  <a:gd name="T53" fmla="*/ 353 h 493"/>
                  <a:gd name="T54" fmla="*/ 540 w 632"/>
                  <a:gd name="T55" fmla="*/ 358 h 493"/>
                  <a:gd name="T56" fmla="*/ 535 w 632"/>
                  <a:gd name="T57" fmla="*/ 363 h 493"/>
                  <a:gd name="T58" fmla="*/ 529 w 632"/>
                  <a:gd name="T59" fmla="*/ 413 h 493"/>
                  <a:gd name="T60" fmla="*/ 524 w 632"/>
                  <a:gd name="T61" fmla="*/ 425 h 493"/>
                  <a:gd name="T62" fmla="*/ 513 w 632"/>
                  <a:gd name="T63" fmla="*/ 425 h 493"/>
                  <a:gd name="T64" fmla="*/ 506 w 632"/>
                  <a:gd name="T65" fmla="*/ 431 h 493"/>
                  <a:gd name="T66" fmla="*/ 496 w 632"/>
                  <a:gd name="T67" fmla="*/ 436 h 493"/>
                  <a:gd name="T68" fmla="*/ 478 w 632"/>
                  <a:gd name="T69" fmla="*/ 438 h 493"/>
                  <a:gd name="T70" fmla="*/ 453 w 632"/>
                  <a:gd name="T71" fmla="*/ 431 h 493"/>
                  <a:gd name="T72" fmla="*/ 427 w 632"/>
                  <a:gd name="T73" fmla="*/ 432 h 493"/>
                  <a:gd name="T74" fmla="*/ 395 w 632"/>
                  <a:gd name="T75" fmla="*/ 434 h 493"/>
                  <a:gd name="T76" fmla="*/ 375 w 632"/>
                  <a:gd name="T77" fmla="*/ 455 h 493"/>
                  <a:gd name="T78" fmla="*/ 350 w 632"/>
                  <a:gd name="T79" fmla="*/ 448 h 493"/>
                  <a:gd name="T80" fmla="*/ 329 w 632"/>
                  <a:gd name="T81" fmla="*/ 440 h 493"/>
                  <a:gd name="T82" fmla="*/ 320 w 632"/>
                  <a:gd name="T83" fmla="*/ 432 h 493"/>
                  <a:gd name="T84" fmla="*/ 306 w 632"/>
                  <a:gd name="T85" fmla="*/ 427 h 493"/>
                  <a:gd name="T86" fmla="*/ 292 w 632"/>
                  <a:gd name="T87" fmla="*/ 431 h 493"/>
                  <a:gd name="T88" fmla="*/ 281 w 632"/>
                  <a:gd name="T89" fmla="*/ 434 h 493"/>
                  <a:gd name="T90" fmla="*/ 272 w 632"/>
                  <a:gd name="T91" fmla="*/ 441 h 493"/>
                  <a:gd name="T92" fmla="*/ 255 w 632"/>
                  <a:gd name="T93" fmla="*/ 424 h 493"/>
                  <a:gd name="T94" fmla="*/ 239 w 632"/>
                  <a:gd name="T95" fmla="*/ 415 h 493"/>
                  <a:gd name="T96" fmla="*/ 226 w 632"/>
                  <a:gd name="T97" fmla="*/ 409 h 493"/>
                  <a:gd name="T98" fmla="*/ 210 w 632"/>
                  <a:gd name="T99" fmla="*/ 406 h 493"/>
                  <a:gd name="T100" fmla="*/ 200 w 632"/>
                  <a:gd name="T101" fmla="*/ 409 h 493"/>
                  <a:gd name="T102" fmla="*/ 184 w 632"/>
                  <a:gd name="T103" fmla="*/ 409 h 493"/>
                  <a:gd name="T104" fmla="*/ 170 w 632"/>
                  <a:gd name="T105" fmla="*/ 411 h 493"/>
                  <a:gd name="T106" fmla="*/ 163 w 632"/>
                  <a:gd name="T107" fmla="*/ 415 h 493"/>
                  <a:gd name="T108" fmla="*/ 152 w 632"/>
                  <a:gd name="T109" fmla="*/ 427 h 493"/>
                  <a:gd name="T110" fmla="*/ 152 w 632"/>
                  <a:gd name="T111" fmla="*/ 432 h 493"/>
                  <a:gd name="T112" fmla="*/ 152 w 632"/>
                  <a:gd name="T113" fmla="*/ 443 h 493"/>
                  <a:gd name="T114" fmla="*/ 156 w 632"/>
                  <a:gd name="T115" fmla="*/ 454 h 493"/>
                  <a:gd name="T116" fmla="*/ 140 w 632"/>
                  <a:gd name="T117" fmla="*/ 463 h 493"/>
                  <a:gd name="T118" fmla="*/ 138 w 632"/>
                  <a:gd name="T119" fmla="*/ 471 h 493"/>
                  <a:gd name="T120" fmla="*/ 148 w 632"/>
                  <a:gd name="T121" fmla="*/ 482 h 493"/>
                  <a:gd name="T122" fmla="*/ 141 w 632"/>
                  <a:gd name="T123" fmla="*/ 493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32" h="493">
                    <a:moveTo>
                      <a:pt x="141" y="493"/>
                    </a:moveTo>
                    <a:lnTo>
                      <a:pt x="133" y="480"/>
                    </a:lnTo>
                    <a:lnTo>
                      <a:pt x="124" y="479"/>
                    </a:lnTo>
                    <a:lnTo>
                      <a:pt x="117" y="468"/>
                    </a:lnTo>
                    <a:lnTo>
                      <a:pt x="102" y="457"/>
                    </a:lnTo>
                    <a:lnTo>
                      <a:pt x="99" y="464"/>
                    </a:lnTo>
                    <a:lnTo>
                      <a:pt x="101" y="470"/>
                    </a:lnTo>
                    <a:lnTo>
                      <a:pt x="92" y="471"/>
                    </a:lnTo>
                    <a:lnTo>
                      <a:pt x="85" y="473"/>
                    </a:lnTo>
                    <a:lnTo>
                      <a:pt x="76" y="461"/>
                    </a:lnTo>
                    <a:lnTo>
                      <a:pt x="81" y="454"/>
                    </a:lnTo>
                    <a:lnTo>
                      <a:pt x="81" y="447"/>
                    </a:lnTo>
                    <a:lnTo>
                      <a:pt x="78" y="443"/>
                    </a:lnTo>
                    <a:lnTo>
                      <a:pt x="76" y="438"/>
                    </a:lnTo>
                    <a:lnTo>
                      <a:pt x="72" y="436"/>
                    </a:lnTo>
                    <a:lnTo>
                      <a:pt x="53" y="445"/>
                    </a:lnTo>
                    <a:lnTo>
                      <a:pt x="39" y="434"/>
                    </a:lnTo>
                    <a:lnTo>
                      <a:pt x="39" y="417"/>
                    </a:lnTo>
                    <a:lnTo>
                      <a:pt x="0" y="392"/>
                    </a:lnTo>
                    <a:lnTo>
                      <a:pt x="0" y="379"/>
                    </a:lnTo>
                    <a:lnTo>
                      <a:pt x="5" y="370"/>
                    </a:lnTo>
                    <a:lnTo>
                      <a:pt x="7" y="360"/>
                    </a:lnTo>
                    <a:lnTo>
                      <a:pt x="9" y="353"/>
                    </a:lnTo>
                    <a:lnTo>
                      <a:pt x="19" y="356"/>
                    </a:lnTo>
                    <a:lnTo>
                      <a:pt x="47" y="353"/>
                    </a:lnTo>
                    <a:lnTo>
                      <a:pt x="56" y="355"/>
                    </a:lnTo>
                    <a:lnTo>
                      <a:pt x="67" y="349"/>
                    </a:lnTo>
                    <a:lnTo>
                      <a:pt x="85" y="349"/>
                    </a:lnTo>
                    <a:lnTo>
                      <a:pt x="94" y="349"/>
                    </a:lnTo>
                    <a:lnTo>
                      <a:pt x="106" y="340"/>
                    </a:lnTo>
                    <a:lnTo>
                      <a:pt x="118" y="340"/>
                    </a:lnTo>
                    <a:lnTo>
                      <a:pt x="131" y="333"/>
                    </a:lnTo>
                    <a:lnTo>
                      <a:pt x="150" y="323"/>
                    </a:lnTo>
                    <a:lnTo>
                      <a:pt x="154" y="314"/>
                    </a:lnTo>
                    <a:lnTo>
                      <a:pt x="154" y="298"/>
                    </a:lnTo>
                    <a:lnTo>
                      <a:pt x="161" y="294"/>
                    </a:lnTo>
                    <a:lnTo>
                      <a:pt x="164" y="257"/>
                    </a:lnTo>
                    <a:lnTo>
                      <a:pt x="166" y="177"/>
                    </a:lnTo>
                    <a:lnTo>
                      <a:pt x="230" y="161"/>
                    </a:lnTo>
                    <a:lnTo>
                      <a:pt x="281" y="115"/>
                    </a:lnTo>
                    <a:lnTo>
                      <a:pt x="467" y="0"/>
                    </a:lnTo>
                    <a:lnTo>
                      <a:pt x="540" y="18"/>
                    </a:lnTo>
                    <a:lnTo>
                      <a:pt x="545" y="25"/>
                    </a:lnTo>
                    <a:lnTo>
                      <a:pt x="582" y="11"/>
                    </a:lnTo>
                    <a:lnTo>
                      <a:pt x="588" y="16"/>
                    </a:lnTo>
                    <a:lnTo>
                      <a:pt x="607" y="73"/>
                    </a:lnTo>
                    <a:lnTo>
                      <a:pt x="607" y="84"/>
                    </a:lnTo>
                    <a:lnTo>
                      <a:pt x="604" y="89"/>
                    </a:lnTo>
                    <a:lnTo>
                      <a:pt x="632" y="122"/>
                    </a:lnTo>
                    <a:lnTo>
                      <a:pt x="632" y="137"/>
                    </a:lnTo>
                    <a:lnTo>
                      <a:pt x="625" y="144"/>
                    </a:lnTo>
                    <a:lnTo>
                      <a:pt x="614" y="222"/>
                    </a:lnTo>
                    <a:lnTo>
                      <a:pt x="616" y="282"/>
                    </a:lnTo>
                    <a:lnTo>
                      <a:pt x="547" y="353"/>
                    </a:lnTo>
                    <a:lnTo>
                      <a:pt x="545" y="356"/>
                    </a:lnTo>
                    <a:lnTo>
                      <a:pt x="540" y="358"/>
                    </a:lnTo>
                    <a:lnTo>
                      <a:pt x="535" y="358"/>
                    </a:lnTo>
                    <a:lnTo>
                      <a:pt x="535" y="363"/>
                    </a:lnTo>
                    <a:lnTo>
                      <a:pt x="538" y="417"/>
                    </a:lnTo>
                    <a:lnTo>
                      <a:pt x="529" y="413"/>
                    </a:lnTo>
                    <a:lnTo>
                      <a:pt x="526" y="420"/>
                    </a:lnTo>
                    <a:lnTo>
                      <a:pt x="524" y="425"/>
                    </a:lnTo>
                    <a:lnTo>
                      <a:pt x="520" y="427"/>
                    </a:lnTo>
                    <a:lnTo>
                      <a:pt x="513" y="425"/>
                    </a:lnTo>
                    <a:lnTo>
                      <a:pt x="508" y="427"/>
                    </a:lnTo>
                    <a:lnTo>
                      <a:pt x="506" y="431"/>
                    </a:lnTo>
                    <a:lnTo>
                      <a:pt x="497" y="434"/>
                    </a:lnTo>
                    <a:lnTo>
                      <a:pt x="496" y="436"/>
                    </a:lnTo>
                    <a:lnTo>
                      <a:pt x="483" y="441"/>
                    </a:lnTo>
                    <a:lnTo>
                      <a:pt x="478" y="438"/>
                    </a:lnTo>
                    <a:lnTo>
                      <a:pt x="467" y="438"/>
                    </a:lnTo>
                    <a:lnTo>
                      <a:pt x="453" y="431"/>
                    </a:lnTo>
                    <a:lnTo>
                      <a:pt x="435" y="429"/>
                    </a:lnTo>
                    <a:lnTo>
                      <a:pt x="427" y="432"/>
                    </a:lnTo>
                    <a:lnTo>
                      <a:pt x="404" y="432"/>
                    </a:lnTo>
                    <a:lnTo>
                      <a:pt x="395" y="434"/>
                    </a:lnTo>
                    <a:lnTo>
                      <a:pt x="386" y="448"/>
                    </a:lnTo>
                    <a:lnTo>
                      <a:pt x="375" y="455"/>
                    </a:lnTo>
                    <a:lnTo>
                      <a:pt x="368" y="454"/>
                    </a:lnTo>
                    <a:lnTo>
                      <a:pt x="350" y="448"/>
                    </a:lnTo>
                    <a:lnTo>
                      <a:pt x="342" y="447"/>
                    </a:lnTo>
                    <a:lnTo>
                      <a:pt x="329" y="440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3" y="427"/>
                    </a:lnTo>
                    <a:lnTo>
                      <a:pt x="306" y="427"/>
                    </a:lnTo>
                    <a:lnTo>
                      <a:pt x="304" y="429"/>
                    </a:lnTo>
                    <a:lnTo>
                      <a:pt x="292" y="431"/>
                    </a:lnTo>
                    <a:lnTo>
                      <a:pt x="287" y="434"/>
                    </a:lnTo>
                    <a:lnTo>
                      <a:pt x="281" y="434"/>
                    </a:lnTo>
                    <a:lnTo>
                      <a:pt x="276" y="440"/>
                    </a:lnTo>
                    <a:lnTo>
                      <a:pt x="272" y="441"/>
                    </a:lnTo>
                    <a:lnTo>
                      <a:pt x="264" y="436"/>
                    </a:lnTo>
                    <a:lnTo>
                      <a:pt x="255" y="424"/>
                    </a:lnTo>
                    <a:lnTo>
                      <a:pt x="251" y="418"/>
                    </a:lnTo>
                    <a:lnTo>
                      <a:pt x="239" y="415"/>
                    </a:lnTo>
                    <a:lnTo>
                      <a:pt x="232" y="413"/>
                    </a:lnTo>
                    <a:lnTo>
                      <a:pt x="226" y="409"/>
                    </a:lnTo>
                    <a:lnTo>
                      <a:pt x="216" y="408"/>
                    </a:lnTo>
                    <a:lnTo>
                      <a:pt x="210" y="406"/>
                    </a:lnTo>
                    <a:lnTo>
                      <a:pt x="203" y="408"/>
                    </a:lnTo>
                    <a:lnTo>
                      <a:pt x="200" y="409"/>
                    </a:lnTo>
                    <a:lnTo>
                      <a:pt x="187" y="409"/>
                    </a:lnTo>
                    <a:lnTo>
                      <a:pt x="184" y="409"/>
                    </a:lnTo>
                    <a:lnTo>
                      <a:pt x="179" y="409"/>
                    </a:lnTo>
                    <a:lnTo>
                      <a:pt x="170" y="411"/>
                    </a:lnTo>
                    <a:lnTo>
                      <a:pt x="166" y="413"/>
                    </a:lnTo>
                    <a:lnTo>
                      <a:pt x="163" y="415"/>
                    </a:lnTo>
                    <a:lnTo>
                      <a:pt x="152" y="424"/>
                    </a:lnTo>
                    <a:lnTo>
                      <a:pt x="152" y="427"/>
                    </a:lnTo>
                    <a:lnTo>
                      <a:pt x="154" y="431"/>
                    </a:lnTo>
                    <a:lnTo>
                      <a:pt x="152" y="432"/>
                    </a:lnTo>
                    <a:lnTo>
                      <a:pt x="150" y="436"/>
                    </a:lnTo>
                    <a:lnTo>
                      <a:pt x="152" y="443"/>
                    </a:lnTo>
                    <a:lnTo>
                      <a:pt x="156" y="447"/>
                    </a:lnTo>
                    <a:lnTo>
                      <a:pt x="156" y="454"/>
                    </a:lnTo>
                    <a:lnTo>
                      <a:pt x="148" y="454"/>
                    </a:lnTo>
                    <a:lnTo>
                      <a:pt x="140" y="463"/>
                    </a:lnTo>
                    <a:lnTo>
                      <a:pt x="141" y="466"/>
                    </a:lnTo>
                    <a:lnTo>
                      <a:pt x="138" y="471"/>
                    </a:lnTo>
                    <a:lnTo>
                      <a:pt x="143" y="482"/>
                    </a:lnTo>
                    <a:lnTo>
                      <a:pt x="148" y="482"/>
                    </a:lnTo>
                    <a:lnTo>
                      <a:pt x="148" y="487"/>
                    </a:lnTo>
                    <a:lnTo>
                      <a:pt x="141" y="49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4" name="Freeform 34">
                <a:extLst>
                  <a:ext uri="{FF2B5EF4-FFF2-40B4-BE49-F238E27FC236}">
                    <a16:creationId xmlns:a16="http://schemas.microsoft.com/office/drawing/2014/main" id="{CF3E9FFC-E28D-B827-E442-9DAD9B365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1" y="3027363"/>
                <a:ext cx="755650" cy="646113"/>
              </a:xfrm>
              <a:custGeom>
                <a:avLst/>
                <a:gdLst>
                  <a:gd name="T0" fmla="*/ 448 w 476"/>
                  <a:gd name="T1" fmla="*/ 26 h 407"/>
                  <a:gd name="T2" fmla="*/ 420 w 476"/>
                  <a:gd name="T3" fmla="*/ 14 h 407"/>
                  <a:gd name="T4" fmla="*/ 407 w 476"/>
                  <a:gd name="T5" fmla="*/ 19 h 407"/>
                  <a:gd name="T6" fmla="*/ 391 w 476"/>
                  <a:gd name="T7" fmla="*/ 28 h 407"/>
                  <a:gd name="T8" fmla="*/ 372 w 476"/>
                  <a:gd name="T9" fmla="*/ 32 h 407"/>
                  <a:gd name="T10" fmla="*/ 329 w 476"/>
                  <a:gd name="T11" fmla="*/ 23 h 407"/>
                  <a:gd name="T12" fmla="*/ 289 w 476"/>
                  <a:gd name="T13" fmla="*/ 28 h 407"/>
                  <a:gd name="T14" fmla="*/ 262 w 476"/>
                  <a:gd name="T15" fmla="*/ 48 h 407"/>
                  <a:gd name="T16" fmla="*/ 223 w 476"/>
                  <a:gd name="T17" fmla="*/ 34 h 407"/>
                  <a:gd name="T18" fmla="*/ 207 w 476"/>
                  <a:gd name="T19" fmla="*/ 21 h 407"/>
                  <a:gd name="T20" fmla="*/ 186 w 476"/>
                  <a:gd name="T21" fmla="*/ 25 h 407"/>
                  <a:gd name="T22" fmla="*/ 170 w 476"/>
                  <a:gd name="T23" fmla="*/ 34 h 407"/>
                  <a:gd name="T24" fmla="*/ 149 w 476"/>
                  <a:gd name="T25" fmla="*/ 18 h 407"/>
                  <a:gd name="T26" fmla="*/ 126 w 476"/>
                  <a:gd name="T27" fmla="*/ 7 h 407"/>
                  <a:gd name="T28" fmla="*/ 104 w 476"/>
                  <a:gd name="T29" fmla="*/ 0 h 407"/>
                  <a:gd name="T30" fmla="*/ 81 w 476"/>
                  <a:gd name="T31" fmla="*/ 3 h 407"/>
                  <a:gd name="T32" fmla="*/ 64 w 476"/>
                  <a:gd name="T33" fmla="*/ 5 h 407"/>
                  <a:gd name="T34" fmla="*/ 46 w 476"/>
                  <a:gd name="T35" fmla="*/ 18 h 407"/>
                  <a:gd name="T36" fmla="*/ 46 w 476"/>
                  <a:gd name="T37" fmla="*/ 26 h 407"/>
                  <a:gd name="T38" fmla="*/ 50 w 476"/>
                  <a:gd name="T39" fmla="*/ 41 h 407"/>
                  <a:gd name="T40" fmla="*/ 34 w 476"/>
                  <a:gd name="T41" fmla="*/ 57 h 407"/>
                  <a:gd name="T42" fmla="*/ 37 w 476"/>
                  <a:gd name="T43" fmla="*/ 76 h 407"/>
                  <a:gd name="T44" fmla="*/ 35 w 476"/>
                  <a:gd name="T45" fmla="*/ 87 h 407"/>
                  <a:gd name="T46" fmla="*/ 46 w 476"/>
                  <a:gd name="T47" fmla="*/ 111 h 407"/>
                  <a:gd name="T48" fmla="*/ 50 w 476"/>
                  <a:gd name="T49" fmla="*/ 142 h 407"/>
                  <a:gd name="T50" fmla="*/ 37 w 476"/>
                  <a:gd name="T51" fmla="*/ 150 h 407"/>
                  <a:gd name="T52" fmla="*/ 37 w 476"/>
                  <a:gd name="T53" fmla="*/ 163 h 407"/>
                  <a:gd name="T54" fmla="*/ 23 w 476"/>
                  <a:gd name="T55" fmla="*/ 184 h 407"/>
                  <a:gd name="T56" fmla="*/ 11 w 476"/>
                  <a:gd name="T57" fmla="*/ 197 h 407"/>
                  <a:gd name="T58" fmla="*/ 2 w 476"/>
                  <a:gd name="T59" fmla="*/ 211 h 407"/>
                  <a:gd name="T60" fmla="*/ 2 w 476"/>
                  <a:gd name="T61" fmla="*/ 228 h 407"/>
                  <a:gd name="T62" fmla="*/ 3 w 476"/>
                  <a:gd name="T63" fmla="*/ 243 h 407"/>
                  <a:gd name="T64" fmla="*/ 3 w 476"/>
                  <a:gd name="T65" fmla="*/ 271 h 407"/>
                  <a:gd name="T66" fmla="*/ 3 w 476"/>
                  <a:gd name="T67" fmla="*/ 305 h 407"/>
                  <a:gd name="T68" fmla="*/ 34 w 476"/>
                  <a:gd name="T69" fmla="*/ 310 h 407"/>
                  <a:gd name="T70" fmla="*/ 92 w 476"/>
                  <a:gd name="T71" fmla="*/ 363 h 407"/>
                  <a:gd name="T72" fmla="*/ 101 w 476"/>
                  <a:gd name="T73" fmla="*/ 393 h 407"/>
                  <a:gd name="T74" fmla="*/ 166 w 476"/>
                  <a:gd name="T75" fmla="*/ 406 h 407"/>
                  <a:gd name="T76" fmla="*/ 200 w 476"/>
                  <a:gd name="T77" fmla="*/ 395 h 407"/>
                  <a:gd name="T78" fmla="*/ 221 w 476"/>
                  <a:gd name="T79" fmla="*/ 384 h 407"/>
                  <a:gd name="T80" fmla="*/ 232 w 476"/>
                  <a:gd name="T81" fmla="*/ 391 h 407"/>
                  <a:gd name="T82" fmla="*/ 248 w 476"/>
                  <a:gd name="T83" fmla="*/ 363 h 407"/>
                  <a:gd name="T84" fmla="*/ 250 w 476"/>
                  <a:gd name="T85" fmla="*/ 342 h 407"/>
                  <a:gd name="T86" fmla="*/ 264 w 476"/>
                  <a:gd name="T87" fmla="*/ 324 h 407"/>
                  <a:gd name="T88" fmla="*/ 280 w 476"/>
                  <a:gd name="T89" fmla="*/ 303 h 407"/>
                  <a:gd name="T90" fmla="*/ 294 w 476"/>
                  <a:gd name="T91" fmla="*/ 292 h 407"/>
                  <a:gd name="T92" fmla="*/ 312 w 476"/>
                  <a:gd name="T93" fmla="*/ 297 h 407"/>
                  <a:gd name="T94" fmla="*/ 331 w 476"/>
                  <a:gd name="T95" fmla="*/ 315 h 407"/>
                  <a:gd name="T96" fmla="*/ 351 w 476"/>
                  <a:gd name="T97" fmla="*/ 303 h 407"/>
                  <a:gd name="T98" fmla="*/ 360 w 476"/>
                  <a:gd name="T99" fmla="*/ 292 h 407"/>
                  <a:gd name="T100" fmla="*/ 367 w 476"/>
                  <a:gd name="T101" fmla="*/ 269 h 407"/>
                  <a:gd name="T102" fmla="*/ 379 w 476"/>
                  <a:gd name="T103" fmla="*/ 243 h 407"/>
                  <a:gd name="T104" fmla="*/ 402 w 476"/>
                  <a:gd name="T105" fmla="*/ 220 h 407"/>
                  <a:gd name="T106" fmla="*/ 406 w 476"/>
                  <a:gd name="T107" fmla="*/ 193 h 407"/>
                  <a:gd name="T108" fmla="*/ 430 w 476"/>
                  <a:gd name="T109" fmla="*/ 175 h 407"/>
                  <a:gd name="T110" fmla="*/ 430 w 476"/>
                  <a:gd name="T111" fmla="*/ 149 h 407"/>
                  <a:gd name="T112" fmla="*/ 446 w 476"/>
                  <a:gd name="T113" fmla="*/ 122 h 407"/>
                  <a:gd name="T114" fmla="*/ 461 w 476"/>
                  <a:gd name="T115" fmla="*/ 113 h 407"/>
                  <a:gd name="T116" fmla="*/ 476 w 476"/>
                  <a:gd name="T117" fmla="*/ 97 h 407"/>
                  <a:gd name="T118" fmla="*/ 469 w 476"/>
                  <a:gd name="T119" fmla="*/ 74 h 407"/>
                  <a:gd name="T120" fmla="*/ 459 w 476"/>
                  <a:gd name="T121" fmla="*/ 53 h 407"/>
                  <a:gd name="T122" fmla="*/ 453 w 476"/>
                  <a:gd name="T123" fmla="*/ 37 h 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76" h="407">
                    <a:moveTo>
                      <a:pt x="453" y="37"/>
                    </a:moveTo>
                    <a:lnTo>
                      <a:pt x="453" y="35"/>
                    </a:lnTo>
                    <a:lnTo>
                      <a:pt x="448" y="26"/>
                    </a:lnTo>
                    <a:lnTo>
                      <a:pt x="438" y="12"/>
                    </a:lnTo>
                    <a:lnTo>
                      <a:pt x="423" y="7"/>
                    </a:lnTo>
                    <a:lnTo>
                      <a:pt x="420" y="14"/>
                    </a:lnTo>
                    <a:lnTo>
                      <a:pt x="418" y="19"/>
                    </a:lnTo>
                    <a:lnTo>
                      <a:pt x="414" y="21"/>
                    </a:lnTo>
                    <a:lnTo>
                      <a:pt x="407" y="19"/>
                    </a:lnTo>
                    <a:lnTo>
                      <a:pt x="402" y="21"/>
                    </a:lnTo>
                    <a:lnTo>
                      <a:pt x="400" y="25"/>
                    </a:lnTo>
                    <a:lnTo>
                      <a:pt x="391" y="28"/>
                    </a:lnTo>
                    <a:lnTo>
                      <a:pt x="386" y="37"/>
                    </a:lnTo>
                    <a:lnTo>
                      <a:pt x="381" y="37"/>
                    </a:lnTo>
                    <a:lnTo>
                      <a:pt x="372" y="32"/>
                    </a:lnTo>
                    <a:lnTo>
                      <a:pt x="361" y="32"/>
                    </a:lnTo>
                    <a:lnTo>
                      <a:pt x="347" y="25"/>
                    </a:lnTo>
                    <a:lnTo>
                      <a:pt x="329" y="23"/>
                    </a:lnTo>
                    <a:lnTo>
                      <a:pt x="321" y="26"/>
                    </a:lnTo>
                    <a:lnTo>
                      <a:pt x="298" y="26"/>
                    </a:lnTo>
                    <a:lnTo>
                      <a:pt x="289" y="28"/>
                    </a:lnTo>
                    <a:lnTo>
                      <a:pt x="280" y="42"/>
                    </a:lnTo>
                    <a:lnTo>
                      <a:pt x="269" y="49"/>
                    </a:lnTo>
                    <a:lnTo>
                      <a:pt x="262" y="48"/>
                    </a:lnTo>
                    <a:lnTo>
                      <a:pt x="244" y="42"/>
                    </a:lnTo>
                    <a:lnTo>
                      <a:pt x="236" y="41"/>
                    </a:lnTo>
                    <a:lnTo>
                      <a:pt x="223" y="34"/>
                    </a:lnTo>
                    <a:lnTo>
                      <a:pt x="214" y="30"/>
                    </a:lnTo>
                    <a:lnTo>
                      <a:pt x="214" y="26"/>
                    </a:lnTo>
                    <a:lnTo>
                      <a:pt x="207" y="21"/>
                    </a:lnTo>
                    <a:lnTo>
                      <a:pt x="200" y="21"/>
                    </a:lnTo>
                    <a:lnTo>
                      <a:pt x="198" y="23"/>
                    </a:lnTo>
                    <a:lnTo>
                      <a:pt x="186" y="25"/>
                    </a:lnTo>
                    <a:lnTo>
                      <a:pt x="181" y="28"/>
                    </a:lnTo>
                    <a:lnTo>
                      <a:pt x="175" y="28"/>
                    </a:lnTo>
                    <a:lnTo>
                      <a:pt x="170" y="34"/>
                    </a:lnTo>
                    <a:lnTo>
                      <a:pt x="166" y="35"/>
                    </a:lnTo>
                    <a:lnTo>
                      <a:pt x="158" y="30"/>
                    </a:lnTo>
                    <a:lnTo>
                      <a:pt x="149" y="18"/>
                    </a:lnTo>
                    <a:lnTo>
                      <a:pt x="145" y="12"/>
                    </a:lnTo>
                    <a:lnTo>
                      <a:pt x="133" y="9"/>
                    </a:lnTo>
                    <a:lnTo>
                      <a:pt x="126" y="7"/>
                    </a:lnTo>
                    <a:lnTo>
                      <a:pt x="120" y="3"/>
                    </a:lnTo>
                    <a:lnTo>
                      <a:pt x="110" y="2"/>
                    </a:lnTo>
                    <a:lnTo>
                      <a:pt x="104" y="0"/>
                    </a:lnTo>
                    <a:lnTo>
                      <a:pt x="97" y="2"/>
                    </a:lnTo>
                    <a:lnTo>
                      <a:pt x="94" y="3"/>
                    </a:lnTo>
                    <a:lnTo>
                      <a:pt x="81" y="3"/>
                    </a:lnTo>
                    <a:lnTo>
                      <a:pt x="78" y="3"/>
                    </a:lnTo>
                    <a:lnTo>
                      <a:pt x="73" y="3"/>
                    </a:lnTo>
                    <a:lnTo>
                      <a:pt x="64" y="5"/>
                    </a:lnTo>
                    <a:lnTo>
                      <a:pt x="60" y="7"/>
                    </a:lnTo>
                    <a:lnTo>
                      <a:pt x="57" y="9"/>
                    </a:lnTo>
                    <a:lnTo>
                      <a:pt x="46" y="18"/>
                    </a:lnTo>
                    <a:lnTo>
                      <a:pt x="46" y="21"/>
                    </a:lnTo>
                    <a:lnTo>
                      <a:pt x="48" y="25"/>
                    </a:lnTo>
                    <a:lnTo>
                      <a:pt x="46" y="26"/>
                    </a:lnTo>
                    <a:lnTo>
                      <a:pt x="44" y="30"/>
                    </a:lnTo>
                    <a:lnTo>
                      <a:pt x="46" y="37"/>
                    </a:lnTo>
                    <a:lnTo>
                      <a:pt x="50" y="41"/>
                    </a:lnTo>
                    <a:lnTo>
                      <a:pt x="50" y="48"/>
                    </a:lnTo>
                    <a:lnTo>
                      <a:pt x="42" y="48"/>
                    </a:lnTo>
                    <a:lnTo>
                      <a:pt x="34" y="57"/>
                    </a:lnTo>
                    <a:lnTo>
                      <a:pt x="35" y="60"/>
                    </a:lnTo>
                    <a:lnTo>
                      <a:pt x="32" y="65"/>
                    </a:lnTo>
                    <a:lnTo>
                      <a:pt x="37" y="76"/>
                    </a:lnTo>
                    <a:lnTo>
                      <a:pt x="42" y="76"/>
                    </a:lnTo>
                    <a:lnTo>
                      <a:pt x="42" y="81"/>
                    </a:lnTo>
                    <a:lnTo>
                      <a:pt x="35" y="87"/>
                    </a:lnTo>
                    <a:lnTo>
                      <a:pt x="34" y="96"/>
                    </a:lnTo>
                    <a:lnTo>
                      <a:pt x="35" y="103"/>
                    </a:lnTo>
                    <a:lnTo>
                      <a:pt x="46" y="111"/>
                    </a:lnTo>
                    <a:lnTo>
                      <a:pt x="46" y="122"/>
                    </a:lnTo>
                    <a:lnTo>
                      <a:pt x="51" y="136"/>
                    </a:lnTo>
                    <a:lnTo>
                      <a:pt x="50" y="142"/>
                    </a:lnTo>
                    <a:lnTo>
                      <a:pt x="41" y="142"/>
                    </a:lnTo>
                    <a:lnTo>
                      <a:pt x="37" y="147"/>
                    </a:lnTo>
                    <a:lnTo>
                      <a:pt x="37" y="150"/>
                    </a:lnTo>
                    <a:lnTo>
                      <a:pt x="46" y="159"/>
                    </a:lnTo>
                    <a:lnTo>
                      <a:pt x="42" y="165"/>
                    </a:lnTo>
                    <a:lnTo>
                      <a:pt x="37" y="163"/>
                    </a:lnTo>
                    <a:lnTo>
                      <a:pt x="32" y="168"/>
                    </a:lnTo>
                    <a:lnTo>
                      <a:pt x="30" y="175"/>
                    </a:lnTo>
                    <a:lnTo>
                      <a:pt x="23" y="184"/>
                    </a:lnTo>
                    <a:lnTo>
                      <a:pt x="19" y="193"/>
                    </a:lnTo>
                    <a:lnTo>
                      <a:pt x="16" y="195"/>
                    </a:lnTo>
                    <a:lnTo>
                      <a:pt x="11" y="197"/>
                    </a:lnTo>
                    <a:lnTo>
                      <a:pt x="5" y="198"/>
                    </a:lnTo>
                    <a:lnTo>
                      <a:pt x="2" y="204"/>
                    </a:lnTo>
                    <a:lnTo>
                      <a:pt x="2" y="211"/>
                    </a:lnTo>
                    <a:lnTo>
                      <a:pt x="2" y="218"/>
                    </a:lnTo>
                    <a:lnTo>
                      <a:pt x="0" y="227"/>
                    </a:lnTo>
                    <a:lnTo>
                      <a:pt x="2" y="228"/>
                    </a:lnTo>
                    <a:lnTo>
                      <a:pt x="2" y="235"/>
                    </a:lnTo>
                    <a:lnTo>
                      <a:pt x="2" y="239"/>
                    </a:lnTo>
                    <a:lnTo>
                      <a:pt x="3" y="243"/>
                    </a:lnTo>
                    <a:lnTo>
                      <a:pt x="3" y="246"/>
                    </a:lnTo>
                    <a:lnTo>
                      <a:pt x="2" y="253"/>
                    </a:lnTo>
                    <a:lnTo>
                      <a:pt x="3" y="271"/>
                    </a:lnTo>
                    <a:lnTo>
                      <a:pt x="3" y="276"/>
                    </a:lnTo>
                    <a:lnTo>
                      <a:pt x="5" y="283"/>
                    </a:lnTo>
                    <a:lnTo>
                      <a:pt x="3" y="305"/>
                    </a:lnTo>
                    <a:lnTo>
                      <a:pt x="3" y="313"/>
                    </a:lnTo>
                    <a:lnTo>
                      <a:pt x="21" y="315"/>
                    </a:lnTo>
                    <a:lnTo>
                      <a:pt x="34" y="310"/>
                    </a:lnTo>
                    <a:lnTo>
                      <a:pt x="64" y="326"/>
                    </a:lnTo>
                    <a:lnTo>
                      <a:pt x="81" y="344"/>
                    </a:lnTo>
                    <a:lnTo>
                      <a:pt x="92" y="363"/>
                    </a:lnTo>
                    <a:lnTo>
                      <a:pt x="90" y="377"/>
                    </a:lnTo>
                    <a:lnTo>
                      <a:pt x="97" y="379"/>
                    </a:lnTo>
                    <a:lnTo>
                      <a:pt x="101" y="393"/>
                    </a:lnTo>
                    <a:lnTo>
                      <a:pt x="112" y="404"/>
                    </a:lnTo>
                    <a:lnTo>
                      <a:pt x="127" y="407"/>
                    </a:lnTo>
                    <a:lnTo>
                      <a:pt x="166" y="406"/>
                    </a:lnTo>
                    <a:lnTo>
                      <a:pt x="175" y="400"/>
                    </a:lnTo>
                    <a:lnTo>
                      <a:pt x="181" y="402"/>
                    </a:lnTo>
                    <a:lnTo>
                      <a:pt x="200" y="395"/>
                    </a:lnTo>
                    <a:lnTo>
                      <a:pt x="207" y="398"/>
                    </a:lnTo>
                    <a:lnTo>
                      <a:pt x="218" y="397"/>
                    </a:lnTo>
                    <a:lnTo>
                      <a:pt x="221" y="384"/>
                    </a:lnTo>
                    <a:lnTo>
                      <a:pt x="228" y="393"/>
                    </a:lnTo>
                    <a:lnTo>
                      <a:pt x="232" y="391"/>
                    </a:lnTo>
                    <a:lnTo>
                      <a:pt x="232" y="391"/>
                    </a:lnTo>
                    <a:lnTo>
                      <a:pt x="232" y="386"/>
                    </a:lnTo>
                    <a:lnTo>
                      <a:pt x="243" y="374"/>
                    </a:lnTo>
                    <a:lnTo>
                      <a:pt x="248" y="363"/>
                    </a:lnTo>
                    <a:lnTo>
                      <a:pt x="246" y="352"/>
                    </a:lnTo>
                    <a:lnTo>
                      <a:pt x="246" y="344"/>
                    </a:lnTo>
                    <a:lnTo>
                      <a:pt x="250" y="342"/>
                    </a:lnTo>
                    <a:lnTo>
                      <a:pt x="250" y="335"/>
                    </a:lnTo>
                    <a:lnTo>
                      <a:pt x="257" y="329"/>
                    </a:lnTo>
                    <a:lnTo>
                      <a:pt x="264" y="324"/>
                    </a:lnTo>
                    <a:lnTo>
                      <a:pt x="267" y="321"/>
                    </a:lnTo>
                    <a:lnTo>
                      <a:pt x="280" y="310"/>
                    </a:lnTo>
                    <a:lnTo>
                      <a:pt x="280" y="303"/>
                    </a:lnTo>
                    <a:lnTo>
                      <a:pt x="282" y="297"/>
                    </a:lnTo>
                    <a:lnTo>
                      <a:pt x="290" y="297"/>
                    </a:lnTo>
                    <a:lnTo>
                      <a:pt x="294" y="292"/>
                    </a:lnTo>
                    <a:lnTo>
                      <a:pt x="296" y="294"/>
                    </a:lnTo>
                    <a:lnTo>
                      <a:pt x="308" y="297"/>
                    </a:lnTo>
                    <a:lnTo>
                      <a:pt x="312" y="297"/>
                    </a:lnTo>
                    <a:lnTo>
                      <a:pt x="321" y="301"/>
                    </a:lnTo>
                    <a:lnTo>
                      <a:pt x="324" y="310"/>
                    </a:lnTo>
                    <a:lnTo>
                      <a:pt x="331" y="315"/>
                    </a:lnTo>
                    <a:lnTo>
                      <a:pt x="337" y="317"/>
                    </a:lnTo>
                    <a:lnTo>
                      <a:pt x="345" y="312"/>
                    </a:lnTo>
                    <a:lnTo>
                      <a:pt x="351" y="303"/>
                    </a:lnTo>
                    <a:lnTo>
                      <a:pt x="351" y="299"/>
                    </a:lnTo>
                    <a:lnTo>
                      <a:pt x="354" y="294"/>
                    </a:lnTo>
                    <a:lnTo>
                      <a:pt x="360" y="292"/>
                    </a:lnTo>
                    <a:lnTo>
                      <a:pt x="365" y="285"/>
                    </a:lnTo>
                    <a:lnTo>
                      <a:pt x="365" y="278"/>
                    </a:lnTo>
                    <a:lnTo>
                      <a:pt x="367" y="269"/>
                    </a:lnTo>
                    <a:lnTo>
                      <a:pt x="381" y="257"/>
                    </a:lnTo>
                    <a:lnTo>
                      <a:pt x="383" y="250"/>
                    </a:lnTo>
                    <a:lnTo>
                      <a:pt x="379" y="243"/>
                    </a:lnTo>
                    <a:lnTo>
                      <a:pt x="384" y="237"/>
                    </a:lnTo>
                    <a:lnTo>
                      <a:pt x="395" y="225"/>
                    </a:lnTo>
                    <a:lnTo>
                      <a:pt x="402" y="220"/>
                    </a:lnTo>
                    <a:lnTo>
                      <a:pt x="404" y="211"/>
                    </a:lnTo>
                    <a:lnTo>
                      <a:pt x="407" y="205"/>
                    </a:lnTo>
                    <a:lnTo>
                      <a:pt x="406" y="193"/>
                    </a:lnTo>
                    <a:lnTo>
                      <a:pt x="411" y="188"/>
                    </a:lnTo>
                    <a:lnTo>
                      <a:pt x="422" y="184"/>
                    </a:lnTo>
                    <a:lnTo>
                      <a:pt x="430" y="175"/>
                    </a:lnTo>
                    <a:lnTo>
                      <a:pt x="430" y="165"/>
                    </a:lnTo>
                    <a:lnTo>
                      <a:pt x="430" y="154"/>
                    </a:lnTo>
                    <a:lnTo>
                      <a:pt x="430" y="149"/>
                    </a:lnTo>
                    <a:lnTo>
                      <a:pt x="434" y="140"/>
                    </a:lnTo>
                    <a:lnTo>
                      <a:pt x="441" y="126"/>
                    </a:lnTo>
                    <a:lnTo>
                      <a:pt x="446" y="122"/>
                    </a:lnTo>
                    <a:lnTo>
                      <a:pt x="446" y="119"/>
                    </a:lnTo>
                    <a:lnTo>
                      <a:pt x="455" y="113"/>
                    </a:lnTo>
                    <a:lnTo>
                      <a:pt x="461" y="113"/>
                    </a:lnTo>
                    <a:lnTo>
                      <a:pt x="466" y="106"/>
                    </a:lnTo>
                    <a:lnTo>
                      <a:pt x="475" y="103"/>
                    </a:lnTo>
                    <a:lnTo>
                      <a:pt x="476" y="97"/>
                    </a:lnTo>
                    <a:lnTo>
                      <a:pt x="473" y="87"/>
                    </a:lnTo>
                    <a:lnTo>
                      <a:pt x="473" y="81"/>
                    </a:lnTo>
                    <a:lnTo>
                      <a:pt x="469" y="74"/>
                    </a:lnTo>
                    <a:lnTo>
                      <a:pt x="462" y="73"/>
                    </a:lnTo>
                    <a:lnTo>
                      <a:pt x="459" y="65"/>
                    </a:lnTo>
                    <a:lnTo>
                      <a:pt x="459" y="53"/>
                    </a:lnTo>
                    <a:lnTo>
                      <a:pt x="457" y="46"/>
                    </a:lnTo>
                    <a:lnTo>
                      <a:pt x="453" y="37"/>
                    </a:lnTo>
                    <a:lnTo>
                      <a:pt x="453" y="3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5" name="Freeform 35">
                <a:extLst>
                  <a:ext uri="{FF2B5EF4-FFF2-40B4-BE49-F238E27FC236}">
                    <a16:creationId xmlns:a16="http://schemas.microsoft.com/office/drawing/2014/main" id="{16D5A4C7-012E-DD7D-67BC-781EC0B8E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1801" y="3695701"/>
                <a:ext cx="33338" cy="50800"/>
              </a:xfrm>
              <a:custGeom>
                <a:avLst/>
                <a:gdLst>
                  <a:gd name="T0" fmla="*/ 0 w 21"/>
                  <a:gd name="T1" fmla="*/ 27 h 32"/>
                  <a:gd name="T2" fmla="*/ 1 w 21"/>
                  <a:gd name="T3" fmla="*/ 20 h 32"/>
                  <a:gd name="T4" fmla="*/ 7 w 21"/>
                  <a:gd name="T5" fmla="*/ 20 h 32"/>
                  <a:gd name="T6" fmla="*/ 8 w 21"/>
                  <a:gd name="T7" fmla="*/ 11 h 32"/>
                  <a:gd name="T8" fmla="*/ 17 w 21"/>
                  <a:gd name="T9" fmla="*/ 0 h 32"/>
                  <a:gd name="T10" fmla="*/ 21 w 21"/>
                  <a:gd name="T11" fmla="*/ 4 h 32"/>
                  <a:gd name="T12" fmla="*/ 21 w 21"/>
                  <a:gd name="T13" fmla="*/ 16 h 32"/>
                  <a:gd name="T14" fmla="*/ 16 w 21"/>
                  <a:gd name="T15" fmla="*/ 32 h 32"/>
                  <a:gd name="T16" fmla="*/ 8 w 21"/>
                  <a:gd name="T17" fmla="*/ 31 h 32"/>
                  <a:gd name="T18" fmla="*/ 0 w 21"/>
                  <a:gd name="T19" fmla="*/ 2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2">
                    <a:moveTo>
                      <a:pt x="0" y="27"/>
                    </a:moveTo>
                    <a:lnTo>
                      <a:pt x="1" y="20"/>
                    </a:lnTo>
                    <a:lnTo>
                      <a:pt x="7" y="20"/>
                    </a:lnTo>
                    <a:lnTo>
                      <a:pt x="8" y="11"/>
                    </a:lnTo>
                    <a:lnTo>
                      <a:pt x="17" y="0"/>
                    </a:lnTo>
                    <a:lnTo>
                      <a:pt x="21" y="4"/>
                    </a:lnTo>
                    <a:lnTo>
                      <a:pt x="21" y="16"/>
                    </a:lnTo>
                    <a:lnTo>
                      <a:pt x="16" y="32"/>
                    </a:lnTo>
                    <a:lnTo>
                      <a:pt x="8" y="31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6" name="Freeform 36">
                <a:extLst>
                  <a:ext uri="{FF2B5EF4-FFF2-40B4-BE49-F238E27FC236}">
                    <a16:creationId xmlns:a16="http://schemas.microsoft.com/office/drawing/2014/main" id="{415CF4F0-C3B9-D0A4-0F12-FBBC5C6FD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851" y="3086101"/>
                <a:ext cx="500063" cy="750888"/>
              </a:xfrm>
              <a:custGeom>
                <a:avLst/>
                <a:gdLst>
                  <a:gd name="T0" fmla="*/ 11 w 315"/>
                  <a:gd name="T1" fmla="*/ 337 h 473"/>
                  <a:gd name="T2" fmla="*/ 14 w 315"/>
                  <a:gd name="T3" fmla="*/ 307 h 473"/>
                  <a:gd name="T4" fmla="*/ 25 w 315"/>
                  <a:gd name="T5" fmla="*/ 292 h 473"/>
                  <a:gd name="T6" fmla="*/ 48 w 315"/>
                  <a:gd name="T7" fmla="*/ 273 h 473"/>
                  <a:gd name="T8" fmla="*/ 58 w 315"/>
                  <a:gd name="T9" fmla="*/ 260 h 473"/>
                  <a:gd name="T10" fmla="*/ 76 w 315"/>
                  <a:gd name="T11" fmla="*/ 260 h 473"/>
                  <a:gd name="T12" fmla="*/ 92 w 315"/>
                  <a:gd name="T13" fmla="*/ 273 h 473"/>
                  <a:gd name="T14" fmla="*/ 113 w 315"/>
                  <a:gd name="T15" fmla="*/ 275 h 473"/>
                  <a:gd name="T16" fmla="*/ 122 w 315"/>
                  <a:gd name="T17" fmla="*/ 257 h 473"/>
                  <a:gd name="T18" fmla="*/ 133 w 315"/>
                  <a:gd name="T19" fmla="*/ 241 h 473"/>
                  <a:gd name="T20" fmla="*/ 151 w 315"/>
                  <a:gd name="T21" fmla="*/ 213 h 473"/>
                  <a:gd name="T22" fmla="*/ 163 w 315"/>
                  <a:gd name="T23" fmla="*/ 188 h 473"/>
                  <a:gd name="T24" fmla="*/ 175 w 315"/>
                  <a:gd name="T25" fmla="*/ 168 h 473"/>
                  <a:gd name="T26" fmla="*/ 190 w 315"/>
                  <a:gd name="T27" fmla="*/ 147 h 473"/>
                  <a:gd name="T28" fmla="*/ 198 w 315"/>
                  <a:gd name="T29" fmla="*/ 117 h 473"/>
                  <a:gd name="T30" fmla="*/ 209 w 315"/>
                  <a:gd name="T31" fmla="*/ 89 h 473"/>
                  <a:gd name="T32" fmla="*/ 223 w 315"/>
                  <a:gd name="T33" fmla="*/ 76 h 473"/>
                  <a:gd name="T34" fmla="*/ 243 w 315"/>
                  <a:gd name="T35" fmla="*/ 66 h 473"/>
                  <a:gd name="T36" fmla="*/ 241 w 315"/>
                  <a:gd name="T37" fmla="*/ 44 h 473"/>
                  <a:gd name="T38" fmla="*/ 227 w 315"/>
                  <a:gd name="T39" fmla="*/ 28 h 473"/>
                  <a:gd name="T40" fmla="*/ 221 w 315"/>
                  <a:gd name="T41" fmla="*/ 0 h 473"/>
                  <a:gd name="T42" fmla="*/ 253 w 315"/>
                  <a:gd name="T43" fmla="*/ 30 h 473"/>
                  <a:gd name="T44" fmla="*/ 264 w 315"/>
                  <a:gd name="T45" fmla="*/ 53 h 473"/>
                  <a:gd name="T46" fmla="*/ 262 w 315"/>
                  <a:gd name="T47" fmla="*/ 66 h 473"/>
                  <a:gd name="T48" fmla="*/ 259 w 315"/>
                  <a:gd name="T49" fmla="*/ 87 h 473"/>
                  <a:gd name="T50" fmla="*/ 273 w 315"/>
                  <a:gd name="T51" fmla="*/ 110 h 473"/>
                  <a:gd name="T52" fmla="*/ 289 w 315"/>
                  <a:gd name="T53" fmla="*/ 129 h 473"/>
                  <a:gd name="T54" fmla="*/ 275 w 315"/>
                  <a:gd name="T55" fmla="*/ 128 h 473"/>
                  <a:gd name="T56" fmla="*/ 253 w 315"/>
                  <a:gd name="T57" fmla="*/ 128 h 473"/>
                  <a:gd name="T58" fmla="*/ 236 w 315"/>
                  <a:gd name="T59" fmla="*/ 128 h 473"/>
                  <a:gd name="T60" fmla="*/ 227 w 315"/>
                  <a:gd name="T61" fmla="*/ 138 h 473"/>
                  <a:gd name="T62" fmla="*/ 232 w 315"/>
                  <a:gd name="T63" fmla="*/ 152 h 473"/>
                  <a:gd name="T64" fmla="*/ 255 w 315"/>
                  <a:gd name="T65" fmla="*/ 174 h 473"/>
                  <a:gd name="T66" fmla="*/ 283 w 315"/>
                  <a:gd name="T67" fmla="*/ 206 h 473"/>
                  <a:gd name="T68" fmla="*/ 283 w 315"/>
                  <a:gd name="T69" fmla="*/ 237 h 473"/>
                  <a:gd name="T70" fmla="*/ 266 w 315"/>
                  <a:gd name="T71" fmla="*/ 262 h 473"/>
                  <a:gd name="T72" fmla="*/ 248 w 315"/>
                  <a:gd name="T73" fmla="*/ 285 h 473"/>
                  <a:gd name="T74" fmla="*/ 248 w 315"/>
                  <a:gd name="T75" fmla="*/ 310 h 473"/>
                  <a:gd name="T76" fmla="*/ 252 w 315"/>
                  <a:gd name="T77" fmla="*/ 340 h 473"/>
                  <a:gd name="T78" fmla="*/ 268 w 315"/>
                  <a:gd name="T79" fmla="*/ 367 h 473"/>
                  <a:gd name="T80" fmla="*/ 287 w 315"/>
                  <a:gd name="T81" fmla="*/ 399 h 473"/>
                  <a:gd name="T82" fmla="*/ 310 w 315"/>
                  <a:gd name="T83" fmla="*/ 425 h 473"/>
                  <a:gd name="T84" fmla="*/ 314 w 315"/>
                  <a:gd name="T85" fmla="*/ 443 h 473"/>
                  <a:gd name="T86" fmla="*/ 312 w 315"/>
                  <a:gd name="T87" fmla="*/ 452 h 473"/>
                  <a:gd name="T88" fmla="*/ 308 w 315"/>
                  <a:gd name="T89" fmla="*/ 468 h 473"/>
                  <a:gd name="T90" fmla="*/ 301 w 315"/>
                  <a:gd name="T91" fmla="*/ 471 h 473"/>
                  <a:gd name="T92" fmla="*/ 292 w 315"/>
                  <a:gd name="T93" fmla="*/ 470 h 473"/>
                  <a:gd name="T94" fmla="*/ 273 w 315"/>
                  <a:gd name="T95" fmla="*/ 466 h 473"/>
                  <a:gd name="T96" fmla="*/ 264 w 315"/>
                  <a:gd name="T97" fmla="*/ 468 h 473"/>
                  <a:gd name="T98" fmla="*/ 253 w 315"/>
                  <a:gd name="T99" fmla="*/ 464 h 473"/>
                  <a:gd name="T100" fmla="*/ 243 w 315"/>
                  <a:gd name="T101" fmla="*/ 462 h 473"/>
                  <a:gd name="T102" fmla="*/ 182 w 315"/>
                  <a:gd name="T103" fmla="*/ 455 h 473"/>
                  <a:gd name="T104" fmla="*/ 167 w 315"/>
                  <a:gd name="T105" fmla="*/ 457 h 473"/>
                  <a:gd name="T106" fmla="*/ 154 w 315"/>
                  <a:gd name="T107" fmla="*/ 455 h 473"/>
                  <a:gd name="T108" fmla="*/ 133 w 315"/>
                  <a:gd name="T109" fmla="*/ 455 h 473"/>
                  <a:gd name="T110" fmla="*/ 113 w 315"/>
                  <a:gd name="T111" fmla="*/ 457 h 473"/>
                  <a:gd name="T112" fmla="*/ 108 w 315"/>
                  <a:gd name="T113" fmla="*/ 459 h 473"/>
                  <a:gd name="T114" fmla="*/ 51 w 315"/>
                  <a:gd name="T115" fmla="*/ 459 h 473"/>
                  <a:gd name="T116" fmla="*/ 48 w 315"/>
                  <a:gd name="T117" fmla="*/ 446 h 473"/>
                  <a:gd name="T118" fmla="*/ 44 w 315"/>
                  <a:gd name="T119" fmla="*/ 406 h 473"/>
                  <a:gd name="T120" fmla="*/ 41 w 315"/>
                  <a:gd name="T121" fmla="*/ 379 h 473"/>
                  <a:gd name="T122" fmla="*/ 18 w 315"/>
                  <a:gd name="T123" fmla="*/ 379 h 473"/>
                  <a:gd name="T124" fmla="*/ 0 w 315"/>
                  <a:gd name="T125" fmla="*/ 35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5" h="473">
                    <a:moveTo>
                      <a:pt x="0" y="354"/>
                    </a:moveTo>
                    <a:lnTo>
                      <a:pt x="0" y="349"/>
                    </a:lnTo>
                    <a:lnTo>
                      <a:pt x="11" y="337"/>
                    </a:lnTo>
                    <a:lnTo>
                      <a:pt x="16" y="326"/>
                    </a:lnTo>
                    <a:lnTo>
                      <a:pt x="14" y="315"/>
                    </a:lnTo>
                    <a:lnTo>
                      <a:pt x="14" y="307"/>
                    </a:lnTo>
                    <a:lnTo>
                      <a:pt x="18" y="305"/>
                    </a:lnTo>
                    <a:lnTo>
                      <a:pt x="18" y="298"/>
                    </a:lnTo>
                    <a:lnTo>
                      <a:pt x="25" y="292"/>
                    </a:lnTo>
                    <a:lnTo>
                      <a:pt x="32" y="287"/>
                    </a:lnTo>
                    <a:lnTo>
                      <a:pt x="35" y="284"/>
                    </a:lnTo>
                    <a:lnTo>
                      <a:pt x="48" y="273"/>
                    </a:lnTo>
                    <a:lnTo>
                      <a:pt x="48" y="266"/>
                    </a:lnTo>
                    <a:lnTo>
                      <a:pt x="50" y="260"/>
                    </a:lnTo>
                    <a:lnTo>
                      <a:pt x="58" y="260"/>
                    </a:lnTo>
                    <a:lnTo>
                      <a:pt x="62" y="255"/>
                    </a:lnTo>
                    <a:lnTo>
                      <a:pt x="64" y="257"/>
                    </a:lnTo>
                    <a:lnTo>
                      <a:pt x="76" y="260"/>
                    </a:lnTo>
                    <a:lnTo>
                      <a:pt x="80" y="260"/>
                    </a:lnTo>
                    <a:lnTo>
                      <a:pt x="89" y="264"/>
                    </a:lnTo>
                    <a:lnTo>
                      <a:pt x="92" y="273"/>
                    </a:lnTo>
                    <a:lnTo>
                      <a:pt x="99" y="278"/>
                    </a:lnTo>
                    <a:lnTo>
                      <a:pt x="105" y="280"/>
                    </a:lnTo>
                    <a:lnTo>
                      <a:pt x="113" y="275"/>
                    </a:lnTo>
                    <a:lnTo>
                      <a:pt x="119" y="266"/>
                    </a:lnTo>
                    <a:lnTo>
                      <a:pt x="119" y="262"/>
                    </a:lnTo>
                    <a:lnTo>
                      <a:pt x="122" y="257"/>
                    </a:lnTo>
                    <a:lnTo>
                      <a:pt x="128" y="255"/>
                    </a:lnTo>
                    <a:lnTo>
                      <a:pt x="133" y="248"/>
                    </a:lnTo>
                    <a:lnTo>
                      <a:pt x="133" y="241"/>
                    </a:lnTo>
                    <a:lnTo>
                      <a:pt x="135" y="232"/>
                    </a:lnTo>
                    <a:lnTo>
                      <a:pt x="149" y="220"/>
                    </a:lnTo>
                    <a:lnTo>
                      <a:pt x="151" y="213"/>
                    </a:lnTo>
                    <a:lnTo>
                      <a:pt x="147" y="206"/>
                    </a:lnTo>
                    <a:lnTo>
                      <a:pt x="152" y="200"/>
                    </a:lnTo>
                    <a:lnTo>
                      <a:pt x="163" y="188"/>
                    </a:lnTo>
                    <a:lnTo>
                      <a:pt x="170" y="183"/>
                    </a:lnTo>
                    <a:lnTo>
                      <a:pt x="172" y="174"/>
                    </a:lnTo>
                    <a:lnTo>
                      <a:pt x="175" y="168"/>
                    </a:lnTo>
                    <a:lnTo>
                      <a:pt x="174" y="156"/>
                    </a:lnTo>
                    <a:lnTo>
                      <a:pt x="179" y="151"/>
                    </a:lnTo>
                    <a:lnTo>
                      <a:pt x="190" y="147"/>
                    </a:lnTo>
                    <a:lnTo>
                      <a:pt x="198" y="138"/>
                    </a:lnTo>
                    <a:lnTo>
                      <a:pt x="198" y="128"/>
                    </a:lnTo>
                    <a:lnTo>
                      <a:pt x="198" y="117"/>
                    </a:lnTo>
                    <a:lnTo>
                      <a:pt x="198" y="112"/>
                    </a:lnTo>
                    <a:lnTo>
                      <a:pt x="202" y="103"/>
                    </a:lnTo>
                    <a:lnTo>
                      <a:pt x="209" y="89"/>
                    </a:lnTo>
                    <a:lnTo>
                      <a:pt x="214" y="85"/>
                    </a:lnTo>
                    <a:lnTo>
                      <a:pt x="214" y="82"/>
                    </a:lnTo>
                    <a:lnTo>
                      <a:pt x="223" y="76"/>
                    </a:lnTo>
                    <a:lnTo>
                      <a:pt x="229" y="76"/>
                    </a:lnTo>
                    <a:lnTo>
                      <a:pt x="234" y="69"/>
                    </a:lnTo>
                    <a:lnTo>
                      <a:pt x="243" y="66"/>
                    </a:lnTo>
                    <a:lnTo>
                      <a:pt x="244" y="60"/>
                    </a:lnTo>
                    <a:lnTo>
                      <a:pt x="241" y="50"/>
                    </a:lnTo>
                    <a:lnTo>
                      <a:pt x="241" y="44"/>
                    </a:lnTo>
                    <a:lnTo>
                      <a:pt x="237" y="37"/>
                    </a:lnTo>
                    <a:lnTo>
                      <a:pt x="230" y="36"/>
                    </a:lnTo>
                    <a:lnTo>
                      <a:pt x="227" y="28"/>
                    </a:lnTo>
                    <a:lnTo>
                      <a:pt x="227" y="16"/>
                    </a:lnTo>
                    <a:lnTo>
                      <a:pt x="225" y="9"/>
                    </a:lnTo>
                    <a:lnTo>
                      <a:pt x="221" y="0"/>
                    </a:lnTo>
                    <a:lnTo>
                      <a:pt x="243" y="9"/>
                    </a:lnTo>
                    <a:lnTo>
                      <a:pt x="252" y="18"/>
                    </a:lnTo>
                    <a:lnTo>
                      <a:pt x="253" y="30"/>
                    </a:lnTo>
                    <a:lnTo>
                      <a:pt x="257" y="34"/>
                    </a:lnTo>
                    <a:lnTo>
                      <a:pt x="259" y="41"/>
                    </a:lnTo>
                    <a:lnTo>
                      <a:pt x="264" y="53"/>
                    </a:lnTo>
                    <a:lnTo>
                      <a:pt x="264" y="59"/>
                    </a:lnTo>
                    <a:lnTo>
                      <a:pt x="262" y="62"/>
                    </a:lnTo>
                    <a:lnTo>
                      <a:pt x="262" y="66"/>
                    </a:lnTo>
                    <a:lnTo>
                      <a:pt x="266" y="71"/>
                    </a:lnTo>
                    <a:lnTo>
                      <a:pt x="262" y="83"/>
                    </a:lnTo>
                    <a:lnTo>
                      <a:pt x="259" y="87"/>
                    </a:lnTo>
                    <a:lnTo>
                      <a:pt x="259" y="96"/>
                    </a:lnTo>
                    <a:lnTo>
                      <a:pt x="266" y="106"/>
                    </a:lnTo>
                    <a:lnTo>
                      <a:pt x="273" y="110"/>
                    </a:lnTo>
                    <a:lnTo>
                      <a:pt x="275" y="119"/>
                    </a:lnTo>
                    <a:lnTo>
                      <a:pt x="285" y="128"/>
                    </a:lnTo>
                    <a:lnTo>
                      <a:pt x="289" y="129"/>
                    </a:lnTo>
                    <a:lnTo>
                      <a:pt x="285" y="131"/>
                    </a:lnTo>
                    <a:lnTo>
                      <a:pt x="278" y="131"/>
                    </a:lnTo>
                    <a:lnTo>
                      <a:pt x="275" y="128"/>
                    </a:lnTo>
                    <a:lnTo>
                      <a:pt x="266" y="128"/>
                    </a:lnTo>
                    <a:lnTo>
                      <a:pt x="260" y="128"/>
                    </a:lnTo>
                    <a:lnTo>
                      <a:pt x="253" y="128"/>
                    </a:lnTo>
                    <a:lnTo>
                      <a:pt x="246" y="128"/>
                    </a:lnTo>
                    <a:lnTo>
                      <a:pt x="243" y="128"/>
                    </a:lnTo>
                    <a:lnTo>
                      <a:pt x="236" y="128"/>
                    </a:lnTo>
                    <a:lnTo>
                      <a:pt x="229" y="128"/>
                    </a:lnTo>
                    <a:lnTo>
                      <a:pt x="229" y="135"/>
                    </a:lnTo>
                    <a:lnTo>
                      <a:pt x="227" y="138"/>
                    </a:lnTo>
                    <a:lnTo>
                      <a:pt x="227" y="145"/>
                    </a:lnTo>
                    <a:lnTo>
                      <a:pt x="227" y="151"/>
                    </a:lnTo>
                    <a:lnTo>
                      <a:pt x="232" y="152"/>
                    </a:lnTo>
                    <a:lnTo>
                      <a:pt x="234" y="158"/>
                    </a:lnTo>
                    <a:lnTo>
                      <a:pt x="239" y="161"/>
                    </a:lnTo>
                    <a:lnTo>
                      <a:pt x="255" y="174"/>
                    </a:lnTo>
                    <a:lnTo>
                      <a:pt x="269" y="190"/>
                    </a:lnTo>
                    <a:lnTo>
                      <a:pt x="276" y="195"/>
                    </a:lnTo>
                    <a:lnTo>
                      <a:pt x="283" y="206"/>
                    </a:lnTo>
                    <a:lnTo>
                      <a:pt x="291" y="216"/>
                    </a:lnTo>
                    <a:lnTo>
                      <a:pt x="291" y="227"/>
                    </a:lnTo>
                    <a:lnTo>
                      <a:pt x="283" y="237"/>
                    </a:lnTo>
                    <a:lnTo>
                      <a:pt x="276" y="239"/>
                    </a:lnTo>
                    <a:lnTo>
                      <a:pt x="273" y="248"/>
                    </a:lnTo>
                    <a:lnTo>
                      <a:pt x="266" y="262"/>
                    </a:lnTo>
                    <a:lnTo>
                      <a:pt x="260" y="273"/>
                    </a:lnTo>
                    <a:lnTo>
                      <a:pt x="253" y="284"/>
                    </a:lnTo>
                    <a:lnTo>
                      <a:pt x="248" y="285"/>
                    </a:lnTo>
                    <a:lnTo>
                      <a:pt x="244" y="291"/>
                    </a:lnTo>
                    <a:lnTo>
                      <a:pt x="246" y="299"/>
                    </a:lnTo>
                    <a:lnTo>
                      <a:pt x="248" y="310"/>
                    </a:lnTo>
                    <a:lnTo>
                      <a:pt x="246" y="321"/>
                    </a:lnTo>
                    <a:lnTo>
                      <a:pt x="250" y="331"/>
                    </a:lnTo>
                    <a:lnTo>
                      <a:pt x="252" y="340"/>
                    </a:lnTo>
                    <a:lnTo>
                      <a:pt x="252" y="358"/>
                    </a:lnTo>
                    <a:lnTo>
                      <a:pt x="255" y="361"/>
                    </a:lnTo>
                    <a:lnTo>
                      <a:pt x="268" y="367"/>
                    </a:lnTo>
                    <a:lnTo>
                      <a:pt x="275" y="374"/>
                    </a:lnTo>
                    <a:lnTo>
                      <a:pt x="276" y="383"/>
                    </a:lnTo>
                    <a:lnTo>
                      <a:pt x="287" y="399"/>
                    </a:lnTo>
                    <a:lnTo>
                      <a:pt x="292" y="411"/>
                    </a:lnTo>
                    <a:lnTo>
                      <a:pt x="298" y="415"/>
                    </a:lnTo>
                    <a:lnTo>
                      <a:pt x="310" y="425"/>
                    </a:lnTo>
                    <a:lnTo>
                      <a:pt x="312" y="434"/>
                    </a:lnTo>
                    <a:lnTo>
                      <a:pt x="312" y="441"/>
                    </a:lnTo>
                    <a:lnTo>
                      <a:pt x="314" y="443"/>
                    </a:lnTo>
                    <a:lnTo>
                      <a:pt x="315" y="445"/>
                    </a:lnTo>
                    <a:lnTo>
                      <a:pt x="314" y="446"/>
                    </a:lnTo>
                    <a:lnTo>
                      <a:pt x="312" y="452"/>
                    </a:lnTo>
                    <a:lnTo>
                      <a:pt x="306" y="459"/>
                    </a:lnTo>
                    <a:lnTo>
                      <a:pt x="305" y="462"/>
                    </a:lnTo>
                    <a:lnTo>
                      <a:pt x="308" y="468"/>
                    </a:lnTo>
                    <a:lnTo>
                      <a:pt x="308" y="473"/>
                    </a:lnTo>
                    <a:lnTo>
                      <a:pt x="303" y="473"/>
                    </a:lnTo>
                    <a:lnTo>
                      <a:pt x="301" y="471"/>
                    </a:lnTo>
                    <a:lnTo>
                      <a:pt x="299" y="471"/>
                    </a:lnTo>
                    <a:lnTo>
                      <a:pt x="296" y="470"/>
                    </a:lnTo>
                    <a:lnTo>
                      <a:pt x="292" y="470"/>
                    </a:lnTo>
                    <a:lnTo>
                      <a:pt x="283" y="470"/>
                    </a:lnTo>
                    <a:lnTo>
                      <a:pt x="280" y="470"/>
                    </a:lnTo>
                    <a:lnTo>
                      <a:pt x="273" y="466"/>
                    </a:lnTo>
                    <a:lnTo>
                      <a:pt x="269" y="464"/>
                    </a:lnTo>
                    <a:lnTo>
                      <a:pt x="269" y="468"/>
                    </a:lnTo>
                    <a:lnTo>
                      <a:pt x="264" y="468"/>
                    </a:lnTo>
                    <a:lnTo>
                      <a:pt x="262" y="464"/>
                    </a:lnTo>
                    <a:lnTo>
                      <a:pt x="257" y="464"/>
                    </a:lnTo>
                    <a:lnTo>
                      <a:pt x="253" y="464"/>
                    </a:lnTo>
                    <a:lnTo>
                      <a:pt x="248" y="461"/>
                    </a:lnTo>
                    <a:lnTo>
                      <a:pt x="244" y="461"/>
                    </a:lnTo>
                    <a:lnTo>
                      <a:pt x="243" y="462"/>
                    </a:lnTo>
                    <a:lnTo>
                      <a:pt x="239" y="461"/>
                    </a:lnTo>
                    <a:lnTo>
                      <a:pt x="186" y="459"/>
                    </a:lnTo>
                    <a:lnTo>
                      <a:pt x="182" y="455"/>
                    </a:lnTo>
                    <a:lnTo>
                      <a:pt x="179" y="455"/>
                    </a:lnTo>
                    <a:lnTo>
                      <a:pt x="177" y="457"/>
                    </a:lnTo>
                    <a:lnTo>
                      <a:pt x="167" y="457"/>
                    </a:lnTo>
                    <a:lnTo>
                      <a:pt x="167" y="455"/>
                    </a:lnTo>
                    <a:lnTo>
                      <a:pt x="161" y="455"/>
                    </a:lnTo>
                    <a:lnTo>
                      <a:pt x="154" y="455"/>
                    </a:lnTo>
                    <a:lnTo>
                      <a:pt x="151" y="455"/>
                    </a:lnTo>
                    <a:lnTo>
                      <a:pt x="136" y="454"/>
                    </a:lnTo>
                    <a:lnTo>
                      <a:pt x="133" y="455"/>
                    </a:lnTo>
                    <a:lnTo>
                      <a:pt x="122" y="454"/>
                    </a:lnTo>
                    <a:lnTo>
                      <a:pt x="117" y="457"/>
                    </a:lnTo>
                    <a:lnTo>
                      <a:pt x="113" y="457"/>
                    </a:lnTo>
                    <a:lnTo>
                      <a:pt x="110" y="457"/>
                    </a:lnTo>
                    <a:lnTo>
                      <a:pt x="108" y="461"/>
                    </a:lnTo>
                    <a:lnTo>
                      <a:pt x="108" y="459"/>
                    </a:lnTo>
                    <a:lnTo>
                      <a:pt x="60" y="461"/>
                    </a:lnTo>
                    <a:lnTo>
                      <a:pt x="57" y="459"/>
                    </a:lnTo>
                    <a:lnTo>
                      <a:pt x="51" y="459"/>
                    </a:lnTo>
                    <a:lnTo>
                      <a:pt x="46" y="459"/>
                    </a:lnTo>
                    <a:lnTo>
                      <a:pt x="53" y="452"/>
                    </a:lnTo>
                    <a:lnTo>
                      <a:pt x="48" y="446"/>
                    </a:lnTo>
                    <a:lnTo>
                      <a:pt x="53" y="432"/>
                    </a:lnTo>
                    <a:lnTo>
                      <a:pt x="51" y="416"/>
                    </a:lnTo>
                    <a:lnTo>
                      <a:pt x="44" y="406"/>
                    </a:lnTo>
                    <a:lnTo>
                      <a:pt x="44" y="393"/>
                    </a:lnTo>
                    <a:lnTo>
                      <a:pt x="46" y="388"/>
                    </a:lnTo>
                    <a:lnTo>
                      <a:pt x="41" y="379"/>
                    </a:lnTo>
                    <a:lnTo>
                      <a:pt x="28" y="384"/>
                    </a:lnTo>
                    <a:lnTo>
                      <a:pt x="25" y="379"/>
                    </a:lnTo>
                    <a:lnTo>
                      <a:pt x="18" y="379"/>
                    </a:lnTo>
                    <a:lnTo>
                      <a:pt x="12" y="353"/>
                    </a:lnTo>
                    <a:lnTo>
                      <a:pt x="5" y="356"/>
                    </a:lnTo>
                    <a:lnTo>
                      <a:pt x="0" y="35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7" name="Freeform 37">
                <a:extLst>
                  <a:ext uri="{FF2B5EF4-FFF2-40B4-BE49-F238E27FC236}">
                    <a16:creationId xmlns:a16="http://schemas.microsoft.com/office/drawing/2014/main" id="{657286E8-B020-A2A9-7D9F-178DC3C3E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4026" y="3806826"/>
                <a:ext cx="376238" cy="409575"/>
              </a:xfrm>
              <a:custGeom>
                <a:avLst/>
                <a:gdLst>
                  <a:gd name="T0" fmla="*/ 108 w 237"/>
                  <a:gd name="T1" fmla="*/ 3 h 258"/>
                  <a:gd name="T2" fmla="*/ 115 w 237"/>
                  <a:gd name="T3" fmla="*/ 3 h 258"/>
                  <a:gd name="T4" fmla="*/ 131 w 237"/>
                  <a:gd name="T5" fmla="*/ 1 h 258"/>
                  <a:gd name="T6" fmla="*/ 149 w 237"/>
                  <a:gd name="T7" fmla="*/ 1 h 258"/>
                  <a:gd name="T8" fmla="*/ 159 w 237"/>
                  <a:gd name="T9" fmla="*/ 1 h 258"/>
                  <a:gd name="T10" fmla="*/ 165 w 237"/>
                  <a:gd name="T11" fmla="*/ 3 h 258"/>
                  <a:gd name="T12" fmla="*/ 177 w 237"/>
                  <a:gd name="T13" fmla="*/ 1 h 258"/>
                  <a:gd name="T14" fmla="*/ 184 w 237"/>
                  <a:gd name="T15" fmla="*/ 5 h 258"/>
                  <a:gd name="T16" fmla="*/ 182 w 237"/>
                  <a:gd name="T17" fmla="*/ 14 h 258"/>
                  <a:gd name="T18" fmla="*/ 184 w 237"/>
                  <a:gd name="T19" fmla="*/ 31 h 258"/>
                  <a:gd name="T20" fmla="*/ 184 w 237"/>
                  <a:gd name="T21" fmla="*/ 44 h 258"/>
                  <a:gd name="T22" fmla="*/ 195 w 237"/>
                  <a:gd name="T23" fmla="*/ 42 h 258"/>
                  <a:gd name="T24" fmla="*/ 209 w 237"/>
                  <a:gd name="T25" fmla="*/ 42 h 258"/>
                  <a:gd name="T26" fmla="*/ 232 w 237"/>
                  <a:gd name="T27" fmla="*/ 39 h 258"/>
                  <a:gd name="T28" fmla="*/ 237 w 237"/>
                  <a:gd name="T29" fmla="*/ 54 h 258"/>
                  <a:gd name="T30" fmla="*/ 237 w 237"/>
                  <a:gd name="T31" fmla="*/ 63 h 258"/>
                  <a:gd name="T32" fmla="*/ 228 w 237"/>
                  <a:gd name="T33" fmla="*/ 72 h 258"/>
                  <a:gd name="T34" fmla="*/ 218 w 237"/>
                  <a:gd name="T35" fmla="*/ 83 h 258"/>
                  <a:gd name="T36" fmla="*/ 223 w 237"/>
                  <a:gd name="T37" fmla="*/ 92 h 258"/>
                  <a:gd name="T38" fmla="*/ 218 w 237"/>
                  <a:gd name="T39" fmla="*/ 95 h 258"/>
                  <a:gd name="T40" fmla="*/ 214 w 237"/>
                  <a:gd name="T41" fmla="*/ 99 h 258"/>
                  <a:gd name="T42" fmla="*/ 218 w 237"/>
                  <a:gd name="T43" fmla="*/ 106 h 258"/>
                  <a:gd name="T44" fmla="*/ 225 w 237"/>
                  <a:gd name="T45" fmla="*/ 113 h 258"/>
                  <a:gd name="T46" fmla="*/ 232 w 237"/>
                  <a:gd name="T47" fmla="*/ 122 h 258"/>
                  <a:gd name="T48" fmla="*/ 235 w 237"/>
                  <a:gd name="T49" fmla="*/ 134 h 258"/>
                  <a:gd name="T50" fmla="*/ 221 w 237"/>
                  <a:gd name="T51" fmla="*/ 182 h 258"/>
                  <a:gd name="T52" fmla="*/ 223 w 237"/>
                  <a:gd name="T53" fmla="*/ 196 h 258"/>
                  <a:gd name="T54" fmla="*/ 218 w 237"/>
                  <a:gd name="T55" fmla="*/ 191 h 258"/>
                  <a:gd name="T56" fmla="*/ 200 w 237"/>
                  <a:gd name="T57" fmla="*/ 187 h 258"/>
                  <a:gd name="T58" fmla="*/ 189 w 237"/>
                  <a:gd name="T59" fmla="*/ 191 h 258"/>
                  <a:gd name="T60" fmla="*/ 175 w 237"/>
                  <a:gd name="T61" fmla="*/ 186 h 258"/>
                  <a:gd name="T62" fmla="*/ 159 w 237"/>
                  <a:gd name="T63" fmla="*/ 168 h 258"/>
                  <a:gd name="T64" fmla="*/ 157 w 237"/>
                  <a:gd name="T65" fmla="*/ 184 h 258"/>
                  <a:gd name="T66" fmla="*/ 141 w 237"/>
                  <a:gd name="T67" fmla="*/ 191 h 258"/>
                  <a:gd name="T68" fmla="*/ 133 w 237"/>
                  <a:gd name="T69" fmla="*/ 196 h 258"/>
                  <a:gd name="T70" fmla="*/ 120 w 237"/>
                  <a:gd name="T71" fmla="*/ 194 h 258"/>
                  <a:gd name="T72" fmla="*/ 108 w 237"/>
                  <a:gd name="T73" fmla="*/ 200 h 258"/>
                  <a:gd name="T74" fmla="*/ 110 w 237"/>
                  <a:gd name="T75" fmla="*/ 214 h 258"/>
                  <a:gd name="T76" fmla="*/ 122 w 237"/>
                  <a:gd name="T77" fmla="*/ 210 h 258"/>
                  <a:gd name="T78" fmla="*/ 133 w 237"/>
                  <a:gd name="T79" fmla="*/ 217 h 258"/>
                  <a:gd name="T80" fmla="*/ 134 w 237"/>
                  <a:gd name="T81" fmla="*/ 246 h 258"/>
                  <a:gd name="T82" fmla="*/ 118 w 237"/>
                  <a:gd name="T83" fmla="*/ 237 h 258"/>
                  <a:gd name="T84" fmla="*/ 110 w 237"/>
                  <a:gd name="T85" fmla="*/ 240 h 258"/>
                  <a:gd name="T86" fmla="*/ 104 w 237"/>
                  <a:gd name="T87" fmla="*/ 249 h 258"/>
                  <a:gd name="T88" fmla="*/ 97 w 237"/>
                  <a:gd name="T89" fmla="*/ 256 h 258"/>
                  <a:gd name="T90" fmla="*/ 88 w 237"/>
                  <a:gd name="T91" fmla="*/ 246 h 258"/>
                  <a:gd name="T92" fmla="*/ 69 w 237"/>
                  <a:gd name="T93" fmla="*/ 230 h 258"/>
                  <a:gd name="T94" fmla="*/ 39 w 237"/>
                  <a:gd name="T95" fmla="*/ 203 h 258"/>
                  <a:gd name="T96" fmla="*/ 32 w 237"/>
                  <a:gd name="T97" fmla="*/ 193 h 258"/>
                  <a:gd name="T98" fmla="*/ 21 w 237"/>
                  <a:gd name="T99" fmla="*/ 175 h 258"/>
                  <a:gd name="T100" fmla="*/ 14 w 237"/>
                  <a:gd name="T101" fmla="*/ 154 h 258"/>
                  <a:gd name="T102" fmla="*/ 9 w 237"/>
                  <a:gd name="T103" fmla="*/ 143 h 258"/>
                  <a:gd name="T104" fmla="*/ 2 w 237"/>
                  <a:gd name="T105" fmla="*/ 120 h 258"/>
                  <a:gd name="T106" fmla="*/ 19 w 237"/>
                  <a:gd name="T107" fmla="*/ 118 h 258"/>
                  <a:gd name="T108" fmla="*/ 21 w 237"/>
                  <a:gd name="T109" fmla="*/ 83 h 258"/>
                  <a:gd name="T110" fmla="*/ 44 w 237"/>
                  <a:gd name="T111" fmla="*/ 83 h 258"/>
                  <a:gd name="T112" fmla="*/ 25 w 237"/>
                  <a:gd name="T113" fmla="*/ 67 h 258"/>
                  <a:gd name="T114" fmla="*/ 33 w 237"/>
                  <a:gd name="T115" fmla="*/ 56 h 258"/>
                  <a:gd name="T116" fmla="*/ 44 w 237"/>
                  <a:gd name="T117" fmla="*/ 53 h 258"/>
                  <a:gd name="T118" fmla="*/ 49 w 237"/>
                  <a:gd name="T119" fmla="*/ 54 h 258"/>
                  <a:gd name="T120" fmla="*/ 106 w 237"/>
                  <a:gd name="T121" fmla="*/ 7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7" h="258">
                    <a:moveTo>
                      <a:pt x="106" y="7"/>
                    </a:moveTo>
                    <a:lnTo>
                      <a:pt x="108" y="3"/>
                    </a:lnTo>
                    <a:lnTo>
                      <a:pt x="111" y="3"/>
                    </a:lnTo>
                    <a:lnTo>
                      <a:pt x="115" y="3"/>
                    </a:lnTo>
                    <a:lnTo>
                      <a:pt x="120" y="0"/>
                    </a:lnTo>
                    <a:lnTo>
                      <a:pt x="131" y="1"/>
                    </a:lnTo>
                    <a:lnTo>
                      <a:pt x="134" y="0"/>
                    </a:lnTo>
                    <a:lnTo>
                      <a:pt x="149" y="1"/>
                    </a:lnTo>
                    <a:lnTo>
                      <a:pt x="152" y="1"/>
                    </a:lnTo>
                    <a:lnTo>
                      <a:pt x="159" y="1"/>
                    </a:lnTo>
                    <a:lnTo>
                      <a:pt x="165" y="1"/>
                    </a:lnTo>
                    <a:lnTo>
                      <a:pt x="165" y="3"/>
                    </a:lnTo>
                    <a:lnTo>
                      <a:pt x="175" y="3"/>
                    </a:lnTo>
                    <a:lnTo>
                      <a:pt x="177" y="1"/>
                    </a:lnTo>
                    <a:lnTo>
                      <a:pt x="180" y="1"/>
                    </a:lnTo>
                    <a:lnTo>
                      <a:pt x="184" y="5"/>
                    </a:lnTo>
                    <a:lnTo>
                      <a:pt x="184" y="5"/>
                    </a:lnTo>
                    <a:lnTo>
                      <a:pt x="182" y="14"/>
                    </a:lnTo>
                    <a:lnTo>
                      <a:pt x="184" y="21"/>
                    </a:lnTo>
                    <a:lnTo>
                      <a:pt x="184" y="31"/>
                    </a:lnTo>
                    <a:lnTo>
                      <a:pt x="186" y="39"/>
                    </a:lnTo>
                    <a:lnTo>
                      <a:pt x="184" y="44"/>
                    </a:lnTo>
                    <a:lnTo>
                      <a:pt x="188" y="46"/>
                    </a:lnTo>
                    <a:lnTo>
                      <a:pt x="195" y="42"/>
                    </a:lnTo>
                    <a:lnTo>
                      <a:pt x="200" y="44"/>
                    </a:lnTo>
                    <a:lnTo>
                      <a:pt x="209" y="42"/>
                    </a:lnTo>
                    <a:lnTo>
                      <a:pt x="218" y="39"/>
                    </a:lnTo>
                    <a:lnTo>
                      <a:pt x="232" y="39"/>
                    </a:lnTo>
                    <a:lnTo>
                      <a:pt x="235" y="42"/>
                    </a:lnTo>
                    <a:lnTo>
                      <a:pt x="237" y="54"/>
                    </a:lnTo>
                    <a:lnTo>
                      <a:pt x="234" y="60"/>
                    </a:lnTo>
                    <a:lnTo>
                      <a:pt x="237" y="63"/>
                    </a:lnTo>
                    <a:lnTo>
                      <a:pt x="235" y="70"/>
                    </a:lnTo>
                    <a:lnTo>
                      <a:pt x="228" y="72"/>
                    </a:lnTo>
                    <a:lnTo>
                      <a:pt x="219" y="78"/>
                    </a:lnTo>
                    <a:lnTo>
                      <a:pt x="218" y="83"/>
                    </a:lnTo>
                    <a:lnTo>
                      <a:pt x="221" y="86"/>
                    </a:lnTo>
                    <a:lnTo>
                      <a:pt x="223" y="92"/>
                    </a:lnTo>
                    <a:lnTo>
                      <a:pt x="219" y="92"/>
                    </a:lnTo>
                    <a:lnTo>
                      <a:pt x="218" y="95"/>
                    </a:lnTo>
                    <a:lnTo>
                      <a:pt x="214" y="97"/>
                    </a:lnTo>
                    <a:lnTo>
                      <a:pt x="214" y="99"/>
                    </a:lnTo>
                    <a:lnTo>
                      <a:pt x="216" y="102"/>
                    </a:lnTo>
                    <a:lnTo>
                      <a:pt x="218" y="106"/>
                    </a:lnTo>
                    <a:lnTo>
                      <a:pt x="223" y="108"/>
                    </a:lnTo>
                    <a:lnTo>
                      <a:pt x="225" y="113"/>
                    </a:lnTo>
                    <a:lnTo>
                      <a:pt x="230" y="116"/>
                    </a:lnTo>
                    <a:lnTo>
                      <a:pt x="232" y="122"/>
                    </a:lnTo>
                    <a:lnTo>
                      <a:pt x="237" y="127"/>
                    </a:lnTo>
                    <a:lnTo>
                      <a:pt x="235" y="134"/>
                    </a:lnTo>
                    <a:lnTo>
                      <a:pt x="232" y="152"/>
                    </a:lnTo>
                    <a:lnTo>
                      <a:pt x="221" y="182"/>
                    </a:lnTo>
                    <a:lnTo>
                      <a:pt x="223" y="189"/>
                    </a:lnTo>
                    <a:lnTo>
                      <a:pt x="223" y="196"/>
                    </a:lnTo>
                    <a:lnTo>
                      <a:pt x="219" y="196"/>
                    </a:lnTo>
                    <a:lnTo>
                      <a:pt x="218" y="191"/>
                    </a:lnTo>
                    <a:lnTo>
                      <a:pt x="209" y="187"/>
                    </a:lnTo>
                    <a:lnTo>
                      <a:pt x="200" y="187"/>
                    </a:lnTo>
                    <a:lnTo>
                      <a:pt x="195" y="191"/>
                    </a:lnTo>
                    <a:lnTo>
                      <a:pt x="189" y="191"/>
                    </a:lnTo>
                    <a:lnTo>
                      <a:pt x="180" y="193"/>
                    </a:lnTo>
                    <a:lnTo>
                      <a:pt x="175" y="186"/>
                    </a:lnTo>
                    <a:lnTo>
                      <a:pt x="168" y="170"/>
                    </a:lnTo>
                    <a:lnTo>
                      <a:pt x="159" y="168"/>
                    </a:lnTo>
                    <a:lnTo>
                      <a:pt x="156" y="173"/>
                    </a:lnTo>
                    <a:lnTo>
                      <a:pt x="157" y="184"/>
                    </a:lnTo>
                    <a:lnTo>
                      <a:pt x="156" y="191"/>
                    </a:lnTo>
                    <a:lnTo>
                      <a:pt x="141" y="191"/>
                    </a:lnTo>
                    <a:lnTo>
                      <a:pt x="134" y="191"/>
                    </a:lnTo>
                    <a:lnTo>
                      <a:pt x="133" y="196"/>
                    </a:lnTo>
                    <a:lnTo>
                      <a:pt x="129" y="198"/>
                    </a:lnTo>
                    <a:lnTo>
                      <a:pt x="120" y="194"/>
                    </a:lnTo>
                    <a:lnTo>
                      <a:pt x="111" y="194"/>
                    </a:lnTo>
                    <a:lnTo>
                      <a:pt x="108" y="200"/>
                    </a:lnTo>
                    <a:lnTo>
                      <a:pt x="111" y="205"/>
                    </a:lnTo>
                    <a:lnTo>
                      <a:pt x="110" y="214"/>
                    </a:lnTo>
                    <a:lnTo>
                      <a:pt x="117" y="210"/>
                    </a:lnTo>
                    <a:lnTo>
                      <a:pt x="122" y="210"/>
                    </a:lnTo>
                    <a:lnTo>
                      <a:pt x="126" y="212"/>
                    </a:lnTo>
                    <a:lnTo>
                      <a:pt x="133" y="217"/>
                    </a:lnTo>
                    <a:lnTo>
                      <a:pt x="134" y="239"/>
                    </a:lnTo>
                    <a:lnTo>
                      <a:pt x="134" y="246"/>
                    </a:lnTo>
                    <a:lnTo>
                      <a:pt x="122" y="237"/>
                    </a:lnTo>
                    <a:lnTo>
                      <a:pt x="118" y="237"/>
                    </a:lnTo>
                    <a:lnTo>
                      <a:pt x="117" y="240"/>
                    </a:lnTo>
                    <a:lnTo>
                      <a:pt x="110" y="240"/>
                    </a:lnTo>
                    <a:lnTo>
                      <a:pt x="106" y="244"/>
                    </a:lnTo>
                    <a:lnTo>
                      <a:pt x="104" y="249"/>
                    </a:lnTo>
                    <a:lnTo>
                      <a:pt x="99" y="258"/>
                    </a:lnTo>
                    <a:lnTo>
                      <a:pt x="97" y="256"/>
                    </a:lnTo>
                    <a:lnTo>
                      <a:pt x="90" y="253"/>
                    </a:lnTo>
                    <a:lnTo>
                      <a:pt x="88" y="246"/>
                    </a:lnTo>
                    <a:lnTo>
                      <a:pt x="72" y="239"/>
                    </a:lnTo>
                    <a:lnTo>
                      <a:pt x="69" y="230"/>
                    </a:lnTo>
                    <a:lnTo>
                      <a:pt x="51" y="214"/>
                    </a:lnTo>
                    <a:lnTo>
                      <a:pt x="39" y="203"/>
                    </a:lnTo>
                    <a:lnTo>
                      <a:pt x="42" y="200"/>
                    </a:lnTo>
                    <a:lnTo>
                      <a:pt x="32" y="193"/>
                    </a:lnTo>
                    <a:lnTo>
                      <a:pt x="28" y="182"/>
                    </a:lnTo>
                    <a:lnTo>
                      <a:pt x="21" y="175"/>
                    </a:lnTo>
                    <a:lnTo>
                      <a:pt x="21" y="163"/>
                    </a:lnTo>
                    <a:lnTo>
                      <a:pt x="14" y="154"/>
                    </a:lnTo>
                    <a:lnTo>
                      <a:pt x="14" y="147"/>
                    </a:lnTo>
                    <a:lnTo>
                      <a:pt x="9" y="143"/>
                    </a:lnTo>
                    <a:lnTo>
                      <a:pt x="0" y="125"/>
                    </a:lnTo>
                    <a:lnTo>
                      <a:pt x="2" y="12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1" y="95"/>
                    </a:lnTo>
                    <a:lnTo>
                      <a:pt x="21" y="83"/>
                    </a:lnTo>
                    <a:lnTo>
                      <a:pt x="26" y="88"/>
                    </a:lnTo>
                    <a:lnTo>
                      <a:pt x="44" y="83"/>
                    </a:lnTo>
                    <a:lnTo>
                      <a:pt x="32" y="81"/>
                    </a:lnTo>
                    <a:lnTo>
                      <a:pt x="25" y="67"/>
                    </a:lnTo>
                    <a:lnTo>
                      <a:pt x="32" y="65"/>
                    </a:lnTo>
                    <a:lnTo>
                      <a:pt x="33" y="56"/>
                    </a:lnTo>
                    <a:lnTo>
                      <a:pt x="39" y="58"/>
                    </a:lnTo>
                    <a:lnTo>
                      <a:pt x="44" y="53"/>
                    </a:lnTo>
                    <a:lnTo>
                      <a:pt x="48" y="53"/>
                    </a:lnTo>
                    <a:lnTo>
                      <a:pt x="49" y="54"/>
                    </a:lnTo>
                    <a:lnTo>
                      <a:pt x="106" y="54"/>
                    </a:lnTo>
                    <a:lnTo>
                      <a:pt x="106" y="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8" name="Freeform 38">
                <a:extLst>
                  <a:ext uri="{FF2B5EF4-FFF2-40B4-BE49-F238E27FC236}">
                    <a16:creationId xmlns:a16="http://schemas.microsoft.com/office/drawing/2014/main" id="{6CC135BB-6E42-4CFB-50A7-87711DE0B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538" y="3814763"/>
                <a:ext cx="131763" cy="84138"/>
              </a:xfrm>
              <a:custGeom>
                <a:avLst/>
                <a:gdLst>
                  <a:gd name="T0" fmla="*/ 10 w 83"/>
                  <a:gd name="T1" fmla="*/ 51 h 53"/>
                  <a:gd name="T2" fmla="*/ 16 w 83"/>
                  <a:gd name="T3" fmla="*/ 53 h 53"/>
                  <a:gd name="T4" fmla="*/ 21 w 83"/>
                  <a:gd name="T5" fmla="*/ 48 h 53"/>
                  <a:gd name="T6" fmla="*/ 25 w 83"/>
                  <a:gd name="T7" fmla="*/ 48 h 53"/>
                  <a:gd name="T8" fmla="*/ 26 w 83"/>
                  <a:gd name="T9" fmla="*/ 49 h 53"/>
                  <a:gd name="T10" fmla="*/ 83 w 83"/>
                  <a:gd name="T11" fmla="*/ 49 h 53"/>
                  <a:gd name="T12" fmla="*/ 83 w 83"/>
                  <a:gd name="T13" fmla="*/ 0 h 53"/>
                  <a:gd name="T14" fmla="*/ 35 w 83"/>
                  <a:gd name="T15" fmla="*/ 2 h 53"/>
                  <a:gd name="T16" fmla="*/ 32 w 83"/>
                  <a:gd name="T17" fmla="*/ 0 h 53"/>
                  <a:gd name="T18" fmla="*/ 26 w 83"/>
                  <a:gd name="T19" fmla="*/ 0 h 53"/>
                  <a:gd name="T20" fmla="*/ 21 w 83"/>
                  <a:gd name="T21" fmla="*/ 0 h 53"/>
                  <a:gd name="T22" fmla="*/ 19 w 83"/>
                  <a:gd name="T23" fmla="*/ 2 h 53"/>
                  <a:gd name="T24" fmla="*/ 23 w 83"/>
                  <a:gd name="T25" fmla="*/ 9 h 53"/>
                  <a:gd name="T26" fmla="*/ 10 w 83"/>
                  <a:gd name="T27" fmla="*/ 23 h 53"/>
                  <a:gd name="T28" fmla="*/ 0 w 83"/>
                  <a:gd name="T29" fmla="*/ 44 h 53"/>
                  <a:gd name="T30" fmla="*/ 10 w 83"/>
                  <a:gd name="T31" fmla="*/ 49 h 53"/>
                  <a:gd name="T32" fmla="*/ 10 w 83"/>
                  <a:gd name="T33" fmla="*/ 5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3" h="53">
                    <a:moveTo>
                      <a:pt x="10" y="51"/>
                    </a:moveTo>
                    <a:lnTo>
                      <a:pt x="16" y="53"/>
                    </a:lnTo>
                    <a:lnTo>
                      <a:pt x="21" y="48"/>
                    </a:lnTo>
                    <a:lnTo>
                      <a:pt x="25" y="48"/>
                    </a:lnTo>
                    <a:lnTo>
                      <a:pt x="26" y="49"/>
                    </a:lnTo>
                    <a:lnTo>
                      <a:pt x="83" y="49"/>
                    </a:lnTo>
                    <a:lnTo>
                      <a:pt x="83" y="0"/>
                    </a:lnTo>
                    <a:lnTo>
                      <a:pt x="35" y="2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9" y="2"/>
                    </a:lnTo>
                    <a:lnTo>
                      <a:pt x="23" y="9"/>
                    </a:lnTo>
                    <a:lnTo>
                      <a:pt x="10" y="23"/>
                    </a:lnTo>
                    <a:lnTo>
                      <a:pt x="0" y="44"/>
                    </a:lnTo>
                    <a:lnTo>
                      <a:pt x="10" y="49"/>
                    </a:lnTo>
                    <a:lnTo>
                      <a:pt x="10" y="51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9" name="Freeform 39">
                <a:extLst>
                  <a:ext uri="{FF2B5EF4-FFF2-40B4-BE49-F238E27FC236}">
                    <a16:creationId xmlns:a16="http://schemas.microsoft.com/office/drawing/2014/main" id="{C3EDFEFE-84A0-8924-62BE-085677252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1188" y="3702051"/>
                <a:ext cx="503238" cy="590550"/>
              </a:xfrm>
              <a:custGeom>
                <a:avLst/>
                <a:gdLst>
                  <a:gd name="T0" fmla="*/ 7 w 317"/>
                  <a:gd name="T1" fmla="*/ 310 h 372"/>
                  <a:gd name="T2" fmla="*/ 19 w 317"/>
                  <a:gd name="T3" fmla="*/ 303 h 372"/>
                  <a:gd name="T4" fmla="*/ 35 w 317"/>
                  <a:gd name="T5" fmla="*/ 305 h 372"/>
                  <a:gd name="T6" fmla="*/ 23 w 317"/>
                  <a:gd name="T7" fmla="*/ 276 h 372"/>
                  <a:gd name="T8" fmla="*/ 12 w 317"/>
                  <a:gd name="T9" fmla="*/ 271 h 372"/>
                  <a:gd name="T10" fmla="*/ 21 w 317"/>
                  <a:gd name="T11" fmla="*/ 260 h 372"/>
                  <a:gd name="T12" fmla="*/ 35 w 317"/>
                  <a:gd name="T13" fmla="*/ 257 h 372"/>
                  <a:gd name="T14" fmla="*/ 58 w 317"/>
                  <a:gd name="T15" fmla="*/ 250 h 372"/>
                  <a:gd name="T16" fmla="*/ 69 w 317"/>
                  <a:gd name="T17" fmla="*/ 236 h 372"/>
                  <a:gd name="T18" fmla="*/ 90 w 317"/>
                  <a:gd name="T19" fmla="*/ 257 h 372"/>
                  <a:gd name="T20" fmla="*/ 110 w 317"/>
                  <a:gd name="T21" fmla="*/ 253 h 372"/>
                  <a:gd name="T22" fmla="*/ 124 w 317"/>
                  <a:gd name="T23" fmla="*/ 262 h 372"/>
                  <a:gd name="T24" fmla="*/ 133 w 317"/>
                  <a:gd name="T25" fmla="*/ 218 h 372"/>
                  <a:gd name="T26" fmla="*/ 133 w 317"/>
                  <a:gd name="T27" fmla="*/ 188 h 372"/>
                  <a:gd name="T28" fmla="*/ 124 w 317"/>
                  <a:gd name="T29" fmla="*/ 174 h 372"/>
                  <a:gd name="T30" fmla="*/ 115 w 317"/>
                  <a:gd name="T31" fmla="*/ 165 h 372"/>
                  <a:gd name="T32" fmla="*/ 120 w 317"/>
                  <a:gd name="T33" fmla="*/ 158 h 372"/>
                  <a:gd name="T34" fmla="*/ 119 w 317"/>
                  <a:gd name="T35" fmla="*/ 149 h 372"/>
                  <a:gd name="T36" fmla="*/ 136 w 317"/>
                  <a:gd name="T37" fmla="*/ 136 h 372"/>
                  <a:gd name="T38" fmla="*/ 138 w 317"/>
                  <a:gd name="T39" fmla="*/ 120 h 372"/>
                  <a:gd name="T40" fmla="*/ 119 w 317"/>
                  <a:gd name="T41" fmla="*/ 105 h 372"/>
                  <a:gd name="T42" fmla="*/ 96 w 317"/>
                  <a:gd name="T43" fmla="*/ 108 h 372"/>
                  <a:gd name="T44" fmla="*/ 87 w 317"/>
                  <a:gd name="T45" fmla="*/ 105 h 372"/>
                  <a:gd name="T46" fmla="*/ 83 w 317"/>
                  <a:gd name="T47" fmla="*/ 80 h 372"/>
                  <a:gd name="T48" fmla="*/ 142 w 317"/>
                  <a:gd name="T49" fmla="*/ 74 h 372"/>
                  <a:gd name="T50" fmla="*/ 152 w 317"/>
                  <a:gd name="T51" fmla="*/ 76 h 372"/>
                  <a:gd name="T52" fmla="*/ 163 w 317"/>
                  <a:gd name="T53" fmla="*/ 80 h 372"/>
                  <a:gd name="T54" fmla="*/ 172 w 317"/>
                  <a:gd name="T55" fmla="*/ 78 h 372"/>
                  <a:gd name="T56" fmla="*/ 191 w 317"/>
                  <a:gd name="T57" fmla="*/ 82 h 372"/>
                  <a:gd name="T58" fmla="*/ 200 w 317"/>
                  <a:gd name="T59" fmla="*/ 83 h 372"/>
                  <a:gd name="T60" fmla="*/ 207 w 317"/>
                  <a:gd name="T61" fmla="*/ 80 h 372"/>
                  <a:gd name="T62" fmla="*/ 211 w 317"/>
                  <a:gd name="T63" fmla="*/ 64 h 372"/>
                  <a:gd name="T64" fmla="*/ 243 w 317"/>
                  <a:gd name="T65" fmla="*/ 16 h 372"/>
                  <a:gd name="T66" fmla="*/ 271 w 317"/>
                  <a:gd name="T67" fmla="*/ 2 h 372"/>
                  <a:gd name="T68" fmla="*/ 289 w 317"/>
                  <a:gd name="T69" fmla="*/ 0 h 372"/>
                  <a:gd name="T70" fmla="*/ 305 w 317"/>
                  <a:gd name="T71" fmla="*/ 7 h 372"/>
                  <a:gd name="T72" fmla="*/ 314 w 317"/>
                  <a:gd name="T73" fmla="*/ 7 h 372"/>
                  <a:gd name="T74" fmla="*/ 310 w 317"/>
                  <a:gd name="T75" fmla="*/ 35 h 372"/>
                  <a:gd name="T76" fmla="*/ 294 w 317"/>
                  <a:gd name="T77" fmla="*/ 80 h 372"/>
                  <a:gd name="T78" fmla="*/ 285 w 317"/>
                  <a:gd name="T79" fmla="*/ 106 h 372"/>
                  <a:gd name="T80" fmla="*/ 282 w 317"/>
                  <a:gd name="T81" fmla="*/ 136 h 372"/>
                  <a:gd name="T82" fmla="*/ 276 w 317"/>
                  <a:gd name="T83" fmla="*/ 152 h 372"/>
                  <a:gd name="T84" fmla="*/ 260 w 317"/>
                  <a:gd name="T85" fmla="*/ 202 h 372"/>
                  <a:gd name="T86" fmla="*/ 239 w 317"/>
                  <a:gd name="T87" fmla="*/ 209 h 372"/>
                  <a:gd name="T88" fmla="*/ 221 w 317"/>
                  <a:gd name="T89" fmla="*/ 234 h 372"/>
                  <a:gd name="T90" fmla="*/ 205 w 317"/>
                  <a:gd name="T91" fmla="*/ 268 h 372"/>
                  <a:gd name="T92" fmla="*/ 204 w 317"/>
                  <a:gd name="T93" fmla="*/ 305 h 372"/>
                  <a:gd name="T94" fmla="*/ 190 w 317"/>
                  <a:gd name="T95" fmla="*/ 326 h 372"/>
                  <a:gd name="T96" fmla="*/ 163 w 317"/>
                  <a:gd name="T97" fmla="*/ 353 h 372"/>
                  <a:gd name="T98" fmla="*/ 138 w 317"/>
                  <a:gd name="T99" fmla="*/ 360 h 372"/>
                  <a:gd name="T100" fmla="*/ 138 w 317"/>
                  <a:gd name="T101" fmla="*/ 342 h 372"/>
                  <a:gd name="T102" fmla="*/ 119 w 317"/>
                  <a:gd name="T103" fmla="*/ 349 h 372"/>
                  <a:gd name="T104" fmla="*/ 106 w 317"/>
                  <a:gd name="T105" fmla="*/ 358 h 372"/>
                  <a:gd name="T106" fmla="*/ 94 w 317"/>
                  <a:gd name="T107" fmla="*/ 360 h 372"/>
                  <a:gd name="T108" fmla="*/ 80 w 317"/>
                  <a:gd name="T109" fmla="*/ 358 h 372"/>
                  <a:gd name="T110" fmla="*/ 74 w 317"/>
                  <a:gd name="T111" fmla="*/ 345 h 372"/>
                  <a:gd name="T112" fmla="*/ 60 w 317"/>
                  <a:gd name="T113" fmla="*/ 349 h 372"/>
                  <a:gd name="T114" fmla="*/ 46 w 317"/>
                  <a:gd name="T115" fmla="*/ 360 h 372"/>
                  <a:gd name="T116" fmla="*/ 34 w 317"/>
                  <a:gd name="T117" fmla="*/ 372 h 372"/>
                  <a:gd name="T118" fmla="*/ 23 w 317"/>
                  <a:gd name="T119" fmla="*/ 353 h 372"/>
                  <a:gd name="T120" fmla="*/ 7 w 317"/>
                  <a:gd name="T121" fmla="*/ 331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7" h="372">
                    <a:moveTo>
                      <a:pt x="0" y="324"/>
                    </a:moveTo>
                    <a:lnTo>
                      <a:pt x="5" y="315"/>
                    </a:lnTo>
                    <a:lnTo>
                      <a:pt x="7" y="310"/>
                    </a:lnTo>
                    <a:lnTo>
                      <a:pt x="11" y="306"/>
                    </a:lnTo>
                    <a:lnTo>
                      <a:pt x="18" y="306"/>
                    </a:lnTo>
                    <a:lnTo>
                      <a:pt x="19" y="303"/>
                    </a:lnTo>
                    <a:lnTo>
                      <a:pt x="23" y="303"/>
                    </a:lnTo>
                    <a:lnTo>
                      <a:pt x="35" y="312"/>
                    </a:lnTo>
                    <a:lnTo>
                      <a:pt x="35" y="305"/>
                    </a:lnTo>
                    <a:lnTo>
                      <a:pt x="34" y="283"/>
                    </a:lnTo>
                    <a:lnTo>
                      <a:pt x="27" y="278"/>
                    </a:lnTo>
                    <a:lnTo>
                      <a:pt x="23" y="276"/>
                    </a:lnTo>
                    <a:lnTo>
                      <a:pt x="18" y="276"/>
                    </a:lnTo>
                    <a:lnTo>
                      <a:pt x="11" y="280"/>
                    </a:lnTo>
                    <a:lnTo>
                      <a:pt x="12" y="271"/>
                    </a:lnTo>
                    <a:lnTo>
                      <a:pt x="9" y="266"/>
                    </a:lnTo>
                    <a:lnTo>
                      <a:pt x="12" y="260"/>
                    </a:lnTo>
                    <a:lnTo>
                      <a:pt x="21" y="260"/>
                    </a:lnTo>
                    <a:lnTo>
                      <a:pt x="30" y="264"/>
                    </a:lnTo>
                    <a:lnTo>
                      <a:pt x="34" y="262"/>
                    </a:lnTo>
                    <a:lnTo>
                      <a:pt x="35" y="257"/>
                    </a:lnTo>
                    <a:lnTo>
                      <a:pt x="42" y="257"/>
                    </a:lnTo>
                    <a:lnTo>
                      <a:pt x="57" y="257"/>
                    </a:lnTo>
                    <a:lnTo>
                      <a:pt x="58" y="250"/>
                    </a:lnTo>
                    <a:lnTo>
                      <a:pt x="57" y="239"/>
                    </a:lnTo>
                    <a:lnTo>
                      <a:pt x="60" y="234"/>
                    </a:lnTo>
                    <a:lnTo>
                      <a:pt x="69" y="236"/>
                    </a:lnTo>
                    <a:lnTo>
                      <a:pt x="76" y="252"/>
                    </a:lnTo>
                    <a:lnTo>
                      <a:pt x="81" y="259"/>
                    </a:lnTo>
                    <a:lnTo>
                      <a:pt x="90" y="257"/>
                    </a:lnTo>
                    <a:lnTo>
                      <a:pt x="96" y="257"/>
                    </a:lnTo>
                    <a:lnTo>
                      <a:pt x="101" y="253"/>
                    </a:lnTo>
                    <a:lnTo>
                      <a:pt x="110" y="253"/>
                    </a:lnTo>
                    <a:lnTo>
                      <a:pt x="119" y="257"/>
                    </a:lnTo>
                    <a:lnTo>
                      <a:pt x="120" y="262"/>
                    </a:lnTo>
                    <a:lnTo>
                      <a:pt x="124" y="262"/>
                    </a:lnTo>
                    <a:lnTo>
                      <a:pt x="124" y="255"/>
                    </a:lnTo>
                    <a:lnTo>
                      <a:pt x="122" y="248"/>
                    </a:lnTo>
                    <a:lnTo>
                      <a:pt x="133" y="218"/>
                    </a:lnTo>
                    <a:lnTo>
                      <a:pt x="136" y="200"/>
                    </a:lnTo>
                    <a:lnTo>
                      <a:pt x="138" y="193"/>
                    </a:lnTo>
                    <a:lnTo>
                      <a:pt x="133" y="188"/>
                    </a:lnTo>
                    <a:lnTo>
                      <a:pt x="131" y="182"/>
                    </a:lnTo>
                    <a:lnTo>
                      <a:pt x="126" y="179"/>
                    </a:lnTo>
                    <a:lnTo>
                      <a:pt x="124" y="174"/>
                    </a:lnTo>
                    <a:lnTo>
                      <a:pt x="119" y="172"/>
                    </a:lnTo>
                    <a:lnTo>
                      <a:pt x="117" y="168"/>
                    </a:lnTo>
                    <a:lnTo>
                      <a:pt x="115" y="165"/>
                    </a:lnTo>
                    <a:lnTo>
                      <a:pt x="115" y="163"/>
                    </a:lnTo>
                    <a:lnTo>
                      <a:pt x="119" y="161"/>
                    </a:lnTo>
                    <a:lnTo>
                      <a:pt x="120" y="158"/>
                    </a:lnTo>
                    <a:lnTo>
                      <a:pt x="124" y="158"/>
                    </a:lnTo>
                    <a:lnTo>
                      <a:pt x="122" y="152"/>
                    </a:lnTo>
                    <a:lnTo>
                      <a:pt x="119" y="149"/>
                    </a:lnTo>
                    <a:lnTo>
                      <a:pt x="120" y="144"/>
                    </a:lnTo>
                    <a:lnTo>
                      <a:pt x="129" y="138"/>
                    </a:lnTo>
                    <a:lnTo>
                      <a:pt x="136" y="136"/>
                    </a:lnTo>
                    <a:lnTo>
                      <a:pt x="138" y="129"/>
                    </a:lnTo>
                    <a:lnTo>
                      <a:pt x="135" y="126"/>
                    </a:lnTo>
                    <a:lnTo>
                      <a:pt x="138" y="120"/>
                    </a:lnTo>
                    <a:lnTo>
                      <a:pt x="136" y="108"/>
                    </a:lnTo>
                    <a:lnTo>
                      <a:pt x="133" y="105"/>
                    </a:lnTo>
                    <a:lnTo>
                      <a:pt x="119" y="105"/>
                    </a:lnTo>
                    <a:lnTo>
                      <a:pt x="110" y="108"/>
                    </a:lnTo>
                    <a:lnTo>
                      <a:pt x="101" y="110"/>
                    </a:lnTo>
                    <a:lnTo>
                      <a:pt x="96" y="108"/>
                    </a:lnTo>
                    <a:lnTo>
                      <a:pt x="89" y="112"/>
                    </a:lnTo>
                    <a:lnTo>
                      <a:pt x="85" y="110"/>
                    </a:lnTo>
                    <a:lnTo>
                      <a:pt x="87" y="105"/>
                    </a:lnTo>
                    <a:lnTo>
                      <a:pt x="85" y="97"/>
                    </a:lnTo>
                    <a:lnTo>
                      <a:pt x="85" y="87"/>
                    </a:lnTo>
                    <a:lnTo>
                      <a:pt x="83" y="80"/>
                    </a:lnTo>
                    <a:lnTo>
                      <a:pt x="85" y="71"/>
                    </a:lnTo>
                    <a:lnTo>
                      <a:pt x="138" y="73"/>
                    </a:lnTo>
                    <a:lnTo>
                      <a:pt x="142" y="74"/>
                    </a:lnTo>
                    <a:lnTo>
                      <a:pt x="143" y="73"/>
                    </a:lnTo>
                    <a:lnTo>
                      <a:pt x="147" y="73"/>
                    </a:lnTo>
                    <a:lnTo>
                      <a:pt x="152" y="76"/>
                    </a:lnTo>
                    <a:lnTo>
                      <a:pt x="156" y="76"/>
                    </a:lnTo>
                    <a:lnTo>
                      <a:pt x="161" y="76"/>
                    </a:lnTo>
                    <a:lnTo>
                      <a:pt x="163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9" y="82"/>
                    </a:lnTo>
                    <a:lnTo>
                      <a:pt x="182" y="82"/>
                    </a:lnTo>
                    <a:lnTo>
                      <a:pt x="191" y="82"/>
                    </a:lnTo>
                    <a:lnTo>
                      <a:pt x="195" y="82"/>
                    </a:lnTo>
                    <a:lnTo>
                      <a:pt x="198" y="83"/>
                    </a:lnTo>
                    <a:lnTo>
                      <a:pt x="200" y="83"/>
                    </a:lnTo>
                    <a:lnTo>
                      <a:pt x="202" y="85"/>
                    </a:lnTo>
                    <a:lnTo>
                      <a:pt x="207" y="85"/>
                    </a:lnTo>
                    <a:lnTo>
                      <a:pt x="207" y="80"/>
                    </a:lnTo>
                    <a:lnTo>
                      <a:pt x="204" y="74"/>
                    </a:lnTo>
                    <a:lnTo>
                      <a:pt x="205" y="71"/>
                    </a:lnTo>
                    <a:lnTo>
                      <a:pt x="211" y="64"/>
                    </a:lnTo>
                    <a:lnTo>
                      <a:pt x="213" y="58"/>
                    </a:lnTo>
                    <a:lnTo>
                      <a:pt x="232" y="25"/>
                    </a:lnTo>
                    <a:lnTo>
                      <a:pt x="243" y="16"/>
                    </a:lnTo>
                    <a:lnTo>
                      <a:pt x="250" y="14"/>
                    </a:lnTo>
                    <a:lnTo>
                      <a:pt x="253" y="9"/>
                    </a:lnTo>
                    <a:lnTo>
                      <a:pt x="271" y="2"/>
                    </a:lnTo>
                    <a:lnTo>
                      <a:pt x="278" y="4"/>
                    </a:lnTo>
                    <a:lnTo>
                      <a:pt x="282" y="0"/>
                    </a:lnTo>
                    <a:lnTo>
                      <a:pt x="289" y="0"/>
                    </a:lnTo>
                    <a:lnTo>
                      <a:pt x="294" y="0"/>
                    </a:lnTo>
                    <a:lnTo>
                      <a:pt x="298" y="4"/>
                    </a:lnTo>
                    <a:lnTo>
                      <a:pt x="305" y="7"/>
                    </a:lnTo>
                    <a:lnTo>
                      <a:pt x="308" y="5"/>
                    </a:lnTo>
                    <a:lnTo>
                      <a:pt x="314" y="5"/>
                    </a:lnTo>
                    <a:lnTo>
                      <a:pt x="314" y="7"/>
                    </a:lnTo>
                    <a:lnTo>
                      <a:pt x="317" y="14"/>
                    </a:lnTo>
                    <a:lnTo>
                      <a:pt x="317" y="32"/>
                    </a:lnTo>
                    <a:lnTo>
                      <a:pt x="310" y="35"/>
                    </a:lnTo>
                    <a:lnTo>
                      <a:pt x="308" y="43"/>
                    </a:lnTo>
                    <a:lnTo>
                      <a:pt x="291" y="66"/>
                    </a:lnTo>
                    <a:lnTo>
                      <a:pt x="294" y="80"/>
                    </a:lnTo>
                    <a:lnTo>
                      <a:pt x="291" y="89"/>
                    </a:lnTo>
                    <a:lnTo>
                      <a:pt x="291" y="99"/>
                    </a:lnTo>
                    <a:lnTo>
                      <a:pt x="285" y="106"/>
                    </a:lnTo>
                    <a:lnTo>
                      <a:pt x="283" y="119"/>
                    </a:lnTo>
                    <a:lnTo>
                      <a:pt x="285" y="124"/>
                    </a:lnTo>
                    <a:lnTo>
                      <a:pt x="282" y="136"/>
                    </a:lnTo>
                    <a:lnTo>
                      <a:pt x="283" y="138"/>
                    </a:lnTo>
                    <a:lnTo>
                      <a:pt x="282" y="151"/>
                    </a:lnTo>
                    <a:lnTo>
                      <a:pt x="276" y="152"/>
                    </a:lnTo>
                    <a:lnTo>
                      <a:pt x="273" y="167"/>
                    </a:lnTo>
                    <a:lnTo>
                      <a:pt x="273" y="181"/>
                    </a:lnTo>
                    <a:lnTo>
                      <a:pt x="260" y="202"/>
                    </a:lnTo>
                    <a:lnTo>
                      <a:pt x="252" y="206"/>
                    </a:lnTo>
                    <a:lnTo>
                      <a:pt x="244" y="211"/>
                    </a:lnTo>
                    <a:lnTo>
                      <a:pt x="239" y="209"/>
                    </a:lnTo>
                    <a:lnTo>
                      <a:pt x="230" y="216"/>
                    </a:lnTo>
                    <a:lnTo>
                      <a:pt x="221" y="225"/>
                    </a:lnTo>
                    <a:lnTo>
                      <a:pt x="221" y="234"/>
                    </a:lnTo>
                    <a:lnTo>
                      <a:pt x="209" y="248"/>
                    </a:lnTo>
                    <a:lnTo>
                      <a:pt x="204" y="257"/>
                    </a:lnTo>
                    <a:lnTo>
                      <a:pt x="205" y="268"/>
                    </a:lnTo>
                    <a:lnTo>
                      <a:pt x="209" y="271"/>
                    </a:lnTo>
                    <a:lnTo>
                      <a:pt x="207" y="294"/>
                    </a:lnTo>
                    <a:lnTo>
                      <a:pt x="204" y="305"/>
                    </a:lnTo>
                    <a:lnTo>
                      <a:pt x="204" y="312"/>
                    </a:lnTo>
                    <a:lnTo>
                      <a:pt x="198" y="324"/>
                    </a:lnTo>
                    <a:lnTo>
                      <a:pt x="190" y="326"/>
                    </a:lnTo>
                    <a:lnTo>
                      <a:pt x="184" y="330"/>
                    </a:lnTo>
                    <a:lnTo>
                      <a:pt x="181" y="337"/>
                    </a:lnTo>
                    <a:lnTo>
                      <a:pt x="163" y="353"/>
                    </a:lnTo>
                    <a:lnTo>
                      <a:pt x="158" y="361"/>
                    </a:lnTo>
                    <a:lnTo>
                      <a:pt x="149" y="365"/>
                    </a:lnTo>
                    <a:lnTo>
                      <a:pt x="138" y="360"/>
                    </a:lnTo>
                    <a:lnTo>
                      <a:pt x="136" y="353"/>
                    </a:lnTo>
                    <a:lnTo>
                      <a:pt x="135" y="351"/>
                    </a:lnTo>
                    <a:lnTo>
                      <a:pt x="138" y="342"/>
                    </a:lnTo>
                    <a:lnTo>
                      <a:pt x="140" y="338"/>
                    </a:lnTo>
                    <a:lnTo>
                      <a:pt x="126" y="342"/>
                    </a:lnTo>
                    <a:lnTo>
                      <a:pt x="119" y="349"/>
                    </a:lnTo>
                    <a:lnTo>
                      <a:pt x="112" y="347"/>
                    </a:lnTo>
                    <a:lnTo>
                      <a:pt x="106" y="349"/>
                    </a:lnTo>
                    <a:lnTo>
                      <a:pt x="106" y="358"/>
                    </a:lnTo>
                    <a:lnTo>
                      <a:pt x="101" y="363"/>
                    </a:lnTo>
                    <a:lnTo>
                      <a:pt x="94" y="363"/>
                    </a:lnTo>
                    <a:lnTo>
                      <a:pt x="94" y="360"/>
                    </a:lnTo>
                    <a:lnTo>
                      <a:pt x="92" y="354"/>
                    </a:lnTo>
                    <a:lnTo>
                      <a:pt x="85" y="358"/>
                    </a:lnTo>
                    <a:lnTo>
                      <a:pt x="80" y="358"/>
                    </a:lnTo>
                    <a:lnTo>
                      <a:pt x="80" y="358"/>
                    </a:lnTo>
                    <a:lnTo>
                      <a:pt x="80" y="351"/>
                    </a:lnTo>
                    <a:lnTo>
                      <a:pt x="74" y="345"/>
                    </a:lnTo>
                    <a:lnTo>
                      <a:pt x="71" y="342"/>
                    </a:lnTo>
                    <a:lnTo>
                      <a:pt x="67" y="342"/>
                    </a:lnTo>
                    <a:lnTo>
                      <a:pt x="60" y="349"/>
                    </a:lnTo>
                    <a:lnTo>
                      <a:pt x="55" y="349"/>
                    </a:lnTo>
                    <a:lnTo>
                      <a:pt x="51" y="356"/>
                    </a:lnTo>
                    <a:lnTo>
                      <a:pt x="46" y="360"/>
                    </a:lnTo>
                    <a:lnTo>
                      <a:pt x="42" y="360"/>
                    </a:lnTo>
                    <a:lnTo>
                      <a:pt x="39" y="370"/>
                    </a:lnTo>
                    <a:lnTo>
                      <a:pt x="34" y="372"/>
                    </a:lnTo>
                    <a:lnTo>
                      <a:pt x="30" y="367"/>
                    </a:lnTo>
                    <a:lnTo>
                      <a:pt x="30" y="360"/>
                    </a:lnTo>
                    <a:lnTo>
                      <a:pt x="23" y="353"/>
                    </a:lnTo>
                    <a:lnTo>
                      <a:pt x="23" y="344"/>
                    </a:lnTo>
                    <a:lnTo>
                      <a:pt x="11" y="337"/>
                    </a:lnTo>
                    <a:lnTo>
                      <a:pt x="7" y="331"/>
                    </a:lnTo>
                    <a:lnTo>
                      <a:pt x="0" y="3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0" name="Freeform 40">
                <a:extLst>
                  <a:ext uri="{FF2B5EF4-FFF2-40B4-BE49-F238E27FC236}">
                    <a16:creationId xmlns:a16="http://schemas.microsoft.com/office/drawing/2014/main" id="{1AD185A4-3952-5326-4BE2-10F79A249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5163" y="4244976"/>
                <a:ext cx="73025" cy="98425"/>
              </a:xfrm>
              <a:custGeom>
                <a:avLst/>
                <a:gdLst>
                  <a:gd name="T0" fmla="*/ 46 w 46"/>
                  <a:gd name="T1" fmla="*/ 16 h 62"/>
                  <a:gd name="T2" fmla="*/ 46 w 46"/>
                  <a:gd name="T3" fmla="*/ 9 h 62"/>
                  <a:gd name="T4" fmla="*/ 40 w 46"/>
                  <a:gd name="T5" fmla="*/ 3 h 62"/>
                  <a:gd name="T6" fmla="*/ 37 w 46"/>
                  <a:gd name="T7" fmla="*/ 0 h 62"/>
                  <a:gd name="T8" fmla="*/ 33 w 46"/>
                  <a:gd name="T9" fmla="*/ 0 h 62"/>
                  <a:gd name="T10" fmla="*/ 26 w 46"/>
                  <a:gd name="T11" fmla="*/ 7 h 62"/>
                  <a:gd name="T12" fmla="*/ 21 w 46"/>
                  <a:gd name="T13" fmla="*/ 7 h 62"/>
                  <a:gd name="T14" fmla="*/ 17 w 46"/>
                  <a:gd name="T15" fmla="*/ 14 h 62"/>
                  <a:gd name="T16" fmla="*/ 12 w 46"/>
                  <a:gd name="T17" fmla="*/ 18 h 62"/>
                  <a:gd name="T18" fmla="*/ 8 w 46"/>
                  <a:gd name="T19" fmla="*/ 18 h 62"/>
                  <a:gd name="T20" fmla="*/ 5 w 46"/>
                  <a:gd name="T21" fmla="*/ 28 h 62"/>
                  <a:gd name="T22" fmla="*/ 0 w 46"/>
                  <a:gd name="T23" fmla="*/ 30 h 62"/>
                  <a:gd name="T24" fmla="*/ 5 w 46"/>
                  <a:gd name="T25" fmla="*/ 35 h 62"/>
                  <a:gd name="T26" fmla="*/ 8 w 46"/>
                  <a:gd name="T27" fmla="*/ 48 h 62"/>
                  <a:gd name="T28" fmla="*/ 3 w 46"/>
                  <a:gd name="T29" fmla="*/ 57 h 62"/>
                  <a:gd name="T30" fmla="*/ 5 w 46"/>
                  <a:gd name="T31" fmla="*/ 62 h 62"/>
                  <a:gd name="T32" fmla="*/ 14 w 46"/>
                  <a:gd name="T33" fmla="*/ 57 h 62"/>
                  <a:gd name="T34" fmla="*/ 21 w 46"/>
                  <a:gd name="T35" fmla="*/ 55 h 62"/>
                  <a:gd name="T36" fmla="*/ 26 w 46"/>
                  <a:gd name="T37" fmla="*/ 51 h 62"/>
                  <a:gd name="T38" fmla="*/ 24 w 46"/>
                  <a:gd name="T39" fmla="*/ 35 h 62"/>
                  <a:gd name="T40" fmla="*/ 28 w 46"/>
                  <a:gd name="T41" fmla="*/ 32 h 62"/>
                  <a:gd name="T42" fmla="*/ 37 w 46"/>
                  <a:gd name="T43" fmla="*/ 23 h 62"/>
                  <a:gd name="T44" fmla="*/ 46 w 46"/>
                  <a:gd name="T45" fmla="*/ 1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6" h="62">
                    <a:moveTo>
                      <a:pt x="46" y="16"/>
                    </a:moveTo>
                    <a:lnTo>
                      <a:pt x="46" y="9"/>
                    </a:lnTo>
                    <a:lnTo>
                      <a:pt x="40" y="3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26" y="7"/>
                    </a:lnTo>
                    <a:lnTo>
                      <a:pt x="21" y="7"/>
                    </a:lnTo>
                    <a:lnTo>
                      <a:pt x="17" y="14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5" y="28"/>
                    </a:lnTo>
                    <a:lnTo>
                      <a:pt x="0" y="30"/>
                    </a:lnTo>
                    <a:lnTo>
                      <a:pt x="5" y="35"/>
                    </a:lnTo>
                    <a:lnTo>
                      <a:pt x="8" y="48"/>
                    </a:lnTo>
                    <a:lnTo>
                      <a:pt x="3" y="57"/>
                    </a:lnTo>
                    <a:lnTo>
                      <a:pt x="5" y="62"/>
                    </a:lnTo>
                    <a:lnTo>
                      <a:pt x="14" y="57"/>
                    </a:lnTo>
                    <a:lnTo>
                      <a:pt x="21" y="55"/>
                    </a:lnTo>
                    <a:lnTo>
                      <a:pt x="26" y="51"/>
                    </a:lnTo>
                    <a:lnTo>
                      <a:pt x="24" y="35"/>
                    </a:lnTo>
                    <a:lnTo>
                      <a:pt x="28" y="32"/>
                    </a:lnTo>
                    <a:lnTo>
                      <a:pt x="37" y="23"/>
                    </a:lnTo>
                    <a:lnTo>
                      <a:pt x="4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1" name="Freeform 41">
                <a:extLst>
                  <a:ext uri="{FF2B5EF4-FFF2-40B4-BE49-F238E27FC236}">
                    <a16:creationId xmlns:a16="http://schemas.microsoft.com/office/drawing/2014/main" id="{9B93135C-EB7B-5F14-873A-2577B54FE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9751" y="4014788"/>
                <a:ext cx="736600" cy="752475"/>
              </a:xfrm>
              <a:custGeom>
                <a:avLst/>
                <a:gdLst>
                  <a:gd name="T0" fmla="*/ 58 w 464"/>
                  <a:gd name="T1" fmla="*/ 9 h 474"/>
                  <a:gd name="T2" fmla="*/ 196 w 464"/>
                  <a:gd name="T3" fmla="*/ 0 h 474"/>
                  <a:gd name="T4" fmla="*/ 354 w 464"/>
                  <a:gd name="T5" fmla="*/ 106 h 474"/>
                  <a:gd name="T6" fmla="*/ 411 w 464"/>
                  <a:gd name="T7" fmla="*/ 152 h 474"/>
                  <a:gd name="T8" fmla="*/ 412 w 464"/>
                  <a:gd name="T9" fmla="*/ 161 h 474"/>
                  <a:gd name="T10" fmla="*/ 395 w 464"/>
                  <a:gd name="T11" fmla="*/ 210 h 474"/>
                  <a:gd name="T12" fmla="*/ 414 w 464"/>
                  <a:gd name="T13" fmla="*/ 239 h 474"/>
                  <a:gd name="T14" fmla="*/ 423 w 464"/>
                  <a:gd name="T15" fmla="*/ 258 h 474"/>
                  <a:gd name="T16" fmla="*/ 412 w 464"/>
                  <a:gd name="T17" fmla="*/ 271 h 474"/>
                  <a:gd name="T18" fmla="*/ 418 w 464"/>
                  <a:gd name="T19" fmla="*/ 303 h 474"/>
                  <a:gd name="T20" fmla="*/ 419 w 464"/>
                  <a:gd name="T21" fmla="*/ 327 h 474"/>
                  <a:gd name="T22" fmla="*/ 421 w 464"/>
                  <a:gd name="T23" fmla="*/ 340 h 474"/>
                  <a:gd name="T24" fmla="*/ 425 w 464"/>
                  <a:gd name="T25" fmla="*/ 356 h 474"/>
                  <a:gd name="T26" fmla="*/ 443 w 464"/>
                  <a:gd name="T27" fmla="*/ 389 h 474"/>
                  <a:gd name="T28" fmla="*/ 462 w 464"/>
                  <a:gd name="T29" fmla="*/ 402 h 474"/>
                  <a:gd name="T30" fmla="*/ 458 w 464"/>
                  <a:gd name="T31" fmla="*/ 407 h 474"/>
                  <a:gd name="T32" fmla="*/ 439 w 464"/>
                  <a:gd name="T33" fmla="*/ 418 h 474"/>
                  <a:gd name="T34" fmla="*/ 416 w 464"/>
                  <a:gd name="T35" fmla="*/ 425 h 474"/>
                  <a:gd name="T36" fmla="*/ 400 w 464"/>
                  <a:gd name="T37" fmla="*/ 428 h 474"/>
                  <a:gd name="T38" fmla="*/ 373 w 464"/>
                  <a:gd name="T39" fmla="*/ 437 h 474"/>
                  <a:gd name="T40" fmla="*/ 354 w 464"/>
                  <a:gd name="T41" fmla="*/ 432 h 474"/>
                  <a:gd name="T42" fmla="*/ 350 w 464"/>
                  <a:gd name="T43" fmla="*/ 446 h 474"/>
                  <a:gd name="T44" fmla="*/ 326 w 464"/>
                  <a:gd name="T45" fmla="*/ 446 h 474"/>
                  <a:gd name="T46" fmla="*/ 315 w 464"/>
                  <a:gd name="T47" fmla="*/ 442 h 474"/>
                  <a:gd name="T48" fmla="*/ 297 w 464"/>
                  <a:gd name="T49" fmla="*/ 451 h 474"/>
                  <a:gd name="T50" fmla="*/ 283 w 464"/>
                  <a:gd name="T51" fmla="*/ 448 h 474"/>
                  <a:gd name="T52" fmla="*/ 267 w 464"/>
                  <a:gd name="T53" fmla="*/ 442 h 474"/>
                  <a:gd name="T54" fmla="*/ 258 w 464"/>
                  <a:gd name="T55" fmla="*/ 442 h 474"/>
                  <a:gd name="T56" fmla="*/ 205 w 464"/>
                  <a:gd name="T57" fmla="*/ 474 h 474"/>
                  <a:gd name="T58" fmla="*/ 189 w 464"/>
                  <a:gd name="T59" fmla="*/ 373 h 474"/>
                  <a:gd name="T60" fmla="*/ 179 w 464"/>
                  <a:gd name="T61" fmla="*/ 363 h 474"/>
                  <a:gd name="T62" fmla="*/ 168 w 464"/>
                  <a:gd name="T63" fmla="*/ 359 h 474"/>
                  <a:gd name="T64" fmla="*/ 157 w 464"/>
                  <a:gd name="T65" fmla="*/ 357 h 474"/>
                  <a:gd name="T66" fmla="*/ 150 w 464"/>
                  <a:gd name="T67" fmla="*/ 354 h 474"/>
                  <a:gd name="T68" fmla="*/ 140 w 464"/>
                  <a:gd name="T69" fmla="*/ 345 h 474"/>
                  <a:gd name="T70" fmla="*/ 127 w 464"/>
                  <a:gd name="T71" fmla="*/ 334 h 474"/>
                  <a:gd name="T72" fmla="*/ 97 w 464"/>
                  <a:gd name="T73" fmla="*/ 327 h 474"/>
                  <a:gd name="T74" fmla="*/ 85 w 464"/>
                  <a:gd name="T75" fmla="*/ 315 h 474"/>
                  <a:gd name="T76" fmla="*/ 69 w 464"/>
                  <a:gd name="T77" fmla="*/ 313 h 474"/>
                  <a:gd name="T78" fmla="*/ 16 w 464"/>
                  <a:gd name="T79" fmla="*/ 233 h 474"/>
                  <a:gd name="T80" fmla="*/ 21 w 464"/>
                  <a:gd name="T81" fmla="*/ 150 h 474"/>
                  <a:gd name="T82" fmla="*/ 53 w 464"/>
                  <a:gd name="T83" fmla="*/ 124 h 474"/>
                  <a:gd name="T84" fmla="*/ 69 w 464"/>
                  <a:gd name="T85" fmla="*/ 108 h 474"/>
                  <a:gd name="T86" fmla="*/ 63 w 464"/>
                  <a:gd name="T87" fmla="*/ 88 h 474"/>
                  <a:gd name="T88" fmla="*/ 55 w 464"/>
                  <a:gd name="T89" fmla="*/ 74 h 474"/>
                  <a:gd name="T90" fmla="*/ 55 w 464"/>
                  <a:gd name="T91" fmla="*/ 69 h 474"/>
                  <a:gd name="T92" fmla="*/ 67 w 464"/>
                  <a:gd name="T93" fmla="*/ 63 h 474"/>
                  <a:gd name="T94" fmla="*/ 69 w 464"/>
                  <a:gd name="T95" fmla="*/ 44 h 474"/>
                  <a:gd name="T96" fmla="*/ 62 w 464"/>
                  <a:gd name="T97" fmla="*/ 23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4" h="474">
                    <a:moveTo>
                      <a:pt x="51" y="10"/>
                    </a:moveTo>
                    <a:lnTo>
                      <a:pt x="55" y="7"/>
                    </a:lnTo>
                    <a:lnTo>
                      <a:pt x="58" y="9"/>
                    </a:lnTo>
                    <a:lnTo>
                      <a:pt x="62" y="5"/>
                    </a:lnTo>
                    <a:lnTo>
                      <a:pt x="111" y="5"/>
                    </a:lnTo>
                    <a:lnTo>
                      <a:pt x="196" y="0"/>
                    </a:lnTo>
                    <a:lnTo>
                      <a:pt x="349" y="88"/>
                    </a:lnTo>
                    <a:lnTo>
                      <a:pt x="357" y="102"/>
                    </a:lnTo>
                    <a:lnTo>
                      <a:pt x="354" y="106"/>
                    </a:lnTo>
                    <a:lnTo>
                      <a:pt x="356" y="111"/>
                    </a:lnTo>
                    <a:lnTo>
                      <a:pt x="359" y="117"/>
                    </a:lnTo>
                    <a:lnTo>
                      <a:pt x="411" y="152"/>
                    </a:lnTo>
                    <a:lnTo>
                      <a:pt x="409" y="152"/>
                    </a:lnTo>
                    <a:lnTo>
                      <a:pt x="412" y="154"/>
                    </a:lnTo>
                    <a:lnTo>
                      <a:pt x="412" y="161"/>
                    </a:lnTo>
                    <a:lnTo>
                      <a:pt x="409" y="164"/>
                    </a:lnTo>
                    <a:lnTo>
                      <a:pt x="400" y="193"/>
                    </a:lnTo>
                    <a:lnTo>
                      <a:pt x="395" y="210"/>
                    </a:lnTo>
                    <a:lnTo>
                      <a:pt x="395" y="219"/>
                    </a:lnTo>
                    <a:lnTo>
                      <a:pt x="405" y="230"/>
                    </a:lnTo>
                    <a:lnTo>
                      <a:pt x="414" y="239"/>
                    </a:lnTo>
                    <a:lnTo>
                      <a:pt x="419" y="239"/>
                    </a:lnTo>
                    <a:lnTo>
                      <a:pt x="427" y="253"/>
                    </a:lnTo>
                    <a:lnTo>
                      <a:pt x="423" y="258"/>
                    </a:lnTo>
                    <a:lnTo>
                      <a:pt x="419" y="258"/>
                    </a:lnTo>
                    <a:lnTo>
                      <a:pt x="414" y="260"/>
                    </a:lnTo>
                    <a:lnTo>
                      <a:pt x="412" y="271"/>
                    </a:lnTo>
                    <a:lnTo>
                      <a:pt x="412" y="287"/>
                    </a:lnTo>
                    <a:lnTo>
                      <a:pt x="419" y="292"/>
                    </a:lnTo>
                    <a:lnTo>
                      <a:pt x="418" y="303"/>
                    </a:lnTo>
                    <a:lnTo>
                      <a:pt x="412" y="306"/>
                    </a:lnTo>
                    <a:lnTo>
                      <a:pt x="414" y="315"/>
                    </a:lnTo>
                    <a:lnTo>
                      <a:pt x="419" y="327"/>
                    </a:lnTo>
                    <a:lnTo>
                      <a:pt x="416" y="327"/>
                    </a:lnTo>
                    <a:lnTo>
                      <a:pt x="419" y="333"/>
                    </a:lnTo>
                    <a:lnTo>
                      <a:pt x="421" y="340"/>
                    </a:lnTo>
                    <a:lnTo>
                      <a:pt x="425" y="345"/>
                    </a:lnTo>
                    <a:lnTo>
                      <a:pt x="421" y="352"/>
                    </a:lnTo>
                    <a:lnTo>
                      <a:pt x="425" y="356"/>
                    </a:lnTo>
                    <a:lnTo>
                      <a:pt x="430" y="368"/>
                    </a:lnTo>
                    <a:lnTo>
                      <a:pt x="428" y="375"/>
                    </a:lnTo>
                    <a:lnTo>
                      <a:pt x="443" y="389"/>
                    </a:lnTo>
                    <a:lnTo>
                      <a:pt x="453" y="391"/>
                    </a:lnTo>
                    <a:lnTo>
                      <a:pt x="462" y="398"/>
                    </a:lnTo>
                    <a:lnTo>
                      <a:pt x="462" y="402"/>
                    </a:lnTo>
                    <a:lnTo>
                      <a:pt x="464" y="402"/>
                    </a:lnTo>
                    <a:lnTo>
                      <a:pt x="462" y="404"/>
                    </a:lnTo>
                    <a:lnTo>
                      <a:pt x="458" y="407"/>
                    </a:lnTo>
                    <a:lnTo>
                      <a:pt x="451" y="405"/>
                    </a:lnTo>
                    <a:lnTo>
                      <a:pt x="446" y="412"/>
                    </a:lnTo>
                    <a:lnTo>
                      <a:pt x="439" y="418"/>
                    </a:lnTo>
                    <a:lnTo>
                      <a:pt x="432" y="418"/>
                    </a:lnTo>
                    <a:lnTo>
                      <a:pt x="425" y="425"/>
                    </a:lnTo>
                    <a:lnTo>
                      <a:pt x="416" y="425"/>
                    </a:lnTo>
                    <a:lnTo>
                      <a:pt x="412" y="428"/>
                    </a:lnTo>
                    <a:lnTo>
                      <a:pt x="407" y="432"/>
                    </a:lnTo>
                    <a:lnTo>
                      <a:pt x="400" y="428"/>
                    </a:lnTo>
                    <a:lnTo>
                      <a:pt x="384" y="434"/>
                    </a:lnTo>
                    <a:lnTo>
                      <a:pt x="381" y="437"/>
                    </a:lnTo>
                    <a:lnTo>
                      <a:pt x="373" y="437"/>
                    </a:lnTo>
                    <a:lnTo>
                      <a:pt x="368" y="434"/>
                    </a:lnTo>
                    <a:lnTo>
                      <a:pt x="363" y="435"/>
                    </a:lnTo>
                    <a:lnTo>
                      <a:pt x="354" y="432"/>
                    </a:lnTo>
                    <a:lnTo>
                      <a:pt x="352" y="435"/>
                    </a:lnTo>
                    <a:lnTo>
                      <a:pt x="354" y="439"/>
                    </a:lnTo>
                    <a:lnTo>
                      <a:pt x="350" y="446"/>
                    </a:lnTo>
                    <a:lnTo>
                      <a:pt x="340" y="446"/>
                    </a:lnTo>
                    <a:lnTo>
                      <a:pt x="331" y="450"/>
                    </a:lnTo>
                    <a:lnTo>
                      <a:pt x="326" y="446"/>
                    </a:lnTo>
                    <a:lnTo>
                      <a:pt x="320" y="446"/>
                    </a:lnTo>
                    <a:lnTo>
                      <a:pt x="320" y="444"/>
                    </a:lnTo>
                    <a:lnTo>
                      <a:pt x="315" y="442"/>
                    </a:lnTo>
                    <a:lnTo>
                      <a:pt x="311" y="444"/>
                    </a:lnTo>
                    <a:lnTo>
                      <a:pt x="308" y="446"/>
                    </a:lnTo>
                    <a:lnTo>
                      <a:pt x="297" y="451"/>
                    </a:lnTo>
                    <a:lnTo>
                      <a:pt x="287" y="455"/>
                    </a:lnTo>
                    <a:lnTo>
                      <a:pt x="287" y="451"/>
                    </a:lnTo>
                    <a:lnTo>
                      <a:pt x="283" y="448"/>
                    </a:lnTo>
                    <a:lnTo>
                      <a:pt x="278" y="446"/>
                    </a:lnTo>
                    <a:lnTo>
                      <a:pt x="272" y="442"/>
                    </a:lnTo>
                    <a:lnTo>
                      <a:pt x="267" y="442"/>
                    </a:lnTo>
                    <a:lnTo>
                      <a:pt x="267" y="439"/>
                    </a:lnTo>
                    <a:lnTo>
                      <a:pt x="260" y="439"/>
                    </a:lnTo>
                    <a:lnTo>
                      <a:pt x="258" y="442"/>
                    </a:lnTo>
                    <a:lnTo>
                      <a:pt x="253" y="444"/>
                    </a:lnTo>
                    <a:lnTo>
                      <a:pt x="212" y="444"/>
                    </a:lnTo>
                    <a:lnTo>
                      <a:pt x="205" y="474"/>
                    </a:lnTo>
                    <a:lnTo>
                      <a:pt x="205" y="404"/>
                    </a:lnTo>
                    <a:lnTo>
                      <a:pt x="203" y="388"/>
                    </a:lnTo>
                    <a:lnTo>
                      <a:pt x="189" y="373"/>
                    </a:lnTo>
                    <a:lnTo>
                      <a:pt x="184" y="368"/>
                    </a:lnTo>
                    <a:lnTo>
                      <a:pt x="180" y="366"/>
                    </a:lnTo>
                    <a:lnTo>
                      <a:pt x="179" y="363"/>
                    </a:lnTo>
                    <a:lnTo>
                      <a:pt x="175" y="363"/>
                    </a:lnTo>
                    <a:lnTo>
                      <a:pt x="173" y="361"/>
                    </a:lnTo>
                    <a:lnTo>
                      <a:pt x="168" y="359"/>
                    </a:lnTo>
                    <a:lnTo>
                      <a:pt x="166" y="361"/>
                    </a:lnTo>
                    <a:lnTo>
                      <a:pt x="163" y="359"/>
                    </a:lnTo>
                    <a:lnTo>
                      <a:pt x="157" y="357"/>
                    </a:lnTo>
                    <a:lnTo>
                      <a:pt x="156" y="354"/>
                    </a:lnTo>
                    <a:lnTo>
                      <a:pt x="152" y="352"/>
                    </a:lnTo>
                    <a:lnTo>
                      <a:pt x="150" y="354"/>
                    </a:lnTo>
                    <a:lnTo>
                      <a:pt x="150" y="354"/>
                    </a:lnTo>
                    <a:lnTo>
                      <a:pt x="147" y="354"/>
                    </a:lnTo>
                    <a:lnTo>
                      <a:pt x="140" y="345"/>
                    </a:lnTo>
                    <a:lnTo>
                      <a:pt x="136" y="340"/>
                    </a:lnTo>
                    <a:lnTo>
                      <a:pt x="131" y="338"/>
                    </a:lnTo>
                    <a:lnTo>
                      <a:pt x="127" y="334"/>
                    </a:lnTo>
                    <a:lnTo>
                      <a:pt x="122" y="334"/>
                    </a:lnTo>
                    <a:lnTo>
                      <a:pt x="104" y="327"/>
                    </a:lnTo>
                    <a:lnTo>
                      <a:pt x="97" y="327"/>
                    </a:lnTo>
                    <a:lnTo>
                      <a:pt x="92" y="324"/>
                    </a:lnTo>
                    <a:lnTo>
                      <a:pt x="90" y="320"/>
                    </a:lnTo>
                    <a:lnTo>
                      <a:pt x="85" y="315"/>
                    </a:lnTo>
                    <a:lnTo>
                      <a:pt x="81" y="315"/>
                    </a:lnTo>
                    <a:lnTo>
                      <a:pt x="74" y="313"/>
                    </a:lnTo>
                    <a:lnTo>
                      <a:pt x="69" y="313"/>
                    </a:lnTo>
                    <a:lnTo>
                      <a:pt x="55" y="306"/>
                    </a:lnTo>
                    <a:lnTo>
                      <a:pt x="44" y="274"/>
                    </a:lnTo>
                    <a:lnTo>
                      <a:pt x="16" y="233"/>
                    </a:lnTo>
                    <a:lnTo>
                      <a:pt x="5" y="184"/>
                    </a:lnTo>
                    <a:lnTo>
                      <a:pt x="0" y="150"/>
                    </a:lnTo>
                    <a:lnTo>
                      <a:pt x="21" y="150"/>
                    </a:lnTo>
                    <a:lnTo>
                      <a:pt x="35" y="147"/>
                    </a:lnTo>
                    <a:lnTo>
                      <a:pt x="42" y="136"/>
                    </a:lnTo>
                    <a:lnTo>
                      <a:pt x="53" y="124"/>
                    </a:lnTo>
                    <a:lnTo>
                      <a:pt x="58" y="120"/>
                    </a:lnTo>
                    <a:lnTo>
                      <a:pt x="63" y="115"/>
                    </a:lnTo>
                    <a:lnTo>
                      <a:pt x="69" y="108"/>
                    </a:lnTo>
                    <a:lnTo>
                      <a:pt x="70" y="102"/>
                    </a:lnTo>
                    <a:lnTo>
                      <a:pt x="69" y="90"/>
                    </a:lnTo>
                    <a:lnTo>
                      <a:pt x="63" y="88"/>
                    </a:lnTo>
                    <a:lnTo>
                      <a:pt x="62" y="83"/>
                    </a:lnTo>
                    <a:lnTo>
                      <a:pt x="55" y="79"/>
                    </a:lnTo>
                    <a:lnTo>
                      <a:pt x="55" y="74"/>
                    </a:lnTo>
                    <a:lnTo>
                      <a:pt x="53" y="71"/>
                    </a:lnTo>
                    <a:lnTo>
                      <a:pt x="53" y="67"/>
                    </a:lnTo>
                    <a:lnTo>
                      <a:pt x="55" y="69"/>
                    </a:lnTo>
                    <a:lnTo>
                      <a:pt x="60" y="71"/>
                    </a:lnTo>
                    <a:lnTo>
                      <a:pt x="63" y="67"/>
                    </a:lnTo>
                    <a:lnTo>
                      <a:pt x="67" y="63"/>
                    </a:lnTo>
                    <a:lnTo>
                      <a:pt x="69" y="58"/>
                    </a:lnTo>
                    <a:lnTo>
                      <a:pt x="70" y="53"/>
                    </a:lnTo>
                    <a:lnTo>
                      <a:pt x="69" y="44"/>
                    </a:lnTo>
                    <a:lnTo>
                      <a:pt x="65" y="33"/>
                    </a:lnTo>
                    <a:lnTo>
                      <a:pt x="62" y="26"/>
                    </a:lnTo>
                    <a:lnTo>
                      <a:pt x="62" y="23"/>
                    </a:lnTo>
                    <a:lnTo>
                      <a:pt x="56" y="17"/>
                    </a:lnTo>
                    <a:lnTo>
                      <a:pt x="51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2" name="Freeform 42">
                <a:extLst>
                  <a:ext uri="{FF2B5EF4-FFF2-40B4-BE49-F238E27FC236}">
                    <a16:creationId xmlns:a16="http://schemas.microsoft.com/office/drawing/2014/main" id="{28A25D89-9D9E-848E-C118-3F2979855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9113" y="4029076"/>
                <a:ext cx="131763" cy="111125"/>
              </a:xfrm>
              <a:custGeom>
                <a:avLst/>
                <a:gdLst>
                  <a:gd name="T0" fmla="*/ 23 w 83"/>
                  <a:gd name="T1" fmla="*/ 10 h 70"/>
                  <a:gd name="T2" fmla="*/ 25 w 83"/>
                  <a:gd name="T3" fmla="*/ 10 h 70"/>
                  <a:gd name="T4" fmla="*/ 32 w 83"/>
                  <a:gd name="T5" fmla="*/ 10 h 70"/>
                  <a:gd name="T6" fmla="*/ 39 w 83"/>
                  <a:gd name="T7" fmla="*/ 5 h 70"/>
                  <a:gd name="T8" fmla="*/ 45 w 83"/>
                  <a:gd name="T9" fmla="*/ 7 h 70"/>
                  <a:gd name="T10" fmla="*/ 48 w 83"/>
                  <a:gd name="T11" fmla="*/ 10 h 70"/>
                  <a:gd name="T12" fmla="*/ 53 w 83"/>
                  <a:gd name="T13" fmla="*/ 10 h 70"/>
                  <a:gd name="T14" fmla="*/ 57 w 83"/>
                  <a:gd name="T15" fmla="*/ 7 h 70"/>
                  <a:gd name="T16" fmla="*/ 57 w 83"/>
                  <a:gd name="T17" fmla="*/ 1 h 70"/>
                  <a:gd name="T18" fmla="*/ 64 w 83"/>
                  <a:gd name="T19" fmla="*/ 0 h 70"/>
                  <a:gd name="T20" fmla="*/ 69 w 83"/>
                  <a:gd name="T21" fmla="*/ 8 h 70"/>
                  <a:gd name="T22" fmla="*/ 75 w 83"/>
                  <a:gd name="T23" fmla="*/ 14 h 70"/>
                  <a:gd name="T24" fmla="*/ 75 w 83"/>
                  <a:gd name="T25" fmla="*/ 17 h 70"/>
                  <a:gd name="T26" fmla="*/ 78 w 83"/>
                  <a:gd name="T27" fmla="*/ 24 h 70"/>
                  <a:gd name="T28" fmla="*/ 82 w 83"/>
                  <a:gd name="T29" fmla="*/ 35 h 70"/>
                  <a:gd name="T30" fmla="*/ 83 w 83"/>
                  <a:gd name="T31" fmla="*/ 44 h 70"/>
                  <a:gd name="T32" fmla="*/ 82 w 83"/>
                  <a:gd name="T33" fmla="*/ 49 h 70"/>
                  <a:gd name="T34" fmla="*/ 80 w 83"/>
                  <a:gd name="T35" fmla="*/ 54 h 70"/>
                  <a:gd name="T36" fmla="*/ 76 w 83"/>
                  <a:gd name="T37" fmla="*/ 58 h 70"/>
                  <a:gd name="T38" fmla="*/ 73 w 83"/>
                  <a:gd name="T39" fmla="*/ 62 h 70"/>
                  <a:gd name="T40" fmla="*/ 68 w 83"/>
                  <a:gd name="T41" fmla="*/ 60 h 70"/>
                  <a:gd name="T42" fmla="*/ 66 w 83"/>
                  <a:gd name="T43" fmla="*/ 58 h 70"/>
                  <a:gd name="T44" fmla="*/ 66 w 83"/>
                  <a:gd name="T45" fmla="*/ 56 h 70"/>
                  <a:gd name="T46" fmla="*/ 60 w 83"/>
                  <a:gd name="T47" fmla="*/ 53 h 70"/>
                  <a:gd name="T48" fmla="*/ 59 w 83"/>
                  <a:gd name="T49" fmla="*/ 47 h 70"/>
                  <a:gd name="T50" fmla="*/ 55 w 83"/>
                  <a:gd name="T51" fmla="*/ 46 h 70"/>
                  <a:gd name="T52" fmla="*/ 52 w 83"/>
                  <a:gd name="T53" fmla="*/ 42 h 70"/>
                  <a:gd name="T54" fmla="*/ 46 w 83"/>
                  <a:gd name="T55" fmla="*/ 42 h 70"/>
                  <a:gd name="T56" fmla="*/ 48 w 83"/>
                  <a:gd name="T57" fmla="*/ 51 h 70"/>
                  <a:gd name="T58" fmla="*/ 43 w 83"/>
                  <a:gd name="T59" fmla="*/ 63 h 70"/>
                  <a:gd name="T60" fmla="*/ 43 w 83"/>
                  <a:gd name="T61" fmla="*/ 67 h 70"/>
                  <a:gd name="T62" fmla="*/ 34 w 83"/>
                  <a:gd name="T63" fmla="*/ 70 h 70"/>
                  <a:gd name="T64" fmla="*/ 30 w 83"/>
                  <a:gd name="T65" fmla="*/ 65 h 70"/>
                  <a:gd name="T66" fmla="*/ 27 w 83"/>
                  <a:gd name="T67" fmla="*/ 67 h 70"/>
                  <a:gd name="T68" fmla="*/ 25 w 83"/>
                  <a:gd name="T69" fmla="*/ 69 h 70"/>
                  <a:gd name="T70" fmla="*/ 18 w 83"/>
                  <a:gd name="T71" fmla="*/ 67 h 70"/>
                  <a:gd name="T72" fmla="*/ 14 w 83"/>
                  <a:gd name="T73" fmla="*/ 60 h 70"/>
                  <a:gd name="T74" fmla="*/ 11 w 83"/>
                  <a:gd name="T75" fmla="*/ 58 h 70"/>
                  <a:gd name="T76" fmla="*/ 4 w 83"/>
                  <a:gd name="T77" fmla="*/ 58 h 70"/>
                  <a:gd name="T78" fmla="*/ 0 w 83"/>
                  <a:gd name="T79" fmla="*/ 60 h 70"/>
                  <a:gd name="T80" fmla="*/ 0 w 83"/>
                  <a:gd name="T81" fmla="*/ 53 h 70"/>
                  <a:gd name="T82" fmla="*/ 7 w 83"/>
                  <a:gd name="T83" fmla="*/ 28 h 70"/>
                  <a:gd name="T84" fmla="*/ 14 w 83"/>
                  <a:gd name="T85" fmla="*/ 19 h 70"/>
                  <a:gd name="T86" fmla="*/ 23 w 83"/>
                  <a:gd name="T87" fmla="*/ 1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3" h="70">
                    <a:moveTo>
                      <a:pt x="23" y="10"/>
                    </a:moveTo>
                    <a:lnTo>
                      <a:pt x="25" y="10"/>
                    </a:lnTo>
                    <a:lnTo>
                      <a:pt x="32" y="10"/>
                    </a:lnTo>
                    <a:lnTo>
                      <a:pt x="39" y="5"/>
                    </a:lnTo>
                    <a:lnTo>
                      <a:pt x="45" y="7"/>
                    </a:lnTo>
                    <a:lnTo>
                      <a:pt x="48" y="10"/>
                    </a:lnTo>
                    <a:lnTo>
                      <a:pt x="53" y="10"/>
                    </a:lnTo>
                    <a:lnTo>
                      <a:pt x="57" y="7"/>
                    </a:lnTo>
                    <a:lnTo>
                      <a:pt x="57" y="1"/>
                    </a:lnTo>
                    <a:lnTo>
                      <a:pt x="64" y="0"/>
                    </a:lnTo>
                    <a:lnTo>
                      <a:pt x="69" y="8"/>
                    </a:lnTo>
                    <a:lnTo>
                      <a:pt x="75" y="14"/>
                    </a:lnTo>
                    <a:lnTo>
                      <a:pt x="75" y="17"/>
                    </a:lnTo>
                    <a:lnTo>
                      <a:pt x="78" y="24"/>
                    </a:lnTo>
                    <a:lnTo>
                      <a:pt x="82" y="35"/>
                    </a:lnTo>
                    <a:lnTo>
                      <a:pt x="83" y="44"/>
                    </a:lnTo>
                    <a:lnTo>
                      <a:pt x="82" y="49"/>
                    </a:lnTo>
                    <a:lnTo>
                      <a:pt x="80" y="54"/>
                    </a:lnTo>
                    <a:lnTo>
                      <a:pt x="76" y="58"/>
                    </a:lnTo>
                    <a:lnTo>
                      <a:pt x="73" y="62"/>
                    </a:lnTo>
                    <a:lnTo>
                      <a:pt x="68" y="60"/>
                    </a:lnTo>
                    <a:lnTo>
                      <a:pt x="66" y="58"/>
                    </a:lnTo>
                    <a:lnTo>
                      <a:pt x="66" y="56"/>
                    </a:lnTo>
                    <a:lnTo>
                      <a:pt x="60" y="53"/>
                    </a:lnTo>
                    <a:lnTo>
                      <a:pt x="59" y="47"/>
                    </a:lnTo>
                    <a:lnTo>
                      <a:pt x="55" y="46"/>
                    </a:lnTo>
                    <a:lnTo>
                      <a:pt x="52" y="42"/>
                    </a:lnTo>
                    <a:lnTo>
                      <a:pt x="46" y="42"/>
                    </a:lnTo>
                    <a:lnTo>
                      <a:pt x="48" y="51"/>
                    </a:lnTo>
                    <a:lnTo>
                      <a:pt x="43" y="63"/>
                    </a:lnTo>
                    <a:lnTo>
                      <a:pt x="43" y="67"/>
                    </a:lnTo>
                    <a:lnTo>
                      <a:pt x="34" y="70"/>
                    </a:lnTo>
                    <a:lnTo>
                      <a:pt x="30" y="65"/>
                    </a:lnTo>
                    <a:lnTo>
                      <a:pt x="27" y="67"/>
                    </a:lnTo>
                    <a:lnTo>
                      <a:pt x="25" y="69"/>
                    </a:lnTo>
                    <a:lnTo>
                      <a:pt x="18" y="67"/>
                    </a:lnTo>
                    <a:lnTo>
                      <a:pt x="14" y="60"/>
                    </a:lnTo>
                    <a:lnTo>
                      <a:pt x="11" y="58"/>
                    </a:lnTo>
                    <a:lnTo>
                      <a:pt x="4" y="58"/>
                    </a:lnTo>
                    <a:lnTo>
                      <a:pt x="0" y="60"/>
                    </a:lnTo>
                    <a:lnTo>
                      <a:pt x="0" y="53"/>
                    </a:lnTo>
                    <a:lnTo>
                      <a:pt x="7" y="28"/>
                    </a:lnTo>
                    <a:lnTo>
                      <a:pt x="14" y="19"/>
                    </a:lnTo>
                    <a:lnTo>
                      <a:pt x="23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3" name="Freeform 43">
                <a:extLst>
                  <a:ext uri="{FF2B5EF4-FFF2-40B4-BE49-F238E27FC236}">
                    <a16:creationId xmlns:a16="http://schemas.microsoft.com/office/drawing/2014/main" id="{FB5101A8-6685-9717-F82B-833E084EC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65938" y="4095751"/>
                <a:ext cx="134938" cy="157163"/>
              </a:xfrm>
              <a:custGeom>
                <a:avLst/>
                <a:gdLst>
                  <a:gd name="T0" fmla="*/ 15 w 85"/>
                  <a:gd name="T1" fmla="*/ 99 h 99"/>
                  <a:gd name="T2" fmla="*/ 36 w 85"/>
                  <a:gd name="T3" fmla="*/ 99 h 99"/>
                  <a:gd name="T4" fmla="*/ 50 w 85"/>
                  <a:gd name="T5" fmla="*/ 96 h 99"/>
                  <a:gd name="T6" fmla="*/ 57 w 85"/>
                  <a:gd name="T7" fmla="*/ 85 h 99"/>
                  <a:gd name="T8" fmla="*/ 68 w 85"/>
                  <a:gd name="T9" fmla="*/ 73 h 99"/>
                  <a:gd name="T10" fmla="*/ 73 w 85"/>
                  <a:gd name="T11" fmla="*/ 69 h 99"/>
                  <a:gd name="T12" fmla="*/ 78 w 85"/>
                  <a:gd name="T13" fmla="*/ 64 h 99"/>
                  <a:gd name="T14" fmla="*/ 84 w 85"/>
                  <a:gd name="T15" fmla="*/ 57 h 99"/>
                  <a:gd name="T16" fmla="*/ 85 w 85"/>
                  <a:gd name="T17" fmla="*/ 51 h 99"/>
                  <a:gd name="T18" fmla="*/ 84 w 85"/>
                  <a:gd name="T19" fmla="*/ 39 h 99"/>
                  <a:gd name="T20" fmla="*/ 78 w 85"/>
                  <a:gd name="T21" fmla="*/ 37 h 99"/>
                  <a:gd name="T22" fmla="*/ 77 w 85"/>
                  <a:gd name="T23" fmla="*/ 32 h 99"/>
                  <a:gd name="T24" fmla="*/ 70 w 85"/>
                  <a:gd name="T25" fmla="*/ 28 h 99"/>
                  <a:gd name="T26" fmla="*/ 70 w 85"/>
                  <a:gd name="T27" fmla="*/ 23 h 99"/>
                  <a:gd name="T28" fmla="*/ 68 w 85"/>
                  <a:gd name="T29" fmla="*/ 20 h 99"/>
                  <a:gd name="T30" fmla="*/ 68 w 85"/>
                  <a:gd name="T31" fmla="*/ 14 h 99"/>
                  <a:gd name="T32" fmla="*/ 62 w 85"/>
                  <a:gd name="T33" fmla="*/ 11 h 99"/>
                  <a:gd name="T34" fmla="*/ 61 w 85"/>
                  <a:gd name="T35" fmla="*/ 5 h 99"/>
                  <a:gd name="T36" fmla="*/ 57 w 85"/>
                  <a:gd name="T37" fmla="*/ 4 h 99"/>
                  <a:gd name="T38" fmla="*/ 54 w 85"/>
                  <a:gd name="T39" fmla="*/ 0 h 99"/>
                  <a:gd name="T40" fmla="*/ 48 w 85"/>
                  <a:gd name="T41" fmla="*/ 0 h 99"/>
                  <a:gd name="T42" fmla="*/ 50 w 85"/>
                  <a:gd name="T43" fmla="*/ 9 h 99"/>
                  <a:gd name="T44" fmla="*/ 45 w 85"/>
                  <a:gd name="T45" fmla="*/ 21 h 99"/>
                  <a:gd name="T46" fmla="*/ 45 w 85"/>
                  <a:gd name="T47" fmla="*/ 25 h 99"/>
                  <a:gd name="T48" fmla="*/ 36 w 85"/>
                  <a:gd name="T49" fmla="*/ 28 h 99"/>
                  <a:gd name="T50" fmla="*/ 32 w 85"/>
                  <a:gd name="T51" fmla="*/ 23 h 99"/>
                  <a:gd name="T52" fmla="*/ 29 w 85"/>
                  <a:gd name="T53" fmla="*/ 25 h 99"/>
                  <a:gd name="T54" fmla="*/ 27 w 85"/>
                  <a:gd name="T55" fmla="*/ 27 h 99"/>
                  <a:gd name="T56" fmla="*/ 20 w 85"/>
                  <a:gd name="T57" fmla="*/ 25 h 99"/>
                  <a:gd name="T58" fmla="*/ 16 w 85"/>
                  <a:gd name="T59" fmla="*/ 18 h 99"/>
                  <a:gd name="T60" fmla="*/ 13 w 85"/>
                  <a:gd name="T61" fmla="*/ 16 h 99"/>
                  <a:gd name="T62" fmla="*/ 6 w 85"/>
                  <a:gd name="T63" fmla="*/ 16 h 99"/>
                  <a:gd name="T64" fmla="*/ 2 w 85"/>
                  <a:gd name="T65" fmla="*/ 18 h 99"/>
                  <a:gd name="T66" fmla="*/ 0 w 85"/>
                  <a:gd name="T67" fmla="*/ 21 h 99"/>
                  <a:gd name="T68" fmla="*/ 6 w 85"/>
                  <a:gd name="T69" fmla="*/ 30 h 99"/>
                  <a:gd name="T70" fmla="*/ 8 w 85"/>
                  <a:gd name="T71" fmla="*/ 39 h 99"/>
                  <a:gd name="T72" fmla="*/ 8 w 85"/>
                  <a:gd name="T73" fmla="*/ 50 h 99"/>
                  <a:gd name="T74" fmla="*/ 15 w 85"/>
                  <a:gd name="T7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5" h="99">
                    <a:moveTo>
                      <a:pt x="15" y="99"/>
                    </a:moveTo>
                    <a:lnTo>
                      <a:pt x="36" y="99"/>
                    </a:lnTo>
                    <a:lnTo>
                      <a:pt x="50" y="96"/>
                    </a:lnTo>
                    <a:lnTo>
                      <a:pt x="57" y="85"/>
                    </a:lnTo>
                    <a:lnTo>
                      <a:pt x="68" y="73"/>
                    </a:lnTo>
                    <a:lnTo>
                      <a:pt x="73" y="69"/>
                    </a:lnTo>
                    <a:lnTo>
                      <a:pt x="78" y="64"/>
                    </a:lnTo>
                    <a:lnTo>
                      <a:pt x="84" y="57"/>
                    </a:lnTo>
                    <a:lnTo>
                      <a:pt x="85" y="51"/>
                    </a:lnTo>
                    <a:lnTo>
                      <a:pt x="84" y="39"/>
                    </a:lnTo>
                    <a:lnTo>
                      <a:pt x="78" y="37"/>
                    </a:lnTo>
                    <a:lnTo>
                      <a:pt x="77" y="32"/>
                    </a:lnTo>
                    <a:lnTo>
                      <a:pt x="70" y="28"/>
                    </a:lnTo>
                    <a:lnTo>
                      <a:pt x="70" y="23"/>
                    </a:lnTo>
                    <a:lnTo>
                      <a:pt x="68" y="20"/>
                    </a:lnTo>
                    <a:lnTo>
                      <a:pt x="68" y="14"/>
                    </a:lnTo>
                    <a:lnTo>
                      <a:pt x="62" y="11"/>
                    </a:lnTo>
                    <a:lnTo>
                      <a:pt x="61" y="5"/>
                    </a:lnTo>
                    <a:lnTo>
                      <a:pt x="57" y="4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50" y="9"/>
                    </a:lnTo>
                    <a:lnTo>
                      <a:pt x="45" y="21"/>
                    </a:lnTo>
                    <a:lnTo>
                      <a:pt x="45" y="25"/>
                    </a:lnTo>
                    <a:lnTo>
                      <a:pt x="36" y="28"/>
                    </a:lnTo>
                    <a:lnTo>
                      <a:pt x="32" y="23"/>
                    </a:lnTo>
                    <a:lnTo>
                      <a:pt x="29" y="25"/>
                    </a:lnTo>
                    <a:lnTo>
                      <a:pt x="27" y="27"/>
                    </a:lnTo>
                    <a:lnTo>
                      <a:pt x="20" y="25"/>
                    </a:lnTo>
                    <a:lnTo>
                      <a:pt x="16" y="18"/>
                    </a:lnTo>
                    <a:lnTo>
                      <a:pt x="13" y="16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0" y="21"/>
                    </a:lnTo>
                    <a:lnTo>
                      <a:pt x="6" y="30"/>
                    </a:lnTo>
                    <a:lnTo>
                      <a:pt x="8" y="39"/>
                    </a:lnTo>
                    <a:lnTo>
                      <a:pt x="8" y="50"/>
                    </a:lnTo>
                    <a:lnTo>
                      <a:pt x="15" y="9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4" name="Freeform 44">
                <a:extLst>
                  <a:ext uri="{FF2B5EF4-FFF2-40B4-BE49-F238E27FC236}">
                    <a16:creationId xmlns:a16="http://schemas.microsoft.com/office/drawing/2014/main" id="{5F46E955-22EA-F8E2-CBA1-3905AA030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1" y="3597276"/>
                <a:ext cx="1257300" cy="1249363"/>
              </a:xfrm>
              <a:custGeom>
                <a:avLst/>
                <a:gdLst>
                  <a:gd name="T0" fmla="*/ 23 w 792"/>
                  <a:gd name="T1" fmla="*/ 440 h 787"/>
                  <a:gd name="T2" fmla="*/ 55 w 792"/>
                  <a:gd name="T3" fmla="*/ 429 h 787"/>
                  <a:gd name="T4" fmla="*/ 87 w 792"/>
                  <a:gd name="T5" fmla="*/ 408 h 787"/>
                  <a:gd name="T6" fmla="*/ 110 w 792"/>
                  <a:gd name="T7" fmla="*/ 431 h 787"/>
                  <a:gd name="T8" fmla="*/ 159 w 792"/>
                  <a:gd name="T9" fmla="*/ 390 h 787"/>
                  <a:gd name="T10" fmla="*/ 165 w 792"/>
                  <a:gd name="T11" fmla="*/ 323 h 787"/>
                  <a:gd name="T12" fmla="*/ 205 w 792"/>
                  <a:gd name="T13" fmla="*/ 277 h 787"/>
                  <a:gd name="T14" fmla="*/ 243 w 792"/>
                  <a:gd name="T15" fmla="*/ 217 h 787"/>
                  <a:gd name="T16" fmla="*/ 252 w 792"/>
                  <a:gd name="T17" fmla="*/ 165 h 787"/>
                  <a:gd name="T18" fmla="*/ 278 w 792"/>
                  <a:gd name="T19" fmla="*/ 98 h 787"/>
                  <a:gd name="T20" fmla="*/ 273 w 792"/>
                  <a:gd name="T21" fmla="*/ 47 h 787"/>
                  <a:gd name="T22" fmla="*/ 287 w 792"/>
                  <a:gd name="T23" fmla="*/ 24 h 787"/>
                  <a:gd name="T24" fmla="*/ 314 w 792"/>
                  <a:gd name="T25" fmla="*/ 11 h 787"/>
                  <a:gd name="T26" fmla="*/ 356 w 792"/>
                  <a:gd name="T27" fmla="*/ 41 h 787"/>
                  <a:gd name="T28" fmla="*/ 400 w 792"/>
                  <a:gd name="T29" fmla="*/ 45 h 787"/>
                  <a:gd name="T30" fmla="*/ 429 w 792"/>
                  <a:gd name="T31" fmla="*/ 43 h 787"/>
                  <a:gd name="T32" fmla="*/ 461 w 792"/>
                  <a:gd name="T33" fmla="*/ 31 h 787"/>
                  <a:gd name="T34" fmla="*/ 515 w 792"/>
                  <a:gd name="T35" fmla="*/ 13 h 787"/>
                  <a:gd name="T36" fmla="*/ 540 w 792"/>
                  <a:gd name="T37" fmla="*/ 16 h 787"/>
                  <a:gd name="T38" fmla="*/ 562 w 792"/>
                  <a:gd name="T39" fmla="*/ 0 h 787"/>
                  <a:gd name="T40" fmla="*/ 595 w 792"/>
                  <a:gd name="T41" fmla="*/ 13 h 787"/>
                  <a:gd name="T42" fmla="*/ 645 w 792"/>
                  <a:gd name="T43" fmla="*/ 15 h 787"/>
                  <a:gd name="T44" fmla="*/ 677 w 792"/>
                  <a:gd name="T45" fmla="*/ 43 h 787"/>
                  <a:gd name="T46" fmla="*/ 707 w 792"/>
                  <a:gd name="T47" fmla="*/ 38 h 787"/>
                  <a:gd name="T48" fmla="*/ 739 w 792"/>
                  <a:gd name="T49" fmla="*/ 27 h 787"/>
                  <a:gd name="T50" fmla="*/ 769 w 792"/>
                  <a:gd name="T51" fmla="*/ 61 h 787"/>
                  <a:gd name="T52" fmla="*/ 790 w 792"/>
                  <a:gd name="T53" fmla="*/ 77 h 787"/>
                  <a:gd name="T54" fmla="*/ 785 w 792"/>
                  <a:gd name="T55" fmla="*/ 130 h 787"/>
                  <a:gd name="T56" fmla="*/ 753 w 792"/>
                  <a:gd name="T57" fmla="*/ 195 h 787"/>
                  <a:gd name="T58" fmla="*/ 728 w 792"/>
                  <a:gd name="T59" fmla="*/ 280 h 787"/>
                  <a:gd name="T60" fmla="*/ 709 w 792"/>
                  <a:gd name="T61" fmla="*/ 353 h 787"/>
                  <a:gd name="T62" fmla="*/ 765 w 792"/>
                  <a:gd name="T63" fmla="*/ 567 h 787"/>
                  <a:gd name="T64" fmla="*/ 691 w 792"/>
                  <a:gd name="T65" fmla="*/ 636 h 787"/>
                  <a:gd name="T66" fmla="*/ 684 w 792"/>
                  <a:gd name="T67" fmla="*/ 667 h 787"/>
                  <a:gd name="T68" fmla="*/ 675 w 792"/>
                  <a:gd name="T69" fmla="*/ 720 h 787"/>
                  <a:gd name="T70" fmla="*/ 717 w 792"/>
                  <a:gd name="T71" fmla="*/ 746 h 787"/>
                  <a:gd name="T72" fmla="*/ 728 w 792"/>
                  <a:gd name="T73" fmla="*/ 787 h 787"/>
                  <a:gd name="T74" fmla="*/ 700 w 792"/>
                  <a:gd name="T75" fmla="*/ 787 h 787"/>
                  <a:gd name="T76" fmla="*/ 641 w 792"/>
                  <a:gd name="T77" fmla="*/ 739 h 787"/>
                  <a:gd name="T78" fmla="*/ 618 w 792"/>
                  <a:gd name="T79" fmla="*/ 711 h 787"/>
                  <a:gd name="T80" fmla="*/ 588 w 792"/>
                  <a:gd name="T81" fmla="*/ 729 h 787"/>
                  <a:gd name="T82" fmla="*/ 546 w 792"/>
                  <a:gd name="T83" fmla="*/ 714 h 787"/>
                  <a:gd name="T84" fmla="*/ 530 w 792"/>
                  <a:gd name="T85" fmla="*/ 697 h 787"/>
                  <a:gd name="T86" fmla="*/ 507 w 792"/>
                  <a:gd name="T87" fmla="*/ 702 h 787"/>
                  <a:gd name="T88" fmla="*/ 489 w 792"/>
                  <a:gd name="T89" fmla="*/ 686 h 787"/>
                  <a:gd name="T90" fmla="*/ 455 w 792"/>
                  <a:gd name="T91" fmla="*/ 695 h 787"/>
                  <a:gd name="T92" fmla="*/ 425 w 792"/>
                  <a:gd name="T93" fmla="*/ 693 h 787"/>
                  <a:gd name="T94" fmla="*/ 418 w 792"/>
                  <a:gd name="T95" fmla="*/ 681 h 787"/>
                  <a:gd name="T96" fmla="*/ 411 w 792"/>
                  <a:gd name="T97" fmla="*/ 649 h 787"/>
                  <a:gd name="T98" fmla="*/ 404 w 792"/>
                  <a:gd name="T99" fmla="*/ 628 h 787"/>
                  <a:gd name="T100" fmla="*/ 400 w 792"/>
                  <a:gd name="T101" fmla="*/ 587 h 787"/>
                  <a:gd name="T102" fmla="*/ 399 w 792"/>
                  <a:gd name="T103" fmla="*/ 557 h 787"/>
                  <a:gd name="T104" fmla="*/ 352 w 792"/>
                  <a:gd name="T105" fmla="*/ 525 h 787"/>
                  <a:gd name="T106" fmla="*/ 301 w 792"/>
                  <a:gd name="T107" fmla="*/ 530 h 787"/>
                  <a:gd name="T108" fmla="*/ 259 w 792"/>
                  <a:gd name="T109" fmla="*/ 562 h 787"/>
                  <a:gd name="T110" fmla="*/ 214 w 792"/>
                  <a:gd name="T111" fmla="*/ 546 h 787"/>
                  <a:gd name="T112" fmla="*/ 198 w 792"/>
                  <a:gd name="T113" fmla="*/ 511 h 787"/>
                  <a:gd name="T114" fmla="*/ 190 w 792"/>
                  <a:gd name="T115" fmla="*/ 479 h 787"/>
                  <a:gd name="T116" fmla="*/ 90 w 792"/>
                  <a:gd name="T117" fmla="*/ 472 h 787"/>
                  <a:gd name="T118" fmla="*/ 42 w 792"/>
                  <a:gd name="T119" fmla="*/ 472 h 787"/>
                  <a:gd name="T120" fmla="*/ 21 w 792"/>
                  <a:gd name="T121" fmla="*/ 479 h 7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92" h="787">
                    <a:moveTo>
                      <a:pt x="0" y="470"/>
                    </a:moveTo>
                    <a:lnTo>
                      <a:pt x="9" y="465"/>
                    </a:lnTo>
                    <a:lnTo>
                      <a:pt x="16" y="463"/>
                    </a:lnTo>
                    <a:lnTo>
                      <a:pt x="21" y="459"/>
                    </a:lnTo>
                    <a:lnTo>
                      <a:pt x="19" y="443"/>
                    </a:lnTo>
                    <a:lnTo>
                      <a:pt x="23" y="440"/>
                    </a:lnTo>
                    <a:lnTo>
                      <a:pt x="32" y="431"/>
                    </a:lnTo>
                    <a:lnTo>
                      <a:pt x="41" y="424"/>
                    </a:lnTo>
                    <a:lnTo>
                      <a:pt x="46" y="424"/>
                    </a:lnTo>
                    <a:lnTo>
                      <a:pt x="53" y="420"/>
                    </a:lnTo>
                    <a:lnTo>
                      <a:pt x="55" y="426"/>
                    </a:lnTo>
                    <a:lnTo>
                      <a:pt x="55" y="429"/>
                    </a:lnTo>
                    <a:lnTo>
                      <a:pt x="62" y="429"/>
                    </a:lnTo>
                    <a:lnTo>
                      <a:pt x="67" y="424"/>
                    </a:lnTo>
                    <a:lnTo>
                      <a:pt x="67" y="415"/>
                    </a:lnTo>
                    <a:lnTo>
                      <a:pt x="73" y="413"/>
                    </a:lnTo>
                    <a:lnTo>
                      <a:pt x="80" y="415"/>
                    </a:lnTo>
                    <a:lnTo>
                      <a:pt x="87" y="408"/>
                    </a:lnTo>
                    <a:lnTo>
                      <a:pt x="101" y="404"/>
                    </a:lnTo>
                    <a:lnTo>
                      <a:pt x="99" y="408"/>
                    </a:lnTo>
                    <a:lnTo>
                      <a:pt x="96" y="417"/>
                    </a:lnTo>
                    <a:lnTo>
                      <a:pt x="97" y="419"/>
                    </a:lnTo>
                    <a:lnTo>
                      <a:pt x="99" y="426"/>
                    </a:lnTo>
                    <a:lnTo>
                      <a:pt x="110" y="431"/>
                    </a:lnTo>
                    <a:lnTo>
                      <a:pt x="119" y="427"/>
                    </a:lnTo>
                    <a:lnTo>
                      <a:pt x="124" y="419"/>
                    </a:lnTo>
                    <a:lnTo>
                      <a:pt x="142" y="403"/>
                    </a:lnTo>
                    <a:lnTo>
                      <a:pt x="145" y="396"/>
                    </a:lnTo>
                    <a:lnTo>
                      <a:pt x="151" y="392"/>
                    </a:lnTo>
                    <a:lnTo>
                      <a:pt x="159" y="390"/>
                    </a:lnTo>
                    <a:lnTo>
                      <a:pt x="165" y="378"/>
                    </a:lnTo>
                    <a:lnTo>
                      <a:pt x="165" y="371"/>
                    </a:lnTo>
                    <a:lnTo>
                      <a:pt x="168" y="360"/>
                    </a:lnTo>
                    <a:lnTo>
                      <a:pt x="170" y="337"/>
                    </a:lnTo>
                    <a:lnTo>
                      <a:pt x="166" y="334"/>
                    </a:lnTo>
                    <a:lnTo>
                      <a:pt x="165" y="323"/>
                    </a:lnTo>
                    <a:lnTo>
                      <a:pt x="170" y="314"/>
                    </a:lnTo>
                    <a:lnTo>
                      <a:pt x="182" y="300"/>
                    </a:lnTo>
                    <a:lnTo>
                      <a:pt x="182" y="291"/>
                    </a:lnTo>
                    <a:lnTo>
                      <a:pt x="191" y="282"/>
                    </a:lnTo>
                    <a:lnTo>
                      <a:pt x="200" y="275"/>
                    </a:lnTo>
                    <a:lnTo>
                      <a:pt x="205" y="277"/>
                    </a:lnTo>
                    <a:lnTo>
                      <a:pt x="213" y="272"/>
                    </a:lnTo>
                    <a:lnTo>
                      <a:pt x="221" y="268"/>
                    </a:lnTo>
                    <a:lnTo>
                      <a:pt x="234" y="247"/>
                    </a:lnTo>
                    <a:lnTo>
                      <a:pt x="234" y="233"/>
                    </a:lnTo>
                    <a:lnTo>
                      <a:pt x="237" y="218"/>
                    </a:lnTo>
                    <a:lnTo>
                      <a:pt x="243" y="217"/>
                    </a:lnTo>
                    <a:lnTo>
                      <a:pt x="244" y="204"/>
                    </a:lnTo>
                    <a:lnTo>
                      <a:pt x="243" y="202"/>
                    </a:lnTo>
                    <a:lnTo>
                      <a:pt x="246" y="190"/>
                    </a:lnTo>
                    <a:lnTo>
                      <a:pt x="244" y="185"/>
                    </a:lnTo>
                    <a:lnTo>
                      <a:pt x="246" y="172"/>
                    </a:lnTo>
                    <a:lnTo>
                      <a:pt x="252" y="165"/>
                    </a:lnTo>
                    <a:lnTo>
                      <a:pt x="252" y="155"/>
                    </a:lnTo>
                    <a:lnTo>
                      <a:pt x="255" y="146"/>
                    </a:lnTo>
                    <a:lnTo>
                      <a:pt x="252" y="132"/>
                    </a:lnTo>
                    <a:lnTo>
                      <a:pt x="269" y="109"/>
                    </a:lnTo>
                    <a:lnTo>
                      <a:pt x="271" y="101"/>
                    </a:lnTo>
                    <a:lnTo>
                      <a:pt x="278" y="98"/>
                    </a:lnTo>
                    <a:lnTo>
                      <a:pt x="278" y="80"/>
                    </a:lnTo>
                    <a:lnTo>
                      <a:pt x="275" y="73"/>
                    </a:lnTo>
                    <a:lnTo>
                      <a:pt x="275" y="64"/>
                    </a:lnTo>
                    <a:lnTo>
                      <a:pt x="276" y="57"/>
                    </a:lnTo>
                    <a:lnTo>
                      <a:pt x="280" y="54"/>
                    </a:lnTo>
                    <a:lnTo>
                      <a:pt x="273" y="47"/>
                    </a:lnTo>
                    <a:lnTo>
                      <a:pt x="273" y="41"/>
                    </a:lnTo>
                    <a:lnTo>
                      <a:pt x="278" y="41"/>
                    </a:lnTo>
                    <a:lnTo>
                      <a:pt x="282" y="38"/>
                    </a:lnTo>
                    <a:lnTo>
                      <a:pt x="282" y="32"/>
                    </a:lnTo>
                    <a:lnTo>
                      <a:pt x="285" y="29"/>
                    </a:lnTo>
                    <a:lnTo>
                      <a:pt x="287" y="24"/>
                    </a:lnTo>
                    <a:lnTo>
                      <a:pt x="290" y="20"/>
                    </a:lnTo>
                    <a:lnTo>
                      <a:pt x="294" y="20"/>
                    </a:lnTo>
                    <a:lnTo>
                      <a:pt x="301" y="15"/>
                    </a:lnTo>
                    <a:lnTo>
                      <a:pt x="308" y="15"/>
                    </a:lnTo>
                    <a:lnTo>
                      <a:pt x="310" y="11"/>
                    </a:lnTo>
                    <a:lnTo>
                      <a:pt x="314" y="11"/>
                    </a:lnTo>
                    <a:lnTo>
                      <a:pt x="319" y="16"/>
                    </a:lnTo>
                    <a:lnTo>
                      <a:pt x="324" y="16"/>
                    </a:lnTo>
                    <a:lnTo>
                      <a:pt x="337" y="27"/>
                    </a:lnTo>
                    <a:lnTo>
                      <a:pt x="342" y="29"/>
                    </a:lnTo>
                    <a:lnTo>
                      <a:pt x="354" y="38"/>
                    </a:lnTo>
                    <a:lnTo>
                      <a:pt x="356" y="41"/>
                    </a:lnTo>
                    <a:lnTo>
                      <a:pt x="365" y="39"/>
                    </a:lnTo>
                    <a:lnTo>
                      <a:pt x="374" y="45"/>
                    </a:lnTo>
                    <a:lnTo>
                      <a:pt x="384" y="45"/>
                    </a:lnTo>
                    <a:lnTo>
                      <a:pt x="390" y="47"/>
                    </a:lnTo>
                    <a:lnTo>
                      <a:pt x="395" y="45"/>
                    </a:lnTo>
                    <a:lnTo>
                      <a:pt x="400" y="45"/>
                    </a:lnTo>
                    <a:lnTo>
                      <a:pt x="407" y="47"/>
                    </a:lnTo>
                    <a:lnTo>
                      <a:pt x="418" y="48"/>
                    </a:lnTo>
                    <a:lnTo>
                      <a:pt x="422" y="52"/>
                    </a:lnTo>
                    <a:lnTo>
                      <a:pt x="430" y="48"/>
                    </a:lnTo>
                    <a:lnTo>
                      <a:pt x="432" y="47"/>
                    </a:lnTo>
                    <a:lnTo>
                      <a:pt x="429" y="43"/>
                    </a:lnTo>
                    <a:lnTo>
                      <a:pt x="427" y="38"/>
                    </a:lnTo>
                    <a:lnTo>
                      <a:pt x="434" y="31"/>
                    </a:lnTo>
                    <a:lnTo>
                      <a:pt x="439" y="24"/>
                    </a:lnTo>
                    <a:lnTo>
                      <a:pt x="448" y="24"/>
                    </a:lnTo>
                    <a:lnTo>
                      <a:pt x="455" y="25"/>
                    </a:lnTo>
                    <a:lnTo>
                      <a:pt x="461" y="31"/>
                    </a:lnTo>
                    <a:lnTo>
                      <a:pt x="466" y="29"/>
                    </a:lnTo>
                    <a:lnTo>
                      <a:pt x="484" y="25"/>
                    </a:lnTo>
                    <a:lnTo>
                      <a:pt x="487" y="22"/>
                    </a:lnTo>
                    <a:lnTo>
                      <a:pt x="492" y="20"/>
                    </a:lnTo>
                    <a:lnTo>
                      <a:pt x="510" y="13"/>
                    </a:lnTo>
                    <a:lnTo>
                      <a:pt x="515" y="13"/>
                    </a:lnTo>
                    <a:lnTo>
                      <a:pt x="517" y="15"/>
                    </a:lnTo>
                    <a:lnTo>
                      <a:pt x="519" y="16"/>
                    </a:lnTo>
                    <a:lnTo>
                      <a:pt x="521" y="22"/>
                    </a:lnTo>
                    <a:lnTo>
                      <a:pt x="524" y="22"/>
                    </a:lnTo>
                    <a:lnTo>
                      <a:pt x="530" y="18"/>
                    </a:lnTo>
                    <a:lnTo>
                      <a:pt x="540" y="16"/>
                    </a:lnTo>
                    <a:lnTo>
                      <a:pt x="546" y="16"/>
                    </a:lnTo>
                    <a:lnTo>
                      <a:pt x="551" y="16"/>
                    </a:lnTo>
                    <a:lnTo>
                      <a:pt x="556" y="8"/>
                    </a:lnTo>
                    <a:lnTo>
                      <a:pt x="554" y="4"/>
                    </a:lnTo>
                    <a:lnTo>
                      <a:pt x="554" y="2"/>
                    </a:lnTo>
                    <a:lnTo>
                      <a:pt x="562" y="0"/>
                    </a:lnTo>
                    <a:lnTo>
                      <a:pt x="565" y="6"/>
                    </a:lnTo>
                    <a:lnTo>
                      <a:pt x="574" y="6"/>
                    </a:lnTo>
                    <a:lnTo>
                      <a:pt x="579" y="6"/>
                    </a:lnTo>
                    <a:lnTo>
                      <a:pt x="583" y="8"/>
                    </a:lnTo>
                    <a:lnTo>
                      <a:pt x="588" y="9"/>
                    </a:lnTo>
                    <a:lnTo>
                      <a:pt x="595" y="13"/>
                    </a:lnTo>
                    <a:lnTo>
                      <a:pt x="609" y="13"/>
                    </a:lnTo>
                    <a:lnTo>
                      <a:pt x="613" y="15"/>
                    </a:lnTo>
                    <a:lnTo>
                      <a:pt x="625" y="9"/>
                    </a:lnTo>
                    <a:lnTo>
                      <a:pt x="634" y="9"/>
                    </a:lnTo>
                    <a:lnTo>
                      <a:pt x="643" y="15"/>
                    </a:lnTo>
                    <a:lnTo>
                      <a:pt x="645" y="15"/>
                    </a:lnTo>
                    <a:lnTo>
                      <a:pt x="647" y="22"/>
                    </a:lnTo>
                    <a:lnTo>
                      <a:pt x="650" y="27"/>
                    </a:lnTo>
                    <a:lnTo>
                      <a:pt x="655" y="29"/>
                    </a:lnTo>
                    <a:lnTo>
                      <a:pt x="661" y="34"/>
                    </a:lnTo>
                    <a:lnTo>
                      <a:pt x="670" y="41"/>
                    </a:lnTo>
                    <a:lnTo>
                      <a:pt x="677" y="43"/>
                    </a:lnTo>
                    <a:lnTo>
                      <a:pt x="682" y="43"/>
                    </a:lnTo>
                    <a:lnTo>
                      <a:pt x="686" y="38"/>
                    </a:lnTo>
                    <a:lnTo>
                      <a:pt x="689" y="34"/>
                    </a:lnTo>
                    <a:lnTo>
                      <a:pt x="700" y="34"/>
                    </a:lnTo>
                    <a:lnTo>
                      <a:pt x="705" y="34"/>
                    </a:lnTo>
                    <a:lnTo>
                      <a:pt x="707" y="38"/>
                    </a:lnTo>
                    <a:lnTo>
                      <a:pt x="710" y="38"/>
                    </a:lnTo>
                    <a:lnTo>
                      <a:pt x="719" y="34"/>
                    </a:lnTo>
                    <a:lnTo>
                      <a:pt x="723" y="31"/>
                    </a:lnTo>
                    <a:lnTo>
                      <a:pt x="726" y="25"/>
                    </a:lnTo>
                    <a:lnTo>
                      <a:pt x="735" y="25"/>
                    </a:lnTo>
                    <a:lnTo>
                      <a:pt x="739" y="27"/>
                    </a:lnTo>
                    <a:lnTo>
                      <a:pt x="744" y="38"/>
                    </a:lnTo>
                    <a:lnTo>
                      <a:pt x="749" y="43"/>
                    </a:lnTo>
                    <a:lnTo>
                      <a:pt x="751" y="47"/>
                    </a:lnTo>
                    <a:lnTo>
                      <a:pt x="762" y="50"/>
                    </a:lnTo>
                    <a:lnTo>
                      <a:pt x="767" y="54"/>
                    </a:lnTo>
                    <a:lnTo>
                      <a:pt x="769" y="61"/>
                    </a:lnTo>
                    <a:lnTo>
                      <a:pt x="772" y="64"/>
                    </a:lnTo>
                    <a:lnTo>
                      <a:pt x="774" y="71"/>
                    </a:lnTo>
                    <a:lnTo>
                      <a:pt x="774" y="75"/>
                    </a:lnTo>
                    <a:lnTo>
                      <a:pt x="776" y="75"/>
                    </a:lnTo>
                    <a:lnTo>
                      <a:pt x="786" y="75"/>
                    </a:lnTo>
                    <a:lnTo>
                      <a:pt x="790" y="77"/>
                    </a:lnTo>
                    <a:lnTo>
                      <a:pt x="788" y="86"/>
                    </a:lnTo>
                    <a:lnTo>
                      <a:pt x="783" y="91"/>
                    </a:lnTo>
                    <a:lnTo>
                      <a:pt x="783" y="101"/>
                    </a:lnTo>
                    <a:lnTo>
                      <a:pt x="781" y="116"/>
                    </a:lnTo>
                    <a:lnTo>
                      <a:pt x="781" y="126"/>
                    </a:lnTo>
                    <a:lnTo>
                      <a:pt x="785" y="130"/>
                    </a:lnTo>
                    <a:lnTo>
                      <a:pt x="788" y="135"/>
                    </a:lnTo>
                    <a:lnTo>
                      <a:pt x="792" y="142"/>
                    </a:lnTo>
                    <a:lnTo>
                      <a:pt x="792" y="146"/>
                    </a:lnTo>
                    <a:lnTo>
                      <a:pt x="771" y="174"/>
                    </a:lnTo>
                    <a:lnTo>
                      <a:pt x="756" y="190"/>
                    </a:lnTo>
                    <a:lnTo>
                      <a:pt x="753" y="195"/>
                    </a:lnTo>
                    <a:lnTo>
                      <a:pt x="737" y="225"/>
                    </a:lnTo>
                    <a:lnTo>
                      <a:pt x="735" y="229"/>
                    </a:lnTo>
                    <a:lnTo>
                      <a:pt x="733" y="240"/>
                    </a:lnTo>
                    <a:lnTo>
                      <a:pt x="733" y="256"/>
                    </a:lnTo>
                    <a:lnTo>
                      <a:pt x="728" y="270"/>
                    </a:lnTo>
                    <a:lnTo>
                      <a:pt x="728" y="280"/>
                    </a:lnTo>
                    <a:lnTo>
                      <a:pt x="717" y="291"/>
                    </a:lnTo>
                    <a:lnTo>
                      <a:pt x="710" y="300"/>
                    </a:lnTo>
                    <a:lnTo>
                      <a:pt x="703" y="325"/>
                    </a:lnTo>
                    <a:lnTo>
                      <a:pt x="701" y="335"/>
                    </a:lnTo>
                    <a:lnTo>
                      <a:pt x="707" y="344"/>
                    </a:lnTo>
                    <a:lnTo>
                      <a:pt x="709" y="353"/>
                    </a:lnTo>
                    <a:lnTo>
                      <a:pt x="709" y="364"/>
                    </a:lnTo>
                    <a:lnTo>
                      <a:pt x="721" y="447"/>
                    </a:lnTo>
                    <a:lnTo>
                      <a:pt x="732" y="496"/>
                    </a:lnTo>
                    <a:lnTo>
                      <a:pt x="760" y="537"/>
                    </a:lnTo>
                    <a:lnTo>
                      <a:pt x="771" y="569"/>
                    </a:lnTo>
                    <a:lnTo>
                      <a:pt x="765" y="567"/>
                    </a:lnTo>
                    <a:lnTo>
                      <a:pt x="696" y="583"/>
                    </a:lnTo>
                    <a:lnTo>
                      <a:pt x="680" y="615"/>
                    </a:lnTo>
                    <a:lnTo>
                      <a:pt x="682" y="624"/>
                    </a:lnTo>
                    <a:lnTo>
                      <a:pt x="687" y="629"/>
                    </a:lnTo>
                    <a:lnTo>
                      <a:pt x="691" y="631"/>
                    </a:lnTo>
                    <a:lnTo>
                      <a:pt x="691" y="636"/>
                    </a:lnTo>
                    <a:lnTo>
                      <a:pt x="687" y="638"/>
                    </a:lnTo>
                    <a:lnTo>
                      <a:pt x="689" y="643"/>
                    </a:lnTo>
                    <a:lnTo>
                      <a:pt x="687" y="651"/>
                    </a:lnTo>
                    <a:lnTo>
                      <a:pt x="689" y="656"/>
                    </a:lnTo>
                    <a:lnTo>
                      <a:pt x="687" y="665"/>
                    </a:lnTo>
                    <a:lnTo>
                      <a:pt x="684" y="667"/>
                    </a:lnTo>
                    <a:lnTo>
                      <a:pt x="686" y="670"/>
                    </a:lnTo>
                    <a:lnTo>
                      <a:pt x="684" y="674"/>
                    </a:lnTo>
                    <a:lnTo>
                      <a:pt x="675" y="681"/>
                    </a:lnTo>
                    <a:lnTo>
                      <a:pt x="675" y="686"/>
                    </a:lnTo>
                    <a:lnTo>
                      <a:pt x="675" y="709"/>
                    </a:lnTo>
                    <a:lnTo>
                      <a:pt x="675" y="720"/>
                    </a:lnTo>
                    <a:lnTo>
                      <a:pt x="680" y="725"/>
                    </a:lnTo>
                    <a:lnTo>
                      <a:pt x="691" y="736"/>
                    </a:lnTo>
                    <a:lnTo>
                      <a:pt x="694" y="743"/>
                    </a:lnTo>
                    <a:lnTo>
                      <a:pt x="698" y="748"/>
                    </a:lnTo>
                    <a:lnTo>
                      <a:pt x="716" y="748"/>
                    </a:lnTo>
                    <a:lnTo>
                      <a:pt x="717" y="746"/>
                    </a:lnTo>
                    <a:lnTo>
                      <a:pt x="714" y="743"/>
                    </a:lnTo>
                    <a:lnTo>
                      <a:pt x="714" y="739"/>
                    </a:lnTo>
                    <a:lnTo>
                      <a:pt x="723" y="737"/>
                    </a:lnTo>
                    <a:lnTo>
                      <a:pt x="728" y="739"/>
                    </a:lnTo>
                    <a:lnTo>
                      <a:pt x="730" y="783"/>
                    </a:lnTo>
                    <a:lnTo>
                      <a:pt x="728" y="787"/>
                    </a:lnTo>
                    <a:lnTo>
                      <a:pt x="721" y="785"/>
                    </a:lnTo>
                    <a:lnTo>
                      <a:pt x="721" y="783"/>
                    </a:lnTo>
                    <a:lnTo>
                      <a:pt x="717" y="782"/>
                    </a:lnTo>
                    <a:lnTo>
                      <a:pt x="712" y="785"/>
                    </a:lnTo>
                    <a:lnTo>
                      <a:pt x="705" y="787"/>
                    </a:lnTo>
                    <a:lnTo>
                      <a:pt x="700" y="787"/>
                    </a:lnTo>
                    <a:lnTo>
                      <a:pt x="691" y="778"/>
                    </a:lnTo>
                    <a:lnTo>
                      <a:pt x="682" y="769"/>
                    </a:lnTo>
                    <a:lnTo>
                      <a:pt x="675" y="762"/>
                    </a:lnTo>
                    <a:lnTo>
                      <a:pt x="666" y="750"/>
                    </a:lnTo>
                    <a:lnTo>
                      <a:pt x="657" y="744"/>
                    </a:lnTo>
                    <a:lnTo>
                      <a:pt x="641" y="739"/>
                    </a:lnTo>
                    <a:lnTo>
                      <a:pt x="632" y="734"/>
                    </a:lnTo>
                    <a:lnTo>
                      <a:pt x="631" y="730"/>
                    </a:lnTo>
                    <a:lnTo>
                      <a:pt x="625" y="721"/>
                    </a:lnTo>
                    <a:lnTo>
                      <a:pt x="625" y="711"/>
                    </a:lnTo>
                    <a:lnTo>
                      <a:pt x="622" y="709"/>
                    </a:lnTo>
                    <a:lnTo>
                      <a:pt x="618" y="711"/>
                    </a:lnTo>
                    <a:lnTo>
                      <a:pt x="613" y="713"/>
                    </a:lnTo>
                    <a:lnTo>
                      <a:pt x="608" y="723"/>
                    </a:lnTo>
                    <a:lnTo>
                      <a:pt x="608" y="727"/>
                    </a:lnTo>
                    <a:lnTo>
                      <a:pt x="595" y="730"/>
                    </a:lnTo>
                    <a:lnTo>
                      <a:pt x="588" y="730"/>
                    </a:lnTo>
                    <a:lnTo>
                      <a:pt x="588" y="729"/>
                    </a:lnTo>
                    <a:lnTo>
                      <a:pt x="577" y="727"/>
                    </a:lnTo>
                    <a:lnTo>
                      <a:pt x="570" y="725"/>
                    </a:lnTo>
                    <a:lnTo>
                      <a:pt x="560" y="720"/>
                    </a:lnTo>
                    <a:lnTo>
                      <a:pt x="556" y="720"/>
                    </a:lnTo>
                    <a:lnTo>
                      <a:pt x="549" y="714"/>
                    </a:lnTo>
                    <a:lnTo>
                      <a:pt x="546" y="714"/>
                    </a:lnTo>
                    <a:lnTo>
                      <a:pt x="546" y="713"/>
                    </a:lnTo>
                    <a:lnTo>
                      <a:pt x="546" y="705"/>
                    </a:lnTo>
                    <a:lnTo>
                      <a:pt x="542" y="702"/>
                    </a:lnTo>
                    <a:lnTo>
                      <a:pt x="542" y="695"/>
                    </a:lnTo>
                    <a:lnTo>
                      <a:pt x="540" y="693"/>
                    </a:lnTo>
                    <a:lnTo>
                      <a:pt x="530" y="697"/>
                    </a:lnTo>
                    <a:lnTo>
                      <a:pt x="526" y="700"/>
                    </a:lnTo>
                    <a:lnTo>
                      <a:pt x="521" y="700"/>
                    </a:lnTo>
                    <a:lnTo>
                      <a:pt x="514" y="702"/>
                    </a:lnTo>
                    <a:lnTo>
                      <a:pt x="510" y="705"/>
                    </a:lnTo>
                    <a:lnTo>
                      <a:pt x="507" y="705"/>
                    </a:lnTo>
                    <a:lnTo>
                      <a:pt x="507" y="702"/>
                    </a:lnTo>
                    <a:lnTo>
                      <a:pt x="505" y="695"/>
                    </a:lnTo>
                    <a:lnTo>
                      <a:pt x="503" y="693"/>
                    </a:lnTo>
                    <a:lnTo>
                      <a:pt x="496" y="690"/>
                    </a:lnTo>
                    <a:lnTo>
                      <a:pt x="492" y="690"/>
                    </a:lnTo>
                    <a:lnTo>
                      <a:pt x="489" y="688"/>
                    </a:lnTo>
                    <a:lnTo>
                      <a:pt x="489" y="686"/>
                    </a:lnTo>
                    <a:lnTo>
                      <a:pt x="482" y="688"/>
                    </a:lnTo>
                    <a:lnTo>
                      <a:pt x="475" y="690"/>
                    </a:lnTo>
                    <a:lnTo>
                      <a:pt x="468" y="693"/>
                    </a:lnTo>
                    <a:lnTo>
                      <a:pt x="464" y="695"/>
                    </a:lnTo>
                    <a:lnTo>
                      <a:pt x="459" y="697"/>
                    </a:lnTo>
                    <a:lnTo>
                      <a:pt x="455" y="695"/>
                    </a:lnTo>
                    <a:lnTo>
                      <a:pt x="445" y="695"/>
                    </a:lnTo>
                    <a:lnTo>
                      <a:pt x="439" y="693"/>
                    </a:lnTo>
                    <a:lnTo>
                      <a:pt x="434" y="690"/>
                    </a:lnTo>
                    <a:lnTo>
                      <a:pt x="430" y="690"/>
                    </a:lnTo>
                    <a:lnTo>
                      <a:pt x="429" y="691"/>
                    </a:lnTo>
                    <a:lnTo>
                      <a:pt x="425" y="693"/>
                    </a:lnTo>
                    <a:lnTo>
                      <a:pt x="422" y="695"/>
                    </a:lnTo>
                    <a:lnTo>
                      <a:pt x="418" y="695"/>
                    </a:lnTo>
                    <a:lnTo>
                      <a:pt x="416" y="693"/>
                    </a:lnTo>
                    <a:lnTo>
                      <a:pt x="416" y="684"/>
                    </a:lnTo>
                    <a:lnTo>
                      <a:pt x="420" y="682"/>
                    </a:lnTo>
                    <a:lnTo>
                      <a:pt x="418" y="681"/>
                    </a:lnTo>
                    <a:lnTo>
                      <a:pt x="422" y="674"/>
                    </a:lnTo>
                    <a:lnTo>
                      <a:pt x="416" y="670"/>
                    </a:lnTo>
                    <a:lnTo>
                      <a:pt x="414" y="661"/>
                    </a:lnTo>
                    <a:lnTo>
                      <a:pt x="416" y="659"/>
                    </a:lnTo>
                    <a:lnTo>
                      <a:pt x="416" y="654"/>
                    </a:lnTo>
                    <a:lnTo>
                      <a:pt x="411" y="649"/>
                    </a:lnTo>
                    <a:lnTo>
                      <a:pt x="411" y="645"/>
                    </a:lnTo>
                    <a:lnTo>
                      <a:pt x="413" y="640"/>
                    </a:lnTo>
                    <a:lnTo>
                      <a:pt x="413" y="635"/>
                    </a:lnTo>
                    <a:lnTo>
                      <a:pt x="409" y="635"/>
                    </a:lnTo>
                    <a:lnTo>
                      <a:pt x="406" y="629"/>
                    </a:lnTo>
                    <a:lnTo>
                      <a:pt x="404" y="628"/>
                    </a:lnTo>
                    <a:lnTo>
                      <a:pt x="404" y="622"/>
                    </a:lnTo>
                    <a:lnTo>
                      <a:pt x="400" y="617"/>
                    </a:lnTo>
                    <a:lnTo>
                      <a:pt x="400" y="613"/>
                    </a:lnTo>
                    <a:lnTo>
                      <a:pt x="399" y="610"/>
                    </a:lnTo>
                    <a:lnTo>
                      <a:pt x="400" y="601"/>
                    </a:lnTo>
                    <a:lnTo>
                      <a:pt x="400" y="587"/>
                    </a:lnTo>
                    <a:lnTo>
                      <a:pt x="399" y="582"/>
                    </a:lnTo>
                    <a:lnTo>
                      <a:pt x="399" y="578"/>
                    </a:lnTo>
                    <a:lnTo>
                      <a:pt x="400" y="576"/>
                    </a:lnTo>
                    <a:lnTo>
                      <a:pt x="400" y="569"/>
                    </a:lnTo>
                    <a:lnTo>
                      <a:pt x="397" y="562"/>
                    </a:lnTo>
                    <a:lnTo>
                      <a:pt x="399" y="557"/>
                    </a:lnTo>
                    <a:lnTo>
                      <a:pt x="402" y="550"/>
                    </a:lnTo>
                    <a:lnTo>
                      <a:pt x="402" y="543"/>
                    </a:lnTo>
                    <a:lnTo>
                      <a:pt x="402" y="537"/>
                    </a:lnTo>
                    <a:lnTo>
                      <a:pt x="400" y="532"/>
                    </a:lnTo>
                    <a:lnTo>
                      <a:pt x="352" y="528"/>
                    </a:lnTo>
                    <a:lnTo>
                      <a:pt x="352" y="525"/>
                    </a:lnTo>
                    <a:lnTo>
                      <a:pt x="354" y="520"/>
                    </a:lnTo>
                    <a:lnTo>
                      <a:pt x="354" y="514"/>
                    </a:lnTo>
                    <a:lnTo>
                      <a:pt x="342" y="514"/>
                    </a:lnTo>
                    <a:lnTo>
                      <a:pt x="342" y="518"/>
                    </a:lnTo>
                    <a:lnTo>
                      <a:pt x="301" y="518"/>
                    </a:lnTo>
                    <a:lnTo>
                      <a:pt x="301" y="530"/>
                    </a:lnTo>
                    <a:lnTo>
                      <a:pt x="298" y="537"/>
                    </a:lnTo>
                    <a:lnTo>
                      <a:pt x="294" y="539"/>
                    </a:lnTo>
                    <a:lnTo>
                      <a:pt x="296" y="546"/>
                    </a:lnTo>
                    <a:lnTo>
                      <a:pt x="296" y="558"/>
                    </a:lnTo>
                    <a:lnTo>
                      <a:pt x="264" y="560"/>
                    </a:lnTo>
                    <a:lnTo>
                      <a:pt x="259" y="562"/>
                    </a:lnTo>
                    <a:lnTo>
                      <a:pt x="244" y="562"/>
                    </a:lnTo>
                    <a:lnTo>
                      <a:pt x="239" y="560"/>
                    </a:lnTo>
                    <a:lnTo>
                      <a:pt x="232" y="562"/>
                    </a:lnTo>
                    <a:lnTo>
                      <a:pt x="221" y="562"/>
                    </a:lnTo>
                    <a:lnTo>
                      <a:pt x="216" y="560"/>
                    </a:lnTo>
                    <a:lnTo>
                      <a:pt x="214" y="546"/>
                    </a:lnTo>
                    <a:lnTo>
                      <a:pt x="209" y="537"/>
                    </a:lnTo>
                    <a:lnTo>
                      <a:pt x="205" y="532"/>
                    </a:lnTo>
                    <a:lnTo>
                      <a:pt x="202" y="530"/>
                    </a:lnTo>
                    <a:lnTo>
                      <a:pt x="202" y="525"/>
                    </a:lnTo>
                    <a:lnTo>
                      <a:pt x="200" y="521"/>
                    </a:lnTo>
                    <a:lnTo>
                      <a:pt x="198" y="511"/>
                    </a:lnTo>
                    <a:lnTo>
                      <a:pt x="193" y="504"/>
                    </a:lnTo>
                    <a:lnTo>
                      <a:pt x="193" y="498"/>
                    </a:lnTo>
                    <a:lnTo>
                      <a:pt x="195" y="495"/>
                    </a:lnTo>
                    <a:lnTo>
                      <a:pt x="195" y="489"/>
                    </a:lnTo>
                    <a:lnTo>
                      <a:pt x="191" y="484"/>
                    </a:lnTo>
                    <a:lnTo>
                      <a:pt x="190" y="479"/>
                    </a:lnTo>
                    <a:lnTo>
                      <a:pt x="191" y="477"/>
                    </a:lnTo>
                    <a:lnTo>
                      <a:pt x="191" y="472"/>
                    </a:lnTo>
                    <a:lnTo>
                      <a:pt x="147" y="472"/>
                    </a:lnTo>
                    <a:lnTo>
                      <a:pt x="119" y="472"/>
                    </a:lnTo>
                    <a:lnTo>
                      <a:pt x="104" y="473"/>
                    </a:lnTo>
                    <a:lnTo>
                      <a:pt x="90" y="472"/>
                    </a:lnTo>
                    <a:lnTo>
                      <a:pt x="85" y="472"/>
                    </a:lnTo>
                    <a:lnTo>
                      <a:pt x="73" y="472"/>
                    </a:lnTo>
                    <a:lnTo>
                      <a:pt x="62" y="472"/>
                    </a:lnTo>
                    <a:lnTo>
                      <a:pt x="55" y="472"/>
                    </a:lnTo>
                    <a:lnTo>
                      <a:pt x="48" y="472"/>
                    </a:lnTo>
                    <a:lnTo>
                      <a:pt x="42" y="472"/>
                    </a:lnTo>
                    <a:lnTo>
                      <a:pt x="35" y="473"/>
                    </a:lnTo>
                    <a:lnTo>
                      <a:pt x="28" y="475"/>
                    </a:lnTo>
                    <a:lnTo>
                      <a:pt x="27" y="475"/>
                    </a:lnTo>
                    <a:lnTo>
                      <a:pt x="23" y="475"/>
                    </a:lnTo>
                    <a:lnTo>
                      <a:pt x="21" y="479"/>
                    </a:lnTo>
                    <a:lnTo>
                      <a:pt x="21" y="479"/>
                    </a:lnTo>
                    <a:lnTo>
                      <a:pt x="19" y="479"/>
                    </a:lnTo>
                    <a:lnTo>
                      <a:pt x="19" y="479"/>
                    </a:lnTo>
                    <a:lnTo>
                      <a:pt x="14" y="475"/>
                    </a:lnTo>
                    <a:lnTo>
                      <a:pt x="3" y="473"/>
                    </a:lnTo>
                    <a:lnTo>
                      <a:pt x="0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5" name="Freeform 45">
                <a:extLst>
                  <a:ext uri="{FF2B5EF4-FFF2-40B4-BE49-F238E27FC236}">
                    <a16:creationId xmlns:a16="http://schemas.microsoft.com/office/drawing/2014/main" id="{F59A4F53-0ED8-9CFF-FF7C-5FE532556C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5651" y="4573588"/>
                <a:ext cx="211138" cy="531813"/>
              </a:xfrm>
              <a:custGeom>
                <a:avLst/>
                <a:gdLst>
                  <a:gd name="T0" fmla="*/ 16 w 133"/>
                  <a:gd name="T1" fmla="*/ 0 h 335"/>
                  <a:gd name="T2" fmla="*/ 21 w 133"/>
                  <a:gd name="T3" fmla="*/ 5 h 335"/>
                  <a:gd name="T4" fmla="*/ 30 w 133"/>
                  <a:gd name="T5" fmla="*/ 9 h 335"/>
                  <a:gd name="T6" fmla="*/ 37 w 133"/>
                  <a:gd name="T7" fmla="*/ 9 h 335"/>
                  <a:gd name="T8" fmla="*/ 43 w 133"/>
                  <a:gd name="T9" fmla="*/ 11 h 335"/>
                  <a:gd name="T10" fmla="*/ 48 w 133"/>
                  <a:gd name="T11" fmla="*/ 16 h 335"/>
                  <a:gd name="T12" fmla="*/ 67 w 133"/>
                  <a:gd name="T13" fmla="*/ 36 h 335"/>
                  <a:gd name="T14" fmla="*/ 69 w 133"/>
                  <a:gd name="T15" fmla="*/ 122 h 335"/>
                  <a:gd name="T16" fmla="*/ 73 w 133"/>
                  <a:gd name="T17" fmla="*/ 168 h 335"/>
                  <a:gd name="T18" fmla="*/ 92 w 133"/>
                  <a:gd name="T19" fmla="*/ 181 h 335"/>
                  <a:gd name="T20" fmla="*/ 99 w 133"/>
                  <a:gd name="T21" fmla="*/ 184 h 335"/>
                  <a:gd name="T22" fmla="*/ 117 w 133"/>
                  <a:gd name="T23" fmla="*/ 206 h 335"/>
                  <a:gd name="T24" fmla="*/ 129 w 133"/>
                  <a:gd name="T25" fmla="*/ 229 h 335"/>
                  <a:gd name="T26" fmla="*/ 133 w 133"/>
                  <a:gd name="T27" fmla="*/ 239 h 335"/>
                  <a:gd name="T28" fmla="*/ 126 w 133"/>
                  <a:gd name="T29" fmla="*/ 245 h 335"/>
                  <a:gd name="T30" fmla="*/ 119 w 133"/>
                  <a:gd name="T31" fmla="*/ 248 h 335"/>
                  <a:gd name="T32" fmla="*/ 121 w 133"/>
                  <a:gd name="T33" fmla="*/ 255 h 335"/>
                  <a:gd name="T34" fmla="*/ 124 w 133"/>
                  <a:gd name="T35" fmla="*/ 275 h 335"/>
                  <a:gd name="T36" fmla="*/ 115 w 133"/>
                  <a:gd name="T37" fmla="*/ 287 h 335"/>
                  <a:gd name="T38" fmla="*/ 103 w 133"/>
                  <a:gd name="T39" fmla="*/ 300 h 335"/>
                  <a:gd name="T40" fmla="*/ 97 w 133"/>
                  <a:gd name="T41" fmla="*/ 315 h 335"/>
                  <a:gd name="T42" fmla="*/ 99 w 133"/>
                  <a:gd name="T43" fmla="*/ 333 h 335"/>
                  <a:gd name="T44" fmla="*/ 89 w 133"/>
                  <a:gd name="T45" fmla="*/ 330 h 335"/>
                  <a:gd name="T46" fmla="*/ 87 w 133"/>
                  <a:gd name="T47" fmla="*/ 317 h 335"/>
                  <a:gd name="T48" fmla="*/ 76 w 133"/>
                  <a:gd name="T49" fmla="*/ 310 h 335"/>
                  <a:gd name="T50" fmla="*/ 62 w 133"/>
                  <a:gd name="T51" fmla="*/ 294 h 335"/>
                  <a:gd name="T52" fmla="*/ 58 w 133"/>
                  <a:gd name="T53" fmla="*/ 278 h 335"/>
                  <a:gd name="T54" fmla="*/ 62 w 133"/>
                  <a:gd name="T55" fmla="*/ 264 h 335"/>
                  <a:gd name="T56" fmla="*/ 73 w 133"/>
                  <a:gd name="T57" fmla="*/ 245 h 335"/>
                  <a:gd name="T58" fmla="*/ 74 w 133"/>
                  <a:gd name="T59" fmla="*/ 225 h 335"/>
                  <a:gd name="T60" fmla="*/ 58 w 133"/>
                  <a:gd name="T61" fmla="*/ 214 h 335"/>
                  <a:gd name="T62" fmla="*/ 46 w 133"/>
                  <a:gd name="T63" fmla="*/ 220 h 335"/>
                  <a:gd name="T64" fmla="*/ 39 w 133"/>
                  <a:gd name="T65" fmla="*/ 222 h 335"/>
                  <a:gd name="T66" fmla="*/ 30 w 133"/>
                  <a:gd name="T67" fmla="*/ 213 h 335"/>
                  <a:gd name="T68" fmla="*/ 27 w 133"/>
                  <a:gd name="T69" fmla="*/ 204 h 335"/>
                  <a:gd name="T70" fmla="*/ 12 w 133"/>
                  <a:gd name="T71" fmla="*/ 202 h 335"/>
                  <a:gd name="T72" fmla="*/ 7 w 133"/>
                  <a:gd name="T73" fmla="*/ 190 h 335"/>
                  <a:gd name="T74" fmla="*/ 0 w 133"/>
                  <a:gd name="T75" fmla="*/ 179 h 335"/>
                  <a:gd name="T76" fmla="*/ 11 w 133"/>
                  <a:gd name="T77" fmla="*/ 170 h 335"/>
                  <a:gd name="T78" fmla="*/ 12 w 133"/>
                  <a:gd name="T79" fmla="*/ 160 h 335"/>
                  <a:gd name="T80" fmla="*/ 11 w 133"/>
                  <a:gd name="T81" fmla="*/ 151 h 335"/>
                  <a:gd name="T82" fmla="*/ 21 w 133"/>
                  <a:gd name="T83" fmla="*/ 140 h 335"/>
                  <a:gd name="T84" fmla="*/ 30 w 133"/>
                  <a:gd name="T85" fmla="*/ 133 h 335"/>
                  <a:gd name="T86" fmla="*/ 34 w 133"/>
                  <a:gd name="T87" fmla="*/ 129 h 335"/>
                  <a:gd name="T88" fmla="*/ 28 w 133"/>
                  <a:gd name="T89" fmla="*/ 122 h 335"/>
                  <a:gd name="T90" fmla="*/ 28 w 133"/>
                  <a:gd name="T91" fmla="*/ 115 h 335"/>
                  <a:gd name="T92" fmla="*/ 27 w 133"/>
                  <a:gd name="T93" fmla="*/ 105 h 335"/>
                  <a:gd name="T94" fmla="*/ 28 w 133"/>
                  <a:gd name="T95" fmla="*/ 94 h 335"/>
                  <a:gd name="T96" fmla="*/ 25 w 133"/>
                  <a:gd name="T97" fmla="*/ 80 h 335"/>
                  <a:gd name="T98" fmla="*/ 35 w 133"/>
                  <a:gd name="T99" fmla="*/ 64 h 335"/>
                  <a:gd name="T100" fmla="*/ 37 w 133"/>
                  <a:gd name="T101" fmla="*/ 59 h 335"/>
                  <a:gd name="T102" fmla="*/ 35 w 133"/>
                  <a:gd name="T103" fmla="*/ 44 h 335"/>
                  <a:gd name="T104" fmla="*/ 27 w 133"/>
                  <a:gd name="T105" fmla="*/ 36 h 335"/>
                  <a:gd name="T106" fmla="*/ 32 w 133"/>
                  <a:gd name="T107" fmla="*/ 21 h 335"/>
                  <a:gd name="T108" fmla="*/ 21 w 133"/>
                  <a:gd name="T109" fmla="*/ 16 h 335"/>
                  <a:gd name="T110" fmla="*/ 16 w 133"/>
                  <a:gd name="T111" fmla="*/ 9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3" h="335">
                    <a:moveTo>
                      <a:pt x="14" y="2"/>
                    </a:moveTo>
                    <a:lnTo>
                      <a:pt x="16" y="0"/>
                    </a:lnTo>
                    <a:lnTo>
                      <a:pt x="20" y="2"/>
                    </a:lnTo>
                    <a:lnTo>
                      <a:pt x="21" y="5"/>
                    </a:lnTo>
                    <a:lnTo>
                      <a:pt x="27" y="7"/>
                    </a:lnTo>
                    <a:lnTo>
                      <a:pt x="30" y="9"/>
                    </a:lnTo>
                    <a:lnTo>
                      <a:pt x="32" y="7"/>
                    </a:lnTo>
                    <a:lnTo>
                      <a:pt x="37" y="9"/>
                    </a:lnTo>
                    <a:lnTo>
                      <a:pt x="39" y="11"/>
                    </a:lnTo>
                    <a:lnTo>
                      <a:pt x="43" y="11"/>
                    </a:lnTo>
                    <a:lnTo>
                      <a:pt x="44" y="14"/>
                    </a:lnTo>
                    <a:lnTo>
                      <a:pt x="48" y="16"/>
                    </a:lnTo>
                    <a:lnTo>
                      <a:pt x="53" y="21"/>
                    </a:lnTo>
                    <a:lnTo>
                      <a:pt x="67" y="36"/>
                    </a:lnTo>
                    <a:lnTo>
                      <a:pt x="69" y="52"/>
                    </a:lnTo>
                    <a:lnTo>
                      <a:pt x="69" y="122"/>
                    </a:lnTo>
                    <a:lnTo>
                      <a:pt x="66" y="129"/>
                    </a:lnTo>
                    <a:lnTo>
                      <a:pt x="73" y="168"/>
                    </a:lnTo>
                    <a:lnTo>
                      <a:pt x="87" y="174"/>
                    </a:lnTo>
                    <a:lnTo>
                      <a:pt x="92" y="181"/>
                    </a:lnTo>
                    <a:lnTo>
                      <a:pt x="96" y="184"/>
                    </a:lnTo>
                    <a:lnTo>
                      <a:pt x="99" y="184"/>
                    </a:lnTo>
                    <a:lnTo>
                      <a:pt x="113" y="199"/>
                    </a:lnTo>
                    <a:lnTo>
                      <a:pt x="117" y="206"/>
                    </a:lnTo>
                    <a:lnTo>
                      <a:pt x="126" y="218"/>
                    </a:lnTo>
                    <a:lnTo>
                      <a:pt x="129" y="229"/>
                    </a:lnTo>
                    <a:lnTo>
                      <a:pt x="131" y="234"/>
                    </a:lnTo>
                    <a:lnTo>
                      <a:pt x="133" y="239"/>
                    </a:lnTo>
                    <a:lnTo>
                      <a:pt x="128" y="241"/>
                    </a:lnTo>
                    <a:lnTo>
                      <a:pt x="126" y="245"/>
                    </a:lnTo>
                    <a:lnTo>
                      <a:pt x="121" y="245"/>
                    </a:lnTo>
                    <a:lnTo>
                      <a:pt x="119" y="248"/>
                    </a:lnTo>
                    <a:lnTo>
                      <a:pt x="121" y="252"/>
                    </a:lnTo>
                    <a:lnTo>
                      <a:pt x="121" y="255"/>
                    </a:lnTo>
                    <a:lnTo>
                      <a:pt x="124" y="261"/>
                    </a:lnTo>
                    <a:lnTo>
                      <a:pt x="124" y="275"/>
                    </a:lnTo>
                    <a:lnTo>
                      <a:pt x="122" y="282"/>
                    </a:lnTo>
                    <a:lnTo>
                      <a:pt x="115" y="287"/>
                    </a:lnTo>
                    <a:lnTo>
                      <a:pt x="108" y="289"/>
                    </a:lnTo>
                    <a:lnTo>
                      <a:pt x="103" y="300"/>
                    </a:lnTo>
                    <a:lnTo>
                      <a:pt x="103" y="308"/>
                    </a:lnTo>
                    <a:lnTo>
                      <a:pt x="97" y="315"/>
                    </a:lnTo>
                    <a:lnTo>
                      <a:pt x="101" y="324"/>
                    </a:lnTo>
                    <a:lnTo>
                      <a:pt x="99" y="333"/>
                    </a:lnTo>
                    <a:lnTo>
                      <a:pt x="90" y="335"/>
                    </a:lnTo>
                    <a:lnTo>
                      <a:pt x="89" y="330"/>
                    </a:lnTo>
                    <a:lnTo>
                      <a:pt x="92" y="324"/>
                    </a:lnTo>
                    <a:lnTo>
                      <a:pt x="87" y="317"/>
                    </a:lnTo>
                    <a:lnTo>
                      <a:pt x="82" y="312"/>
                    </a:lnTo>
                    <a:lnTo>
                      <a:pt x="76" y="310"/>
                    </a:lnTo>
                    <a:lnTo>
                      <a:pt x="69" y="303"/>
                    </a:lnTo>
                    <a:lnTo>
                      <a:pt x="62" y="294"/>
                    </a:lnTo>
                    <a:lnTo>
                      <a:pt x="62" y="287"/>
                    </a:lnTo>
                    <a:lnTo>
                      <a:pt x="58" y="278"/>
                    </a:lnTo>
                    <a:lnTo>
                      <a:pt x="57" y="271"/>
                    </a:lnTo>
                    <a:lnTo>
                      <a:pt x="62" y="264"/>
                    </a:lnTo>
                    <a:lnTo>
                      <a:pt x="64" y="255"/>
                    </a:lnTo>
                    <a:lnTo>
                      <a:pt x="73" y="245"/>
                    </a:lnTo>
                    <a:lnTo>
                      <a:pt x="74" y="236"/>
                    </a:lnTo>
                    <a:lnTo>
                      <a:pt x="74" y="225"/>
                    </a:lnTo>
                    <a:lnTo>
                      <a:pt x="69" y="218"/>
                    </a:lnTo>
                    <a:lnTo>
                      <a:pt x="58" y="214"/>
                    </a:lnTo>
                    <a:lnTo>
                      <a:pt x="50" y="216"/>
                    </a:lnTo>
                    <a:lnTo>
                      <a:pt x="46" y="220"/>
                    </a:lnTo>
                    <a:lnTo>
                      <a:pt x="41" y="220"/>
                    </a:lnTo>
                    <a:lnTo>
                      <a:pt x="39" y="222"/>
                    </a:lnTo>
                    <a:lnTo>
                      <a:pt x="32" y="216"/>
                    </a:lnTo>
                    <a:lnTo>
                      <a:pt x="30" y="213"/>
                    </a:lnTo>
                    <a:lnTo>
                      <a:pt x="27" y="207"/>
                    </a:lnTo>
                    <a:lnTo>
                      <a:pt x="27" y="204"/>
                    </a:lnTo>
                    <a:lnTo>
                      <a:pt x="23" y="200"/>
                    </a:lnTo>
                    <a:lnTo>
                      <a:pt x="12" y="202"/>
                    </a:lnTo>
                    <a:lnTo>
                      <a:pt x="11" y="199"/>
                    </a:lnTo>
                    <a:lnTo>
                      <a:pt x="7" y="190"/>
                    </a:lnTo>
                    <a:lnTo>
                      <a:pt x="2" y="183"/>
                    </a:lnTo>
                    <a:lnTo>
                      <a:pt x="0" y="179"/>
                    </a:lnTo>
                    <a:lnTo>
                      <a:pt x="5" y="177"/>
                    </a:lnTo>
                    <a:lnTo>
                      <a:pt x="11" y="170"/>
                    </a:lnTo>
                    <a:lnTo>
                      <a:pt x="11" y="163"/>
                    </a:lnTo>
                    <a:lnTo>
                      <a:pt x="12" y="160"/>
                    </a:lnTo>
                    <a:lnTo>
                      <a:pt x="11" y="156"/>
                    </a:lnTo>
                    <a:lnTo>
                      <a:pt x="11" y="151"/>
                    </a:lnTo>
                    <a:lnTo>
                      <a:pt x="12" y="147"/>
                    </a:lnTo>
                    <a:lnTo>
                      <a:pt x="21" y="140"/>
                    </a:lnTo>
                    <a:lnTo>
                      <a:pt x="28" y="138"/>
                    </a:lnTo>
                    <a:lnTo>
                      <a:pt x="30" y="133"/>
                    </a:lnTo>
                    <a:lnTo>
                      <a:pt x="34" y="133"/>
                    </a:lnTo>
                    <a:lnTo>
                      <a:pt x="34" y="129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7" y="117"/>
                    </a:lnTo>
                    <a:lnTo>
                      <a:pt x="28" y="115"/>
                    </a:lnTo>
                    <a:lnTo>
                      <a:pt x="30" y="110"/>
                    </a:lnTo>
                    <a:lnTo>
                      <a:pt x="27" y="105"/>
                    </a:lnTo>
                    <a:lnTo>
                      <a:pt x="30" y="99"/>
                    </a:lnTo>
                    <a:lnTo>
                      <a:pt x="28" y="94"/>
                    </a:lnTo>
                    <a:lnTo>
                      <a:pt x="28" y="87"/>
                    </a:lnTo>
                    <a:lnTo>
                      <a:pt x="25" y="80"/>
                    </a:lnTo>
                    <a:lnTo>
                      <a:pt x="27" y="75"/>
                    </a:lnTo>
                    <a:lnTo>
                      <a:pt x="35" y="64"/>
                    </a:lnTo>
                    <a:lnTo>
                      <a:pt x="35" y="62"/>
                    </a:lnTo>
                    <a:lnTo>
                      <a:pt x="37" y="59"/>
                    </a:lnTo>
                    <a:lnTo>
                      <a:pt x="37" y="50"/>
                    </a:lnTo>
                    <a:lnTo>
                      <a:pt x="35" y="44"/>
                    </a:lnTo>
                    <a:lnTo>
                      <a:pt x="28" y="39"/>
                    </a:lnTo>
                    <a:lnTo>
                      <a:pt x="27" y="36"/>
                    </a:lnTo>
                    <a:lnTo>
                      <a:pt x="32" y="25"/>
                    </a:lnTo>
                    <a:lnTo>
                      <a:pt x="32" y="21"/>
                    </a:lnTo>
                    <a:lnTo>
                      <a:pt x="27" y="20"/>
                    </a:lnTo>
                    <a:lnTo>
                      <a:pt x="21" y="16"/>
                    </a:lnTo>
                    <a:lnTo>
                      <a:pt x="20" y="11"/>
                    </a:lnTo>
                    <a:lnTo>
                      <a:pt x="16" y="9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6" name="Freeform 46">
                <a:extLst>
                  <a:ext uri="{FF2B5EF4-FFF2-40B4-BE49-F238E27FC236}">
                    <a16:creationId xmlns:a16="http://schemas.microsoft.com/office/drawing/2014/main" id="{B86469EA-2E56-551C-F7F6-108C0C155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6513" y="4497388"/>
                <a:ext cx="777875" cy="661988"/>
              </a:xfrm>
              <a:custGeom>
                <a:avLst/>
                <a:gdLst>
                  <a:gd name="T0" fmla="*/ 104 w 490"/>
                  <a:gd name="T1" fmla="*/ 126 h 417"/>
                  <a:gd name="T2" fmla="*/ 111 w 490"/>
                  <a:gd name="T3" fmla="*/ 138 h 417"/>
                  <a:gd name="T4" fmla="*/ 131 w 490"/>
                  <a:gd name="T5" fmla="*/ 130 h 417"/>
                  <a:gd name="T6" fmla="*/ 147 w 490"/>
                  <a:gd name="T7" fmla="*/ 138 h 417"/>
                  <a:gd name="T8" fmla="*/ 157 w 490"/>
                  <a:gd name="T9" fmla="*/ 153 h 417"/>
                  <a:gd name="T10" fmla="*/ 189 w 490"/>
                  <a:gd name="T11" fmla="*/ 162 h 417"/>
                  <a:gd name="T12" fmla="*/ 209 w 490"/>
                  <a:gd name="T13" fmla="*/ 156 h 417"/>
                  <a:gd name="T14" fmla="*/ 226 w 490"/>
                  <a:gd name="T15" fmla="*/ 144 h 417"/>
                  <a:gd name="T16" fmla="*/ 242 w 490"/>
                  <a:gd name="T17" fmla="*/ 172 h 417"/>
                  <a:gd name="T18" fmla="*/ 283 w 490"/>
                  <a:gd name="T19" fmla="*/ 202 h 417"/>
                  <a:gd name="T20" fmla="*/ 313 w 490"/>
                  <a:gd name="T21" fmla="*/ 218 h 417"/>
                  <a:gd name="T22" fmla="*/ 329 w 490"/>
                  <a:gd name="T23" fmla="*/ 220 h 417"/>
                  <a:gd name="T24" fmla="*/ 315 w 490"/>
                  <a:gd name="T25" fmla="*/ 172 h 417"/>
                  <a:gd name="T26" fmla="*/ 299 w 490"/>
                  <a:gd name="T27" fmla="*/ 181 h 417"/>
                  <a:gd name="T28" fmla="*/ 276 w 490"/>
                  <a:gd name="T29" fmla="*/ 153 h 417"/>
                  <a:gd name="T30" fmla="*/ 285 w 490"/>
                  <a:gd name="T31" fmla="*/ 107 h 417"/>
                  <a:gd name="T32" fmla="*/ 290 w 490"/>
                  <a:gd name="T33" fmla="*/ 89 h 417"/>
                  <a:gd name="T34" fmla="*/ 292 w 490"/>
                  <a:gd name="T35" fmla="*/ 69 h 417"/>
                  <a:gd name="T36" fmla="*/ 281 w 490"/>
                  <a:gd name="T37" fmla="*/ 48 h 417"/>
                  <a:gd name="T38" fmla="*/ 391 w 490"/>
                  <a:gd name="T39" fmla="*/ 9 h 417"/>
                  <a:gd name="T40" fmla="*/ 409 w 490"/>
                  <a:gd name="T41" fmla="*/ 20 h 417"/>
                  <a:gd name="T42" fmla="*/ 444 w 490"/>
                  <a:gd name="T43" fmla="*/ 30 h 417"/>
                  <a:gd name="T44" fmla="*/ 464 w 490"/>
                  <a:gd name="T45" fmla="*/ 50 h 417"/>
                  <a:gd name="T46" fmla="*/ 474 w 490"/>
                  <a:gd name="T47" fmla="*/ 64 h 417"/>
                  <a:gd name="T48" fmla="*/ 480 w 490"/>
                  <a:gd name="T49" fmla="*/ 84 h 417"/>
                  <a:gd name="T50" fmla="*/ 490 w 490"/>
                  <a:gd name="T51" fmla="*/ 107 h 417"/>
                  <a:gd name="T52" fmla="*/ 478 w 490"/>
                  <a:gd name="T53" fmla="*/ 128 h 417"/>
                  <a:gd name="T54" fmla="*/ 480 w 490"/>
                  <a:gd name="T55" fmla="*/ 153 h 417"/>
                  <a:gd name="T56" fmla="*/ 481 w 490"/>
                  <a:gd name="T57" fmla="*/ 170 h 417"/>
                  <a:gd name="T58" fmla="*/ 483 w 490"/>
                  <a:gd name="T59" fmla="*/ 181 h 417"/>
                  <a:gd name="T60" fmla="*/ 464 w 490"/>
                  <a:gd name="T61" fmla="*/ 199 h 417"/>
                  <a:gd name="T62" fmla="*/ 464 w 490"/>
                  <a:gd name="T63" fmla="*/ 218 h 417"/>
                  <a:gd name="T64" fmla="*/ 460 w 490"/>
                  <a:gd name="T65" fmla="*/ 238 h 417"/>
                  <a:gd name="T66" fmla="*/ 453 w 490"/>
                  <a:gd name="T67" fmla="*/ 254 h 417"/>
                  <a:gd name="T68" fmla="*/ 370 w 490"/>
                  <a:gd name="T69" fmla="*/ 284 h 417"/>
                  <a:gd name="T70" fmla="*/ 354 w 490"/>
                  <a:gd name="T71" fmla="*/ 316 h 417"/>
                  <a:gd name="T72" fmla="*/ 336 w 490"/>
                  <a:gd name="T73" fmla="*/ 316 h 417"/>
                  <a:gd name="T74" fmla="*/ 308 w 490"/>
                  <a:gd name="T75" fmla="*/ 317 h 417"/>
                  <a:gd name="T76" fmla="*/ 288 w 490"/>
                  <a:gd name="T77" fmla="*/ 337 h 417"/>
                  <a:gd name="T78" fmla="*/ 283 w 490"/>
                  <a:gd name="T79" fmla="*/ 349 h 417"/>
                  <a:gd name="T80" fmla="*/ 212 w 490"/>
                  <a:gd name="T81" fmla="*/ 413 h 417"/>
                  <a:gd name="T82" fmla="*/ 186 w 490"/>
                  <a:gd name="T83" fmla="*/ 410 h 417"/>
                  <a:gd name="T84" fmla="*/ 168 w 490"/>
                  <a:gd name="T85" fmla="*/ 408 h 417"/>
                  <a:gd name="T86" fmla="*/ 145 w 490"/>
                  <a:gd name="T87" fmla="*/ 406 h 417"/>
                  <a:gd name="T88" fmla="*/ 124 w 490"/>
                  <a:gd name="T89" fmla="*/ 397 h 417"/>
                  <a:gd name="T90" fmla="*/ 113 w 490"/>
                  <a:gd name="T91" fmla="*/ 394 h 417"/>
                  <a:gd name="T92" fmla="*/ 56 w 490"/>
                  <a:gd name="T93" fmla="*/ 402 h 417"/>
                  <a:gd name="T94" fmla="*/ 42 w 490"/>
                  <a:gd name="T95" fmla="*/ 383 h 417"/>
                  <a:gd name="T96" fmla="*/ 15 w 490"/>
                  <a:gd name="T97" fmla="*/ 362 h 417"/>
                  <a:gd name="T98" fmla="*/ 0 w 490"/>
                  <a:gd name="T99" fmla="*/ 342 h 417"/>
                  <a:gd name="T100" fmla="*/ 92 w 490"/>
                  <a:gd name="T101" fmla="*/ 188 h 417"/>
                  <a:gd name="T102" fmla="*/ 90 w 490"/>
                  <a:gd name="T103" fmla="*/ 162 h 417"/>
                  <a:gd name="T104" fmla="*/ 90 w 490"/>
                  <a:gd name="T105" fmla="*/ 123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90" h="417">
                    <a:moveTo>
                      <a:pt x="90" y="121"/>
                    </a:moveTo>
                    <a:lnTo>
                      <a:pt x="93" y="123"/>
                    </a:lnTo>
                    <a:lnTo>
                      <a:pt x="97" y="123"/>
                    </a:lnTo>
                    <a:lnTo>
                      <a:pt x="104" y="126"/>
                    </a:lnTo>
                    <a:lnTo>
                      <a:pt x="106" y="128"/>
                    </a:lnTo>
                    <a:lnTo>
                      <a:pt x="108" y="135"/>
                    </a:lnTo>
                    <a:lnTo>
                      <a:pt x="108" y="138"/>
                    </a:lnTo>
                    <a:lnTo>
                      <a:pt x="111" y="138"/>
                    </a:lnTo>
                    <a:lnTo>
                      <a:pt x="115" y="135"/>
                    </a:lnTo>
                    <a:lnTo>
                      <a:pt x="122" y="133"/>
                    </a:lnTo>
                    <a:lnTo>
                      <a:pt x="127" y="133"/>
                    </a:lnTo>
                    <a:lnTo>
                      <a:pt x="131" y="130"/>
                    </a:lnTo>
                    <a:lnTo>
                      <a:pt x="141" y="126"/>
                    </a:lnTo>
                    <a:lnTo>
                      <a:pt x="143" y="128"/>
                    </a:lnTo>
                    <a:lnTo>
                      <a:pt x="143" y="135"/>
                    </a:lnTo>
                    <a:lnTo>
                      <a:pt x="147" y="138"/>
                    </a:lnTo>
                    <a:lnTo>
                      <a:pt x="147" y="146"/>
                    </a:lnTo>
                    <a:lnTo>
                      <a:pt x="147" y="147"/>
                    </a:lnTo>
                    <a:lnTo>
                      <a:pt x="150" y="147"/>
                    </a:lnTo>
                    <a:lnTo>
                      <a:pt x="157" y="153"/>
                    </a:lnTo>
                    <a:lnTo>
                      <a:pt x="161" y="153"/>
                    </a:lnTo>
                    <a:lnTo>
                      <a:pt x="171" y="158"/>
                    </a:lnTo>
                    <a:lnTo>
                      <a:pt x="178" y="160"/>
                    </a:lnTo>
                    <a:lnTo>
                      <a:pt x="189" y="162"/>
                    </a:lnTo>
                    <a:lnTo>
                      <a:pt x="189" y="163"/>
                    </a:lnTo>
                    <a:lnTo>
                      <a:pt x="196" y="163"/>
                    </a:lnTo>
                    <a:lnTo>
                      <a:pt x="209" y="160"/>
                    </a:lnTo>
                    <a:lnTo>
                      <a:pt x="209" y="156"/>
                    </a:lnTo>
                    <a:lnTo>
                      <a:pt x="214" y="146"/>
                    </a:lnTo>
                    <a:lnTo>
                      <a:pt x="219" y="144"/>
                    </a:lnTo>
                    <a:lnTo>
                      <a:pt x="223" y="142"/>
                    </a:lnTo>
                    <a:lnTo>
                      <a:pt x="226" y="144"/>
                    </a:lnTo>
                    <a:lnTo>
                      <a:pt x="226" y="154"/>
                    </a:lnTo>
                    <a:lnTo>
                      <a:pt x="232" y="163"/>
                    </a:lnTo>
                    <a:lnTo>
                      <a:pt x="233" y="167"/>
                    </a:lnTo>
                    <a:lnTo>
                      <a:pt x="242" y="172"/>
                    </a:lnTo>
                    <a:lnTo>
                      <a:pt x="258" y="177"/>
                    </a:lnTo>
                    <a:lnTo>
                      <a:pt x="267" y="183"/>
                    </a:lnTo>
                    <a:lnTo>
                      <a:pt x="276" y="195"/>
                    </a:lnTo>
                    <a:lnTo>
                      <a:pt x="283" y="202"/>
                    </a:lnTo>
                    <a:lnTo>
                      <a:pt x="292" y="211"/>
                    </a:lnTo>
                    <a:lnTo>
                      <a:pt x="301" y="220"/>
                    </a:lnTo>
                    <a:lnTo>
                      <a:pt x="306" y="220"/>
                    </a:lnTo>
                    <a:lnTo>
                      <a:pt x="313" y="218"/>
                    </a:lnTo>
                    <a:lnTo>
                      <a:pt x="318" y="215"/>
                    </a:lnTo>
                    <a:lnTo>
                      <a:pt x="322" y="216"/>
                    </a:lnTo>
                    <a:lnTo>
                      <a:pt x="322" y="218"/>
                    </a:lnTo>
                    <a:lnTo>
                      <a:pt x="329" y="220"/>
                    </a:lnTo>
                    <a:lnTo>
                      <a:pt x="331" y="216"/>
                    </a:lnTo>
                    <a:lnTo>
                      <a:pt x="329" y="172"/>
                    </a:lnTo>
                    <a:lnTo>
                      <a:pt x="324" y="170"/>
                    </a:lnTo>
                    <a:lnTo>
                      <a:pt x="315" y="172"/>
                    </a:lnTo>
                    <a:lnTo>
                      <a:pt x="315" y="176"/>
                    </a:lnTo>
                    <a:lnTo>
                      <a:pt x="318" y="179"/>
                    </a:lnTo>
                    <a:lnTo>
                      <a:pt x="317" y="181"/>
                    </a:lnTo>
                    <a:lnTo>
                      <a:pt x="299" y="181"/>
                    </a:lnTo>
                    <a:lnTo>
                      <a:pt x="295" y="176"/>
                    </a:lnTo>
                    <a:lnTo>
                      <a:pt x="292" y="169"/>
                    </a:lnTo>
                    <a:lnTo>
                      <a:pt x="281" y="158"/>
                    </a:lnTo>
                    <a:lnTo>
                      <a:pt x="276" y="153"/>
                    </a:lnTo>
                    <a:lnTo>
                      <a:pt x="276" y="142"/>
                    </a:lnTo>
                    <a:lnTo>
                      <a:pt x="276" y="119"/>
                    </a:lnTo>
                    <a:lnTo>
                      <a:pt x="276" y="114"/>
                    </a:lnTo>
                    <a:lnTo>
                      <a:pt x="285" y="107"/>
                    </a:lnTo>
                    <a:lnTo>
                      <a:pt x="287" y="103"/>
                    </a:lnTo>
                    <a:lnTo>
                      <a:pt x="285" y="100"/>
                    </a:lnTo>
                    <a:lnTo>
                      <a:pt x="288" y="98"/>
                    </a:lnTo>
                    <a:lnTo>
                      <a:pt x="290" y="89"/>
                    </a:lnTo>
                    <a:lnTo>
                      <a:pt x="288" y="84"/>
                    </a:lnTo>
                    <a:lnTo>
                      <a:pt x="290" y="76"/>
                    </a:lnTo>
                    <a:lnTo>
                      <a:pt x="288" y="71"/>
                    </a:lnTo>
                    <a:lnTo>
                      <a:pt x="292" y="69"/>
                    </a:lnTo>
                    <a:lnTo>
                      <a:pt x="292" y="64"/>
                    </a:lnTo>
                    <a:lnTo>
                      <a:pt x="288" y="62"/>
                    </a:lnTo>
                    <a:lnTo>
                      <a:pt x="283" y="57"/>
                    </a:lnTo>
                    <a:lnTo>
                      <a:pt x="281" y="48"/>
                    </a:lnTo>
                    <a:lnTo>
                      <a:pt x="297" y="16"/>
                    </a:lnTo>
                    <a:lnTo>
                      <a:pt x="366" y="0"/>
                    </a:lnTo>
                    <a:lnTo>
                      <a:pt x="386" y="9"/>
                    </a:lnTo>
                    <a:lnTo>
                      <a:pt x="391" y="9"/>
                    </a:lnTo>
                    <a:lnTo>
                      <a:pt x="398" y="11"/>
                    </a:lnTo>
                    <a:lnTo>
                      <a:pt x="402" y="11"/>
                    </a:lnTo>
                    <a:lnTo>
                      <a:pt x="407" y="16"/>
                    </a:lnTo>
                    <a:lnTo>
                      <a:pt x="409" y="20"/>
                    </a:lnTo>
                    <a:lnTo>
                      <a:pt x="414" y="23"/>
                    </a:lnTo>
                    <a:lnTo>
                      <a:pt x="421" y="23"/>
                    </a:lnTo>
                    <a:lnTo>
                      <a:pt x="439" y="30"/>
                    </a:lnTo>
                    <a:lnTo>
                      <a:pt x="444" y="30"/>
                    </a:lnTo>
                    <a:lnTo>
                      <a:pt x="448" y="34"/>
                    </a:lnTo>
                    <a:lnTo>
                      <a:pt x="453" y="36"/>
                    </a:lnTo>
                    <a:lnTo>
                      <a:pt x="457" y="41"/>
                    </a:lnTo>
                    <a:lnTo>
                      <a:pt x="464" y="50"/>
                    </a:lnTo>
                    <a:lnTo>
                      <a:pt x="467" y="50"/>
                    </a:lnTo>
                    <a:lnTo>
                      <a:pt x="469" y="57"/>
                    </a:lnTo>
                    <a:lnTo>
                      <a:pt x="473" y="59"/>
                    </a:lnTo>
                    <a:lnTo>
                      <a:pt x="474" y="64"/>
                    </a:lnTo>
                    <a:lnTo>
                      <a:pt x="480" y="68"/>
                    </a:lnTo>
                    <a:lnTo>
                      <a:pt x="485" y="69"/>
                    </a:lnTo>
                    <a:lnTo>
                      <a:pt x="485" y="73"/>
                    </a:lnTo>
                    <a:lnTo>
                      <a:pt x="480" y="84"/>
                    </a:lnTo>
                    <a:lnTo>
                      <a:pt x="481" y="87"/>
                    </a:lnTo>
                    <a:lnTo>
                      <a:pt x="488" y="92"/>
                    </a:lnTo>
                    <a:lnTo>
                      <a:pt x="490" y="98"/>
                    </a:lnTo>
                    <a:lnTo>
                      <a:pt x="490" y="107"/>
                    </a:lnTo>
                    <a:lnTo>
                      <a:pt x="488" y="110"/>
                    </a:lnTo>
                    <a:lnTo>
                      <a:pt x="488" y="112"/>
                    </a:lnTo>
                    <a:lnTo>
                      <a:pt x="480" y="123"/>
                    </a:lnTo>
                    <a:lnTo>
                      <a:pt x="478" y="128"/>
                    </a:lnTo>
                    <a:lnTo>
                      <a:pt x="481" y="135"/>
                    </a:lnTo>
                    <a:lnTo>
                      <a:pt x="481" y="142"/>
                    </a:lnTo>
                    <a:lnTo>
                      <a:pt x="483" y="147"/>
                    </a:lnTo>
                    <a:lnTo>
                      <a:pt x="480" y="153"/>
                    </a:lnTo>
                    <a:lnTo>
                      <a:pt x="483" y="158"/>
                    </a:lnTo>
                    <a:lnTo>
                      <a:pt x="481" y="163"/>
                    </a:lnTo>
                    <a:lnTo>
                      <a:pt x="480" y="165"/>
                    </a:lnTo>
                    <a:lnTo>
                      <a:pt x="481" y="170"/>
                    </a:lnTo>
                    <a:lnTo>
                      <a:pt x="481" y="174"/>
                    </a:lnTo>
                    <a:lnTo>
                      <a:pt x="487" y="177"/>
                    </a:lnTo>
                    <a:lnTo>
                      <a:pt x="487" y="181"/>
                    </a:lnTo>
                    <a:lnTo>
                      <a:pt x="483" y="181"/>
                    </a:lnTo>
                    <a:lnTo>
                      <a:pt x="481" y="186"/>
                    </a:lnTo>
                    <a:lnTo>
                      <a:pt x="474" y="188"/>
                    </a:lnTo>
                    <a:lnTo>
                      <a:pt x="465" y="195"/>
                    </a:lnTo>
                    <a:lnTo>
                      <a:pt x="464" y="199"/>
                    </a:lnTo>
                    <a:lnTo>
                      <a:pt x="464" y="204"/>
                    </a:lnTo>
                    <a:lnTo>
                      <a:pt x="465" y="208"/>
                    </a:lnTo>
                    <a:lnTo>
                      <a:pt x="464" y="211"/>
                    </a:lnTo>
                    <a:lnTo>
                      <a:pt x="464" y="218"/>
                    </a:lnTo>
                    <a:lnTo>
                      <a:pt x="458" y="225"/>
                    </a:lnTo>
                    <a:lnTo>
                      <a:pt x="453" y="227"/>
                    </a:lnTo>
                    <a:lnTo>
                      <a:pt x="455" y="231"/>
                    </a:lnTo>
                    <a:lnTo>
                      <a:pt x="460" y="238"/>
                    </a:lnTo>
                    <a:lnTo>
                      <a:pt x="464" y="247"/>
                    </a:lnTo>
                    <a:lnTo>
                      <a:pt x="465" y="250"/>
                    </a:lnTo>
                    <a:lnTo>
                      <a:pt x="465" y="250"/>
                    </a:lnTo>
                    <a:lnTo>
                      <a:pt x="453" y="254"/>
                    </a:lnTo>
                    <a:lnTo>
                      <a:pt x="428" y="264"/>
                    </a:lnTo>
                    <a:lnTo>
                      <a:pt x="421" y="266"/>
                    </a:lnTo>
                    <a:lnTo>
                      <a:pt x="379" y="284"/>
                    </a:lnTo>
                    <a:lnTo>
                      <a:pt x="370" y="284"/>
                    </a:lnTo>
                    <a:lnTo>
                      <a:pt x="354" y="291"/>
                    </a:lnTo>
                    <a:lnTo>
                      <a:pt x="350" y="298"/>
                    </a:lnTo>
                    <a:lnTo>
                      <a:pt x="354" y="310"/>
                    </a:lnTo>
                    <a:lnTo>
                      <a:pt x="354" y="316"/>
                    </a:lnTo>
                    <a:lnTo>
                      <a:pt x="352" y="316"/>
                    </a:lnTo>
                    <a:lnTo>
                      <a:pt x="349" y="316"/>
                    </a:lnTo>
                    <a:lnTo>
                      <a:pt x="340" y="314"/>
                    </a:lnTo>
                    <a:lnTo>
                      <a:pt x="336" y="316"/>
                    </a:lnTo>
                    <a:lnTo>
                      <a:pt x="334" y="312"/>
                    </a:lnTo>
                    <a:lnTo>
                      <a:pt x="322" y="312"/>
                    </a:lnTo>
                    <a:lnTo>
                      <a:pt x="313" y="316"/>
                    </a:lnTo>
                    <a:lnTo>
                      <a:pt x="308" y="317"/>
                    </a:lnTo>
                    <a:lnTo>
                      <a:pt x="302" y="321"/>
                    </a:lnTo>
                    <a:lnTo>
                      <a:pt x="290" y="326"/>
                    </a:lnTo>
                    <a:lnTo>
                      <a:pt x="287" y="332"/>
                    </a:lnTo>
                    <a:lnTo>
                      <a:pt x="288" y="337"/>
                    </a:lnTo>
                    <a:lnTo>
                      <a:pt x="287" y="340"/>
                    </a:lnTo>
                    <a:lnTo>
                      <a:pt x="287" y="344"/>
                    </a:lnTo>
                    <a:lnTo>
                      <a:pt x="287" y="348"/>
                    </a:lnTo>
                    <a:lnTo>
                      <a:pt x="283" y="349"/>
                    </a:lnTo>
                    <a:lnTo>
                      <a:pt x="269" y="355"/>
                    </a:lnTo>
                    <a:lnTo>
                      <a:pt x="244" y="371"/>
                    </a:lnTo>
                    <a:lnTo>
                      <a:pt x="225" y="395"/>
                    </a:lnTo>
                    <a:lnTo>
                      <a:pt x="212" y="413"/>
                    </a:lnTo>
                    <a:lnTo>
                      <a:pt x="201" y="417"/>
                    </a:lnTo>
                    <a:lnTo>
                      <a:pt x="193" y="415"/>
                    </a:lnTo>
                    <a:lnTo>
                      <a:pt x="187" y="410"/>
                    </a:lnTo>
                    <a:lnTo>
                      <a:pt x="186" y="410"/>
                    </a:lnTo>
                    <a:lnTo>
                      <a:pt x="184" y="408"/>
                    </a:lnTo>
                    <a:lnTo>
                      <a:pt x="182" y="410"/>
                    </a:lnTo>
                    <a:lnTo>
                      <a:pt x="178" y="408"/>
                    </a:lnTo>
                    <a:lnTo>
                      <a:pt x="168" y="408"/>
                    </a:lnTo>
                    <a:lnTo>
                      <a:pt x="161" y="413"/>
                    </a:lnTo>
                    <a:lnTo>
                      <a:pt x="157" y="413"/>
                    </a:lnTo>
                    <a:lnTo>
                      <a:pt x="154" y="410"/>
                    </a:lnTo>
                    <a:lnTo>
                      <a:pt x="145" y="406"/>
                    </a:lnTo>
                    <a:lnTo>
                      <a:pt x="136" y="404"/>
                    </a:lnTo>
                    <a:lnTo>
                      <a:pt x="131" y="404"/>
                    </a:lnTo>
                    <a:lnTo>
                      <a:pt x="125" y="397"/>
                    </a:lnTo>
                    <a:lnTo>
                      <a:pt x="124" y="397"/>
                    </a:lnTo>
                    <a:lnTo>
                      <a:pt x="122" y="395"/>
                    </a:lnTo>
                    <a:lnTo>
                      <a:pt x="116" y="395"/>
                    </a:lnTo>
                    <a:lnTo>
                      <a:pt x="115" y="394"/>
                    </a:lnTo>
                    <a:lnTo>
                      <a:pt x="113" y="394"/>
                    </a:lnTo>
                    <a:lnTo>
                      <a:pt x="109" y="392"/>
                    </a:lnTo>
                    <a:lnTo>
                      <a:pt x="101" y="394"/>
                    </a:lnTo>
                    <a:lnTo>
                      <a:pt x="95" y="394"/>
                    </a:lnTo>
                    <a:lnTo>
                      <a:pt x="56" y="402"/>
                    </a:lnTo>
                    <a:lnTo>
                      <a:pt x="54" y="395"/>
                    </a:lnTo>
                    <a:lnTo>
                      <a:pt x="49" y="394"/>
                    </a:lnTo>
                    <a:lnTo>
                      <a:pt x="44" y="386"/>
                    </a:lnTo>
                    <a:lnTo>
                      <a:pt x="42" y="383"/>
                    </a:lnTo>
                    <a:lnTo>
                      <a:pt x="35" y="381"/>
                    </a:lnTo>
                    <a:lnTo>
                      <a:pt x="30" y="376"/>
                    </a:lnTo>
                    <a:lnTo>
                      <a:pt x="21" y="365"/>
                    </a:lnTo>
                    <a:lnTo>
                      <a:pt x="15" y="362"/>
                    </a:lnTo>
                    <a:lnTo>
                      <a:pt x="12" y="358"/>
                    </a:lnTo>
                    <a:lnTo>
                      <a:pt x="8" y="353"/>
                    </a:lnTo>
                    <a:lnTo>
                      <a:pt x="1" y="348"/>
                    </a:lnTo>
                    <a:lnTo>
                      <a:pt x="0" y="342"/>
                    </a:lnTo>
                    <a:lnTo>
                      <a:pt x="3" y="204"/>
                    </a:lnTo>
                    <a:lnTo>
                      <a:pt x="92" y="204"/>
                    </a:lnTo>
                    <a:lnTo>
                      <a:pt x="90" y="199"/>
                    </a:lnTo>
                    <a:lnTo>
                      <a:pt x="92" y="188"/>
                    </a:lnTo>
                    <a:lnTo>
                      <a:pt x="95" y="185"/>
                    </a:lnTo>
                    <a:lnTo>
                      <a:pt x="93" y="177"/>
                    </a:lnTo>
                    <a:lnTo>
                      <a:pt x="90" y="170"/>
                    </a:lnTo>
                    <a:lnTo>
                      <a:pt x="90" y="162"/>
                    </a:lnTo>
                    <a:lnTo>
                      <a:pt x="90" y="146"/>
                    </a:lnTo>
                    <a:lnTo>
                      <a:pt x="88" y="128"/>
                    </a:lnTo>
                    <a:lnTo>
                      <a:pt x="90" y="126"/>
                    </a:lnTo>
                    <a:lnTo>
                      <a:pt x="90" y="123"/>
                    </a:lnTo>
                    <a:lnTo>
                      <a:pt x="90" y="121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7" name="Freeform 47">
                <a:extLst>
                  <a:ext uri="{FF2B5EF4-FFF2-40B4-BE49-F238E27FC236}">
                    <a16:creationId xmlns:a16="http://schemas.microsoft.com/office/drawing/2014/main" id="{21DB57A4-EE55-65A9-4B41-96D95BB9D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38" y="4346576"/>
                <a:ext cx="827088" cy="812800"/>
              </a:xfrm>
              <a:custGeom>
                <a:avLst/>
                <a:gdLst>
                  <a:gd name="T0" fmla="*/ 470 w 521"/>
                  <a:gd name="T1" fmla="*/ 481 h 512"/>
                  <a:gd name="T2" fmla="*/ 447 w 521"/>
                  <a:gd name="T3" fmla="*/ 460 h 512"/>
                  <a:gd name="T4" fmla="*/ 427 w 521"/>
                  <a:gd name="T5" fmla="*/ 443 h 512"/>
                  <a:gd name="T6" fmla="*/ 516 w 521"/>
                  <a:gd name="T7" fmla="*/ 294 h 512"/>
                  <a:gd name="T8" fmla="*/ 516 w 521"/>
                  <a:gd name="T9" fmla="*/ 265 h 512"/>
                  <a:gd name="T10" fmla="*/ 516 w 521"/>
                  <a:gd name="T11" fmla="*/ 221 h 512"/>
                  <a:gd name="T12" fmla="*/ 502 w 521"/>
                  <a:gd name="T13" fmla="*/ 218 h 512"/>
                  <a:gd name="T14" fmla="*/ 482 w 521"/>
                  <a:gd name="T15" fmla="*/ 223 h 512"/>
                  <a:gd name="T16" fmla="*/ 457 w 521"/>
                  <a:gd name="T17" fmla="*/ 218 h 512"/>
                  <a:gd name="T18" fmla="*/ 445 w 521"/>
                  <a:gd name="T19" fmla="*/ 223 h 512"/>
                  <a:gd name="T20" fmla="*/ 445 w 521"/>
                  <a:gd name="T21" fmla="*/ 209 h 512"/>
                  <a:gd name="T22" fmla="*/ 443 w 521"/>
                  <a:gd name="T23" fmla="*/ 187 h 512"/>
                  <a:gd name="T24" fmla="*/ 440 w 521"/>
                  <a:gd name="T25" fmla="*/ 168 h 512"/>
                  <a:gd name="T26" fmla="*/ 431 w 521"/>
                  <a:gd name="T27" fmla="*/ 156 h 512"/>
                  <a:gd name="T28" fmla="*/ 426 w 521"/>
                  <a:gd name="T29" fmla="*/ 138 h 512"/>
                  <a:gd name="T30" fmla="*/ 426 w 521"/>
                  <a:gd name="T31" fmla="*/ 106 h 512"/>
                  <a:gd name="T32" fmla="*/ 426 w 521"/>
                  <a:gd name="T33" fmla="*/ 85 h 512"/>
                  <a:gd name="T34" fmla="*/ 427 w 521"/>
                  <a:gd name="T35" fmla="*/ 60 h 512"/>
                  <a:gd name="T36" fmla="*/ 381 w 521"/>
                  <a:gd name="T37" fmla="*/ 42 h 512"/>
                  <a:gd name="T38" fmla="*/ 328 w 521"/>
                  <a:gd name="T39" fmla="*/ 58 h 512"/>
                  <a:gd name="T40" fmla="*/ 323 w 521"/>
                  <a:gd name="T41" fmla="*/ 86 h 512"/>
                  <a:gd name="T42" fmla="*/ 266 w 521"/>
                  <a:gd name="T43" fmla="*/ 88 h 512"/>
                  <a:gd name="T44" fmla="*/ 241 w 521"/>
                  <a:gd name="T45" fmla="*/ 74 h 512"/>
                  <a:gd name="T46" fmla="*/ 229 w 521"/>
                  <a:gd name="T47" fmla="*/ 53 h 512"/>
                  <a:gd name="T48" fmla="*/ 220 w 521"/>
                  <a:gd name="T49" fmla="*/ 26 h 512"/>
                  <a:gd name="T50" fmla="*/ 217 w 521"/>
                  <a:gd name="T51" fmla="*/ 7 h 512"/>
                  <a:gd name="T52" fmla="*/ 146 w 521"/>
                  <a:gd name="T53" fmla="*/ 0 h 512"/>
                  <a:gd name="T54" fmla="*/ 100 w 521"/>
                  <a:gd name="T55" fmla="*/ 0 h 512"/>
                  <a:gd name="T56" fmla="*/ 69 w 521"/>
                  <a:gd name="T57" fmla="*/ 0 h 512"/>
                  <a:gd name="T58" fmla="*/ 50 w 521"/>
                  <a:gd name="T59" fmla="*/ 3 h 512"/>
                  <a:gd name="T60" fmla="*/ 34 w 521"/>
                  <a:gd name="T61" fmla="*/ 14 h 512"/>
                  <a:gd name="T62" fmla="*/ 62 w 521"/>
                  <a:gd name="T63" fmla="*/ 83 h 512"/>
                  <a:gd name="T64" fmla="*/ 68 w 521"/>
                  <a:gd name="T65" fmla="*/ 136 h 512"/>
                  <a:gd name="T66" fmla="*/ 89 w 521"/>
                  <a:gd name="T67" fmla="*/ 198 h 512"/>
                  <a:gd name="T68" fmla="*/ 78 w 521"/>
                  <a:gd name="T69" fmla="*/ 278 h 512"/>
                  <a:gd name="T70" fmla="*/ 32 w 521"/>
                  <a:gd name="T71" fmla="*/ 322 h 512"/>
                  <a:gd name="T72" fmla="*/ 16 w 521"/>
                  <a:gd name="T73" fmla="*/ 386 h 512"/>
                  <a:gd name="T74" fmla="*/ 2 w 521"/>
                  <a:gd name="T75" fmla="*/ 443 h 512"/>
                  <a:gd name="T76" fmla="*/ 0 w 521"/>
                  <a:gd name="T77" fmla="*/ 481 h 512"/>
                  <a:gd name="T78" fmla="*/ 15 w 521"/>
                  <a:gd name="T79" fmla="*/ 478 h 512"/>
                  <a:gd name="T80" fmla="*/ 36 w 521"/>
                  <a:gd name="T81" fmla="*/ 478 h 512"/>
                  <a:gd name="T82" fmla="*/ 61 w 521"/>
                  <a:gd name="T83" fmla="*/ 466 h 512"/>
                  <a:gd name="T84" fmla="*/ 75 w 521"/>
                  <a:gd name="T85" fmla="*/ 467 h 512"/>
                  <a:gd name="T86" fmla="*/ 82 w 521"/>
                  <a:gd name="T87" fmla="*/ 476 h 512"/>
                  <a:gd name="T88" fmla="*/ 108 w 521"/>
                  <a:gd name="T89" fmla="*/ 485 h 512"/>
                  <a:gd name="T90" fmla="*/ 275 w 521"/>
                  <a:gd name="T91" fmla="*/ 481 h 512"/>
                  <a:gd name="T92" fmla="*/ 293 w 521"/>
                  <a:gd name="T93" fmla="*/ 499 h 512"/>
                  <a:gd name="T94" fmla="*/ 314 w 521"/>
                  <a:gd name="T95" fmla="*/ 505 h 512"/>
                  <a:gd name="T96" fmla="*/ 344 w 521"/>
                  <a:gd name="T97" fmla="*/ 503 h 512"/>
                  <a:gd name="T98" fmla="*/ 356 w 521"/>
                  <a:gd name="T99" fmla="*/ 499 h 512"/>
                  <a:gd name="T100" fmla="*/ 385 w 521"/>
                  <a:gd name="T101" fmla="*/ 510 h 512"/>
                  <a:gd name="T102" fmla="*/ 397 w 521"/>
                  <a:gd name="T103" fmla="*/ 508 h 512"/>
                  <a:gd name="T104" fmla="*/ 408 w 521"/>
                  <a:gd name="T105" fmla="*/ 512 h 512"/>
                  <a:gd name="T106" fmla="*/ 482 w 521"/>
                  <a:gd name="T107" fmla="*/ 497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1" h="512">
                    <a:moveTo>
                      <a:pt x="482" y="497"/>
                    </a:moveTo>
                    <a:lnTo>
                      <a:pt x="480" y="490"/>
                    </a:lnTo>
                    <a:lnTo>
                      <a:pt x="475" y="489"/>
                    </a:lnTo>
                    <a:lnTo>
                      <a:pt x="470" y="481"/>
                    </a:lnTo>
                    <a:lnTo>
                      <a:pt x="468" y="478"/>
                    </a:lnTo>
                    <a:lnTo>
                      <a:pt x="461" y="476"/>
                    </a:lnTo>
                    <a:lnTo>
                      <a:pt x="456" y="471"/>
                    </a:lnTo>
                    <a:lnTo>
                      <a:pt x="447" y="460"/>
                    </a:lnTo>
                    <a:lnTo>
                      <a:pt x="441" y="457"/>
                    </a:lnTo>
                    <a:lnTo>
                      <a:pt x="438" y="453"/>
                    </a:lnTo>
                    <a:lnTo>
                      <a:pt x="434" y="448"/>
                    </a:lnTo>
                    <a:lnTo>
                      <a:pt x="427" y="443"/>
                    </a:lnTo>
                    <a:lnTo>
                      <a:pt x="426" y="437"/>
                    </a:lnTo>
                    <a:lnTo>
                      <a:pt x="429" y="299"/>
                    </a:lnTo>
                    <a:lnTo>
                      <a:pt x="518" y="299"/>
                    </a:lnTo>
                    <a:lnTo>
                      <a:pt x="516" y="294"/>
                    </a:lnTo>
                    <a:lnTo>
                      <a:pt x="518" y="283"/>
                    </a:lnTo>
                    <a:lnTo>
                      <a:pt x="521" y="280"/>
                    </a:lnTo>
                    <a:lnTo>
                      <a:pt x="519" y="272"/>
                    </a:lnTo>
                    <a:lnTo>
                      <a:pt x="516" y="265"/>
                    </a:lnTo>
                    <a:lnTo>
                      <a:pt x="516" y="257"/>
                    </a:lnTo>
                    <a:lnTo>
                      <a:pt x="516" y="241"/>
                    </a:lnTo>
                    <a:lnTo>
                      <a:pt x="514" y="223"/>
                    </a:lnTo>
                    <a:lnTo>
                      <a:pt x="516" y="221"/>
                    </a:lnTo>
                    <a:lnTo>
                      <a:pt x="516" y="218"/>
                    </a:lnTo>
                    <a:lnTo>
                      <a:pt x="516" y="214"/>
                    </a:lnTo>
                    <a:lnTo>
                      <a:pt x="509" y="216"/>
                    </a:lnTo>
                    <a:lnTo>
                      <a:pt x="502" y="218"/>
                    </a:lnTo>
                    <a:lnTo>
                      <a:pt x="495" y="221"/>
                    </a:lnTo>
                    <a:lnTo>
                      <a:pt x="491" y="223"/>
                    </a:lnTo>
                    <a:lnTo>
                      <a:pt x="486" y="225"/>
                    </a:lnTo>
                    <a:lnTo>
                      <a:pt x="482" y="223"/>
                    </a:lnTo>
                    <a:lnTo>
                      <a:pt x="472" y="223"/>
                    </a:lnTo>
                    <a:lnTo>
                      <a:pt x="466" y="221"/>
                    </a:lnTo>
                    <a:lnTo>
                      <a:pt x="461" y="218"/>
                    </a:lnTo>
                    <a:lnTo>
                      <a:pt x="457" y="218"/>
                    </a:lnTo>
                    <a:lnTo>
                      <a:pt x="456" y="219"/>
                    </a:lnTo>
                    <a:lnTo>
                      <a:pt x="452" y="221"/>
                    </a:lnTo>
                    <a:lnTo>
                      <a:pt x="449" y="223"/>
                    </a:lnTo>
                    <a:lnTo>
                      <a:pt x="445" y="223"/>
                    </a:lnTo>
                    <a:lnTo>
                      <a:pt x="443" y="221"/>
                    </a:lnTo>
                    <a:lnTo>
                      <a:pt x="443" y="212"/>
                    </a:lnTo>
                    <a:lnTo>
                      <a:pt x="447" y="210"/>
                    </a:lnTo>
                    <a:lnTo>
                      <a:pt x="445" y="209"/>
                    </a:lnTo>
                    <a:lnTo>
                      <a:pt x="449" y="202"/>
                    </a:lnTo>
                    <a:lnTo>
                      <a:pt x="443" y="198"/>
                    </a:lnTo>
                    <a:lnTo>
                      <a:pt x="441" y="189"/>
                    </a:lnTo>
                    <a:lnTo>
                      <a:pt x="443" y="187"/>
                    </a:lnTo>
                    <a:lnTo>
                      <a:pt x="443" y="182"/>
                    </a:lnTo>
                    <a:lnTo>
                      <a:pt x="438" y="177"/>
                    </a:lnTo>
                    <a:lnTo>
                      <a:pt x="438" y="173"/>
                    </a:lnTo>
                    <a:lnTo>
                      <a:pt x="440" y="168"/>
                    </a:lnTo>
                    <a:lnTo>
                      <a:pt x="440" y="163"/>
                    </a:lnTo>
                    <a:lnTo>
                      <a:pt x="436" y="163"/>
                    </a:lnTo>
                    <a:lnTo>
                      <a:pt x="433" y="157"/>
                    </a:lnTo>
                    <a:lnTo>
                      <a:pt x="431" y="156"/>
                    </a:lnTo>
                    <a:lnTo>
                      <a:pt x="431" y="150"/>
                    </a:lnTo>
                    <a:lnTo>
                      <a:pt x="427" y="145"/>
                    </a:lnTo>
                    <a:lnTo>
                      <a:pt x="427" y="141"/>
                    </a:lnTo>
                    <a:lnTo>
                      <a:pt x="426" y="138"/>
                    </a:lnTo>
                    <a:lnTo>
                      <a:pt x="427" y="129"/>
                    </a:lnTo>
                    <a:lnTo>
                      <a:pt x="427" y="115"/>
                    </a:lnTo>
                    <a:lnTo>
                      <a:pt x="426" y="110"/>
                    </a:lnTo>
                    <a:lnTo>
                      <a:pt x="426" y="106"/>
                    </a:lnTo>
                    <a:lnTo>
                      <a:pt x="427" y="104"/>
                    </a:lnTo>
                    <a:lnTo>
                      <a:pt x="427" y="97"/>
                    </a:lnTo>
                    <a:lnTo>
                      <a:pt x="424" y="90"/>
                    </a:lnTo>
                    <a:lnTo>
                      <a:pt x="426" y="85"/>
                    </a:lnTo>
                    <a:lnTo>
                      <a:pt x="429" y="78"/>
                    </a:lnTo>
                    <a:lnTo>
                      <a:pt x="429" y="71"/>
                    </a:lnTo>
                    <a:lnTo>
                      <a:pt x="429" y="65"/>
                    </a:lnTo>
                    <a:lnTo>
                      <a:pt x="427" y="60"/>
                    </a:lnTo>
                    <a:lnTo>
                      <a:pt x="379" y="56"/>
                    </a:lnTo>
                    <a:lnTo>
                      <a:pt x="379" y="53"/>
                    </a:lnTo>
                    <a:lnTo>
                      <a:pt x="381" y="48"/>
                    </a:lnTo>
                    <a:lnTo>
                      <a:pt x="381" y="42"/>
                    </a:lnTo>
                    <a:lnTo>
                      <a:pt x="369" y="42"/>
                    </a:lnTo>
                    <a:lnTo>
                      <a:pt x="369" y="46"/>
                    </a:lnTo>
                    <a:lnTo>
                      <a:pt x="328" y="46"/>
                    </a:lnTo>
                    <a:lnTo>
                      <a:pt x="328" y="58"/>
                    </a:lnTo>
                    <a:lnTo>
                      <a:pt x="325" y="65"/>
                    </a:lnTo>
                    <a:lnTo>
                      <a:pt x="321" y="67"/>
                    </a:lnTo>
                    <a:lnTo>
                      <a:pt x="323" y="74"/>
                    </a:lnTo>
                    <a:lnTo>
                      <a:pt x="323" y="86"/>
                    </a:lnTo>
                    <a:lnTo>
                      <a:pt x="291" y="88"/>
                    </a:lnTo>
                    <a:lnTo>
                      <a:pt x="286" y="90"/>
                    </a:lnTo>
                    <a:lnTo>
                      <a:pt x="271" y="90"/>
                    </a:lnTo>
                    <a:lnTo>
                      <a:pt x="266" y="88"/>
                    </a:lnTo>
                    <a:lnTo>
                      <a:pt x="259" y="90"/>
                    </a:lnTo>
                    <a:lnTo>
                      <a:pt x="248" y="90"/>
                    </a:lnTo>
                    <a:lnTo>
                      <a:pt x="243" y="88"/>
                    </a:lnTo>
                    <a:lnTo>
                      <a:pt x="241" y="74"/>
                    </a:lnTo>
                    <a:lnTo>
                      <a:pt x="236" y="65"/>
                    </a:lnTo>
                    <a:lnTo>
                      <a:pt x="232" y="60"/>
                    </a:lnTo>
                    <a:lnTo>
                      <a:pt x="229" y="58"/>
                    </a:lnTo>
                    <a:lnTo>
                      <a:pt x="229" y="53"/>
                    </a:lnTo>
                    <a:lnTo>
                      <a:pt x="227" y="49"/>
                    </a:lnTo>
                    <a:lnTo>
                      <a:pt x="225" y="39"/>
                    </a:lnTo>
                    <a:lnTo>
                      <a:pt x="220" y="32"/>
                    </a:lnTo>
                    <a:lnTo>
                      <a:pt x="220" y="26"/>
                    </a:lnTo>
                    <a:lnTo>
                      <a:pt x="222" y="23"/>
                    </a:lnTo>
                    <a:lnTo>
                      <a:pt x="222" y="17"/>
                    </a:lnTo>
                    <a:lnTo>
                      <a:pt x="218" y="12"/>
                    </a:lnTo>
                    <a:lnTo>
                      <a:pt x="217" y="7"/>
                    </a:lnTo>
                    <a:lnTo>
                      <a:pt x="218" y="5"/>
                    </a:lnTo>
                    <a:lnTo>
                      <a:pt x="218" y="0"/>
                    </a:lnTo>
                    <a:lnTo>
                      <a:pt x="174" y="0"/>
                    </a:lnTo>
                    <a:lnTo>
                      <a:pt x="146" y="0"/>
                    </a:lnTo>
                    <a:lnTo>
                      <a:pt x="131" y="1"/>
                    </a:lnTo>
                    <a:lnTo>
                      <a:pt x="117" y="0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82" y="0"/>
                    </a:lnTo>
                    <a:lnTo>
                      <a:pt x="75" y="0"/>
                    </a:lnTo>
                    <a:lnTo>
                      <a:pt x="69" y="0"/>
                    </a:lnTo>
                    <a:lnTo>
                      <a:pt x="62" y="1"/>
                    </a:lnTo>
                    <a:lnTo>
                      <a:pt x="55" y="3"/>
                    </a:lnTo>
                    <a:lnTo>
                      <a:pt x="54" y="3"/>
                    </a:lnTo>
                    <a:lnTo>
                      <a:pt x="50" y="3"/>
                    </a:lnTo>
                    <a:lnTo>
                      <a:pt x="48" y="7"/>
                    </a:lnTo>
                    <a:lnTo>
                      <a:pt x="48" y="7"/>
                    </a:lnTo>
                    <a:lnTo>
                      <a:pt x="46" y="7"/>
                    </a:lnTo>
                    <a:lnTo>
                      <a:pt x="34" y="14"/>
                    </a:lnTo>
                    <a:lnTo>
                      <a:pt x="39" y="19"/>
                    </a:lnTo>
                    <a:lnTo>
                      <a:pt x="39" y="24"/>
                    </a:lnTo>
                    <a:lnTo>
                      <a:pt x="62" y="49"/>
                    </a:lnTo>
                    <a:lnTo>
                      <a:pt x="62" y="83"/>
                    </a:lnTo>
                    <a:lnTo>
                      <a:pt x="75" y="99"/>
                    </a:lnTo>
                    <a:lnTo>
                      <a:pt x="73" y="117"/>
                    </a:lnTo>
                    <a:lnTo>
                      <a:pt x="61" y="133"/>
                    </a:lnTo>
                    <a:lnTo>
                      <a:pt x="68" y="136"/>
                    </a:lnTo>
                    <a:lnTo>
                      <a:pt x="68" y="152"/>
                    </a:lnTo>
                    <a:lnTo>
                      <a:pt x="75" y="161"/>
                    </a:lnTo>
                    <a:lnTo>
                      <a:pt x="75" y="173"/>
                    </a:lnTo>
                    <a:lnTo>
                      <a:pt x="89" y="198"/>
                    </a:lnTo>
                    <a:lnTo>
                      <a:pt x="89" y="205"/>
                    </a:lnTo>
                    <a:lnTo>
                      <a:pt x="94" y="210"/>
                    </a:lnTo>
                    <a:lnTo>
                      <a:pt x="94" y="248"/>
                    </a:lnTo>
                    <a:lnTo>
                      <a:pt x="78" y="278"/>
                    </a:lnTo>
                    <a:lnTo>
                      <a:pt x="73" y="278"/>
                    </a:lnTo>
                    <a:lnTo>
                      <a:pt x="55" y="292"/>
                    </a:lnTo>
                    <a:lnTo>
                      <a:pt x="54" y="303"/>
                    </a:lnTo>
                    <a:lnTo>
                      <a:pt x="32" y="322"/>
                    </a:lnTo>
                    <a:lnTo>
                      <a:pt x="30" y="336"/>
                    </a:lnTo>
                    <a:lnTo>
                      <a:pt x="27" y="340"/>
                    </a:lnTo>
                    <a:lnTo>
                      <a:pt x="27" y="372"/>
                    </a:lnTo>
                    <a:lnTo>
                      <a:pt x="16" y="386"/>
                    </a:lnTo>
                    <a:lnTo>
                      <a:pt x="15" y="402"/>
                    </a:lnTo>
                    <a:lnTo>
                      <a:pt x="4" y="414"/>
                    </a:lnTo>
                    <a:lnTo>
                      <a:pt x="4" y="430"/>
                    </a:lnTo>
                    <a:lnTo>
                      <a:pt x="2" y="443"/>
                    </a:lnTo>
                    <a:lnTo>
                      <a:pt x="2" y="464"/>
                    </a:lnTo>
                    <a:lnTo>
                      <a:pt x="0" y="476"/>
                    </a:lnTo>
                    <a:lnTo>
                      <a:pt x="0" y="481"/>
                    </a:lnTo>
                    <a:lnTo>
                      <a:pt x="0" y="481"/>
                    </a:lnTo>
                    <a:lnTo>
                      <a:pt x="7" y="481"/>
                    </a:lnTo>
                    <a:lnTo>
                      <a:pt x="9" y="483"/>
                    </a:lnTo>
                    <a:lnTo>
                      <a:pt x="13" y="483"/>
                    </a:lnTo>
                    <a:lnTo>
                      <a:pt x="15" y="478"/>
                    </a:lnTo>
                    <a:lnTo>
                      <a:pt x="16" y="476"/>
                    </a:lnTo>
                    <a:lnTo>
                      <a:pt x="27" y="478"/>
                    </a:lnTo>
                    <a:lnTo>
                      <a:pt x="32" y="481"/>
                    </a:lnTo>
                    <a:lnTo>
                      <a:pt x="36" y="478"/>
                    </a:lnTo>
                    <a:lnTo>
                      <a:pt x="38" y="473"/>
                    </a:lnTo>
                    <a:lnTo>
                      <a:pt x="50" y="464"/>
                    </a:lnTo>
                    <a:lnTo>
                      <a:pt x="55" y="464"/>
                    </a:lnTo>
                    <a:lnTo>
                      <a:pt x="61" y="466"/>
                    </a:lnTo>
                    <a:lnTo>
                      <a:pt x="62" y="467"/>
                    </a:lnTo>
                    <a:lnTo>
                      <a:pt x="66" y="466"/>
                    </a:lnTo>
                    <a:lnTo>
                      <a:pt x="69" y="464"/>
                    </a:lnTo>
                    <a:lnTo>
                      <a:pt x="75" y="467"/>
                    </a:lnTo>
                    <a:lnTo>
                      <a:pt x="75" y="469"/>
                    </a:lnTo>
                    <a:lnTo>
                      <a:pt x="80" y="471"/>
                    </a:lnTo>
                    <a:lnTo>
                      <a:pt x="78" y="476"/>
                    </a:lnTo>
                    <a:lnTo>
                      <a:pt x="82" y="476"/>
                    </a:lnTo>
                    <a:lnTo>
                      <a:pt x="91" y="485"/>
                    </a:lnTo>
                    <a:lnTo>
                      <a:pt x="100" y="489"/>
                    </a:lnTo>
                    <a:lnTo>
                      <a:pt x="107" y="485"/>
                    </a:lnTo>
                    <a:lnTo>
                      <a:pt x="108" y="485"/>
                    </a:lnTo>
                    <a:lnTo>
                      <a:pt x="114" y="481"/>
                    </a:lnTo>
                    <a:lnTo>
                      <a:pt x="117" y="481"/>
                    </a:lnTo>
                    <a:lnTo>
                      <a:pt x="121" y="483"/>
                    </a:lnTo>
                    <a:lnTo>
                      <a:pt x="275" y="481"/>
                    </a:lnTo>
                    <a:lnTo>
                      <a:pt x="277" y="483"/>
                    </a:lnTo>
                    <a:lnTo>
                      <a:pt x="282" y="492"/>
                    </a:lnTo>
                    <a:lnTo>
                      <a:pt x="286" y="496"/>
                    </a:lnTo>
                    <a:lnTo>
                      <a:pt x="293" y="499"/>
                    </a:lnTo>
                    <a:lnTo>
                      <a:pt x="302" y="501"/>
                    </a:lnTo>
                    <a:lnTo>
                      <a:pt x="309" y="499"/>
                    </a:lnTo>
                    <a:lnTo>
                      <a:pt x="312" y="501"/>
                    </a:lnTo>
                    <a:lnTo>
                      <a:pt x="314" y="505"/>
                    </a:lnTo>
                    <a:lnTo>
                      <a:pt x="319" y="506"/>
                    </a:lnTo>
                    <a:lnTo>
                      <a:pt x="326" y="503"/>
                    </a:lnTo>
                    <a:lnTo>
                      <a:pt x="333" y="501"/>
                    </a:lnTo>
                    <a:lnTo>
                      <a:pt x="344" y="503"/>
                    </a:lnTo>
                    <a:lnTo>
                      <a:pt x="349" y="503"/>
                    </a:lnTo>
                    <a:lnTo>
                      <a:pt x="349" y="497"/>
                    </a:lnTo>
                    <a:lnTo>
                      <a:pt x="353" y="499"/>
                    </a:lnTo>
                    <a:lnTo>
                      <a:pt x="356" y="499"/>
                    </a:lnTo>
                    <a:lnTo>
                      <a:pt x="365" y="508"/>
                    </a:lnTo>
                    <a:lnTo>
                      <a:pt x="372" y="512"/>
                    </a:lnTo>
                    <a:lnTo>
                      <a:pt x="381" y="512"/>
                    </a:lnTo>
                    <a:lnTo>
                      <a:pt x="385" y="510"/>
                    </a:lnTo>
                    <a:lnTo>
                      <a:pt x="385" y="506"/>
                    </a:lnTo>
                    <a:lnTo>
                      <a:pt x="390" y="506"/>
                    </a:lnTo>
                    <a:lnTo>
                      <a:pt x="394" y="506"/>
                    </a:lnTo>
                    <a:lnTo>
                      <a:pt x="397" y="508"/>
                    </a:lnTo>
                    <a:lnTo>
                      <a:pt x="401" y="508"/>
                    </a:lnTo>
                    <a:lnTo>
                      <a:pt x="403" y="510"/>
                    </a:lnTo>
                    <a:lnTo>
                      <a:pt x="406" y="510"/>
                    </a:lnTo>
                    <a:lnTo>
                      <a:pt x="408" y="512"/>
                    </a:lnTo>
                    <a:lnTo>
                      <a:pt x="411" y="512"/>
                    </a:lnTo>
                    <a:lnTo>
                      <a:pt x="415" y="512"/>
                    </a:lnTo>
                    <a:lnTo>
                      <a:pt x="418" y="512"/>
                    </a:lnTo>
                    <a:lnTo>
                      <a:pt x="482" y="49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8" name="Freeform 48">
                <a:extLst>
                  <a:ext uri="{FF2B5EF4-FFF2-40B4-BE49-F238E27FC236}">
                    <a16:creationId xmlns:a16="http://schemas.microsoft.com/office/drawing/2014/main" id="{A444573E-350E-D90F-23DC-3F88E77F3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4476" y="4992688"/>
                <a:ext cx="517525" cy="469900"/>
              </a:xfrm>
              <a:custGeom>
                <a:avLst/>
                <a:gdLst>
                  <a:gd name="T0" fmla="*/ 14 w 326"/>
                  <a:gd name="T1" fmla="*/ 94 h 296"/>
                  <a:gd name="T2" fmla="*/ 30 w 326"/>
                  <a:gd name="T3" fmla="*/ 101 h 296"/>
                  <a:gd name="T4" fmla="*/ 51 w 326"/>
                  <a:gd name="T5" fmla="*/ 98 h 296"/>
                  <a:gd name="T6" fmla="*/ 56 w 326"/>
                  <a:gd name="T7" fmla="*/ 98 h 296"/>
                  <a:gd name="T8" fmla="*/ 81 w 326"/>
                  <a:gd name="T9" fmla="*/ 101 h 296"/>
                  <a:gd name="T10" fmla="*/ 138 w 326"/>
                  <a:gd name="T11" fmla="*/ 43 h 296"/>
                  <a:gd name="T12" fmla="*/ 156 w 326"/>
                  <a:gd name="T13" fmla="*/ 32 h 296"/>
                  <a:gd name="T14" fmla="*/ 156 w 326"/>
                  <a:gd name="T15" fmla="*/ 20 h 296"/>
                  <a:gd name="T16" fmla="*/ 177 w 326"/>
                  <a:gd name="T17" fmla="*/ 5 h 296"/>
                  <a:gd name="T18" fmla="*/ 203 w 326"/>
                  <a:gd name="T19" fmla="*/ 0 h 296"/>
                  <a:gd name="T20" fmla="*/ 218 w 326"/>
                  <a:gd name="T21" fmla="*/ 4 h 296"/>
                  <a:gd name="T22" fmla="*/ 223 w 326"/>
                  <a:gd name="T23" fmla="*/ 18 h 296"/>
                  <a:gd name="T24" fmla="*/ 246 w 326"/>
                  <a:gd name="T25" fmla="*/ 23 h 296"/>
                  <a:gd name="T26" fmla="*/ 265 w 326"/>
                  <a:gd name="T27" fmla="*/ 21 h 296"/>
                  <a:gd name="T28" fmla="*/ 292 w 326"/>
                  <a:gd name="T29" fmla="*/ 39 h 296"/>
                  <a:gd name="T30" fmla="*/ 317 w 326"/>
                  <a:gd name="T31" fmla="*/ 51 h 296"/>
                  <a:gd name="T32" fmla="*/ 322 w 326"/>
                  <a:gd name="T33" fmla="*/ 66 h 296"/>
                  <a:gd name="T34" fmla="*/ 322 w 326"/>
                  <a:gd name="T35" fmla="*/ 83 h 296"/>
                  <a:gd name="T36" fmla="*/ 318 w 326"/>
                  <a:gd name="T37" fmla="*/ 106 h 296"/>
                  <a:gd name="T38" fmla="*/ 324 w 326"/>
                  <a:gd name="T39" fmla="*/ 115 h 296"/>
                  <a:gd name="T40" fmla="*/ 315 w 326"/>
                  <a:gd name="T41" fmla="*/ 133 h 296"/>
                  <a:gd name="T42" fmla="*/ 308 w 326"/>
                  <a:gd name="T43" fmla="*/ 149 h 296"/>
                  <a:gd name="T44" fmla="*/ 313 w 326"/>
                  <a:gd name="T45" fmla="*/ 165 h 296"/>
                  <a:gd name="T46" fmla="*/ 320 w 326"/>
                  <a:gd name="T47" fmla="*/ 183 h 296"/>
                  <a:gd name="T48" fmla="*/ 304 w 326"/>
                  <a:gd name="T49" fmla="*/ 202 h 296"/>
                  <a:gd name="T50" fmla="*/ 299 w 326"/>
                  <a:gd name="T51" fmla="*/ 214 h 296"/>
                  <a:gd name="T52" fmla="*/ 294 w 326"/>
                  <a:gd name="T53" fmla="*/ 237 h 296"/>
                  <a:gd name="T54" fmla="*/ 241 w 326"/>
                  <a:gd name="T55" fmla="*/ 291 h 296"/>
                  <a:gd name="T56" fmla="*/ 210 w 326"/>
                  <a:gd name="T57" fmla="*/ 292 h 296"/>
                  <a:gd name="T58" fmla="*/ 191 w 326"/>
                  <a:gd name="T59" fmla="*/ 285 h 296"/>
                  <a:gd name="T60" fmla="*/ 164 w 326"/>
                  <a:gd name="T61" fmla="*/ 280 h 296"/>
                  <a:gd name="T62" fmla="*/ 159 w 326"/>
                  <a:gd name="T63" fmla="*/ 268 h 296"/>
                  <a:gd name="T64" fmla="*/ 141 w 326"/>
                  <a:gd name="T65" fmla="*/ 259 h 296"/>
                  <a:gd name="T66" fmla="*/ 120 w 326"/>
                  <a:gd name="T67" fmla="*/ 257 h 296"/>
                  <a:gd name="T68" fmla="*/ 99 w 326"/>
                  <a:gd name="T69" fmla="*/ 243 h 296"/>
                  <a:gd name="T70" fmla="*/ 94 w 326"/>
                  <a:gd name="T71" fmla="*/ 220 h 296"/>
                  <a:gd name="T72" fmla="*/ 83 w 326"/>
                  <a:gd name="T73" fmla="*/ 207 h 296"/>
                  <a:gd name="T74" fmla="*/ 81 w 326"/>
                  <a:gd name="T75" fmla="*/ 198 h 296"/>
                  <a:gd name="T76" fmla="*/ 65 w 326"/>
                  <a:gd name="T77" fmla="*/ 186 h 296"/>
                  <a:gd name="T78" fmla="*/ 42 w 326"/>
                  <a:gd name="T79" fmla="*/ 156 h 296"/>
                  <a:gd name="T80" fmla="*/ 33 w 326"/>
                  <a:gd name="T81" fmla="*/ 147 h 296"/>
                  <a:gd name="T82" fmla="*/ 23 w 326"/>
                  <a:gd name="T83" fmla="*/ 129 h 296"/>
                  <a:gd name="T84" fmla="*/ 17 w 326"/>
                  <a:gd name="T85" fmla="*/ 119 h 296"/>
                  <a:gd name="T86" fmla="*/ 3 w 326"/>
                  <a:gd name="T87" fmla="*/ 106 h 296"/>
                  <a:gd name="T88" fmla="*/ 3 w 326"/>
                  <a:gd name="T89" fmla="*/ 96 h 296"/>
                  <a:gd name="T90" fmla="*/ 0 w 326"/>
                  <a:gd name="T91" fmla="*/ 9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26" h="296">
                    <a:moveTo>
                      <a:pt x="0" y="92"/>
                    </a:moveTo>
                    <a:lnTo>
                      <a:pt x="5" y="92"/>
                    </a:lnTo>
                    <a:lnTo>
                      <a:pt x="14" y="94"/>
                    </a:lnTo>
                    <a:lnTo>
                      <a:pt x="23" y="98"/>
                    </a:lnTo>
                    <a:lnTo>
                      <a:pt x="26" y="101"/>
                    </a:lnTo>
                    <a:lnTo>
                      <a:pt x="30" y="101"/>
                    </a:lnTo>
                    <a:lnTo>
                      <a:pt x="37" y="96"/>
                    </a:lnTo>
                    <a:lnTo>
                      <a:pt x="47" y="96"/>
                    </a:lnTo>
                    <a:lnTo>
                      <a:pt x="51" y="98"/>
                    </a:lnTo>
                    <a:lnTo>
                      <a:pt x="53" y="96"/>
                    </a:lnTo>
                    <a:lnTo>
                      <a:pt x="55" y="98"/>
                    </a:lnTo>
                    <a:lnTo>
                      <a:pt x="56" y="98"/>
                    </a:lnTo>
                    <a:lnTo>
                      <a:pt x="62" y="103"/>
                    </a:lnTo>
                    <a:lnTo>
                      <a:pt x="70" y="105"/>
                    </a:lnTo>
                    <a:lnTo>
                      <a:pt x="81" y="101"/>
                    </a:lnTo>
                    <a:lnTo>
                      <a:pt x="94" y="83"/>
                    </a:lnTo>
                    <a:lnTo>
                      <a:pt x="113" y="59"/>
                    </a:lnTo>
                    <a:lnTo>
                      <a:pt x="138" y="43"/>
                    </a:lnTo>
                    <a:lnTo>
                      <a:pt x="152" y="37"/>
                    </a:lnTo>
                    <a:lnTo>
                      <a:pt x="156" y="36"/>
                    </a:lnTo>
                    <a:lnTo>
                      <a:pt x="156" y="32"/>
                    </a:lnTo>
                    <a:lnTo>
                      <a:pt x="156" y="28"/>
                    </a:lnTo>
                    <a:lnTo>
                      <a:pt x="157" y="25"/>
                    </a:lnTo>
                    <a:lnTo>
                      <a:pt x="156" y="20"/>
                    </a:lnTo>
                    <a:lnTo>
                      <a:pt x="159" y="14"/>
                    </a:lnTo>
                    <a:lnTo>
                      <a:pt x="171" y="9"/>
                    </a:lnTo>
                    <a:lnTo>
                      <a:pt x="177" y="5"/>
                    </a:lnTo>
                    <a:lnTo>
                      <a:pt x="182" y="4"/>
                    </a:lnTo>
                    <a:lnTo>
                      <a:pt x="191" y="0"/>
                    </a:lnTo>
                    <a:lnTo>
                      <a:pt x="203" y="0"/>
                    </a:lnTo>
                    <a:lnTo>
                      <a:pt x="205" y="4"/>
                    </a:lnTo>
                    <a:lnTo>
                      <a:pt x="209" y="2"/>
                    </a:lnTo>
                    <a:lnTo>
                      <a:pt x="218" y="4"/>
                    </a:lnTo>
                    <a:lnTo>
                      <a:pt x="221" y="4"/>
                    </a:lnTo>
                    <a:lnTo>
                      <a:pt x="223" y="4"/>
                    </a:lnTo>
                    <a:lnTo>
                      <a:pt x="223" y="18"/>
                    </a:lnTo>
                    <a:lnTo>
                      <a:pt x="239" y="18"/>
                    </a:lnTo>
                    <a:lnTo>
                      <a:pt x="244" y="20"/>
                    </a:lnTo>
                    <a:lnTo>
                      <a:pt x="246" y="23"/>
                    </a:lnTo>
                    <a:lnTo>
                      <a:pt x="251" y="23"/>
                    </a:lnTo>
                    <a:lnTo>
                      <a:pt x="253" y="18"/>
                    </a:lnTo>
                    <a:lnTo>
                      <a:pt x="265" y="21"/>
                    </a:lnTo>
                    <a:lnTo>
                      <a:pt x="276" y="28"/>
                    </a:lnTo>
                    <a:lnTo>
                      <a:pt x="283" y="37"/>
                    </a:lnTo>
                    <a:lnTo>
                      <a:pt x="292" y="39"/>
                    </a:lnTo>
                    <a:lnTo>
                      <a:pt x="304" y="41"/>
                    </a:lnTo>
                    <a:lnTo>
                      <a:pt x="311" y="46"/>
                    </a:lnTo>
                    <a:lnTo>
                      <a:pt x="317" y="51"/>
                    </a:lnTo>
                    <a:lnTo>
                      <a:pt x="326" y="51"/>
                    </a:lnTo>
                    <a:lnTo>
                      <a:pt x="326" y="59"/>
                    </a:lnTo>
                    <a:lnTo>
                      <a:pt x="322" y="66"/>
                    </a:lnTo>
                    <a:lnTo>
                      <a:pt x="324" y="71"/>
                    </a:lnTo>
                    <a:lnTo>
                      <a:pt x="322" y="78"/>
                    </a:lnTo>
                    <a:lnTo>
                      <a:pt x="322" y="83"/>
                    </a:lnTo>
                    <a:lnTo>
                      <a:pt x="322" y="87"/>
                    </a:lnTo>
                    <a:lnTo>
                      <a:pt x="318" y="94"/>
                    </a:lnTo>
                    <a:lnTo>
                      <a:pt x="318" y="106"/>
                    </a:lnTo>
                    <a:lnTo>
                      <a:pt x="313" y="113"/>
                    </a:lnTo>
                    <a:lnTo>
                      <a:pt x="317" y="117"/>
                    </a:lnTo>
                    <a:lnTo>
                      <a:pt x="324" y="115"/>
                    </a:lnTo>
                    <a:lnTo>
                      <a:pt x="320" y="122"/>
                    </a:lnTo>
                    <a:lnTo>
                      <a:pt x="315" y="126"/>
                    </a:lnTo>
                    <a:lnTo>
                      <a:pt x="315" y="133"/>
                    </a:lnTo>
                    <a:lnTo>
                      <a:pt x="313" y="142"/>
                    </a:lnTo>
                    <a:lnTo>
                      <a:pt x="308" y="144"/>
                    </a:lnTo>
                    <a:lnTo>
                      <a:pt x="308" y="149"/>
                    </a:lnTo>
                    <a:lnTo>
                      <a:pt x="315" y="154"/>
                    </a:lnTo>
                    <a:lnTo>
                      <a:pt x="318" y="161"/>
                    </a:lnTo>
                    <a:lnTo>
                      <a:pt x="313" y="165"/>
                    </a:lnTo>
                    <a:lnTo>
                      <a:pt x="313" y="174"/>
                    </a:lnTo>
                    <a:lnTo>
                      <a:pt x="318" y="177"/>
                    </a:lnTo>
                    <a:lnTo>
                      <a:pt x="320" y="183"/>
                    </a:lnTo>
                    <a:lnTo>
                      <a:pt x="315" y="190"/>
                    </a:lnTo>
                    <a:lnTo>
                      <a:pt x="306" y="197"/>
                    </a:lnTo>
                    <a:lnTo>
                      <a:pt x="304" y="202"/>
                    </a:lnTo>
                    <a:lnTo>
                      <a:pt x="297" y="202"/>
                    </a:lnTo>
                    <a:lnTo>
                      <a:pt x="297" y="207"/>
                    </a:lnTo>
                    <a:lnTo>
                      <a:pt x="299" y="214"/>
                    </a:lnTo>
                    <a:lnTo>
                      <a:pt x="295" y="220"/>
                    </a:lnTo>
                    <a:lnTo>
                      <a:pt x="295" y="232"/>
                    </a:lnTo>
                    <a:lnTo>
                      <a:pt x="294" y="237"/>
                    </a:lnTo>
                    <a:lnTo>
                      <a:pt x="294" y="250"/>
                    </a:lnTo>
                    <a:lnTo>
                      <a:pt x="248" y="296"/>
                    </a:lnTo>
                    <a:lnTo>
                      <a:pt x="241" y="291"/>
                    </a:lnTo>
                    <a:lnTo>
                      <a:pt x="226" y="287"/>
                    </a:lnTo>
                    <a:lnTo>
                      <a:pt x="216" y="289"/>
                    </a:lnTo>
                    <a:lnTo>
                      <a:pt x="210" y="292"/>
                    </a:lnTo>
                    <a:lnTo>
                      <a:pt x="207" y="289"/>
                    </a:lnTo>
                    <a:lnTo>
                      <a:pt x="198" y="285"/>
                    </a:lnTo>
                    <a:lnTo>
                      <a:pt x="191" y="285"/>
                    </a:lnTo>
                    <a:lnTo>
                      <a:pt x="189" y="280"/>
                    </a:lnTo>
                    <a:lnTo>
                      <a:pt x="179" y="278"/>
                    </a:lnTo>
                    <a:lnTo>
                      <a:pt x="164" y="280"/>
                    </a:lnTo>
                    <a:lnTo>
                      <a:pt x="161" y="276"/>
                    </a:lnTo>
                    <a:lnTo>
                      <a:pt x="159" y="273"/>
                    </a:lnTo>
                    <a:lnTo>
                      <a:pt x="159" y="268"/>
                    </a:lnTo>
                    <a:lnTo>
                      <a:pt x="156" y="264"/>
                    </a:lnTo>
                    <a:lnTo>
                      <a:pt x="150" y="264"/>
                    </a:lnTo>
                    <a:lnTo>
                      <a:pt x="141" y="259"/>
                    </a:lnTo>
                    <a:lnTo>
                      <a:pt x="136" y="259"/>
                    </a:lnTo>
                    <a:lnTo>
                      <a:pt x="125" y="255"/>
                    </a:lnTo>
                    <a:lnTo>
                      <a:pt x="120" y="257"/>
                    </a:lnTo>
                    <a:lnTo>
                      <a:pt x="111" y="255"/>
                    </a:lnTo>
                    <a:lnTo>
                      <a:pt x="108" y="248"/>
                    </a:lnTo>
                    <a:lnTo>
                      <a:pt x="99" y="243"/>
                    </a:lnTo>
                    <a:lnTo>
                      <a:pt x="97" y="236"/>
                    </a:lnTo>
                    <a:lnTo>
                      <a:pt x="95" y="229"/>
                    </a:lnTo>
                    <a:lnTo>
                      <a:pt x="94" y="220"/>
                    </a:lnTo>
                    <a:lnTo>
                      <a:pt x="97" y="214"/>
                    </a:lnTo>
                    <a:lnTo>
                      <a:pt x="90" y="209"/>
                    </a:lnTo>
                    <a:lnTo>
                      <a:pt x="83" y="207"/>
                    </a:lnTo>
                    <a:lnTo>
                      <a:pt x="81" y="202"/>
                    </a:lnTo>
                    <a:lnTo>
                      <a:pt x="81" y="200"/>
                    </a:lnTo>
                    <a:lnTo>
                      <a:pt x="81" y="198"/>
                    </a:lnTo>
                    <a:lnTo>
                      <a:pt x="76" y="195"/>
                    </a:lnTo>
                    <a:lnTo>
                      <a:pt x="72" y="191"/>
                    </a:lnTo>
                    <a:lnTo>
                      <a:pt x="65" y="186"/>
                    </a:lnTo>
                    <a:lnTo>
                      <a:pt x="56" y="181"/>
                    </a:lnTo>
                    <a:lnTo>
                      <a:pt x="44" y="163"/>
                    </a:lnTo>
                    <a:lnTo>
                      <a:pt x="42" y="156"/>
                    </a:lnTo>
                    <a:lnTo>
                      <a:pt x="40" y="156"/>
                    </a:lnTo>
                    <a:lnTo>
                      <a:pt x="35" y="152"/>
                    </a:lnTo>
                    <a:lnTo>
                      <a:pt x="33" y="147"/>
                    </a:lnTo>
                    <a:lnTo>
                      <a:pt x="30" y="144"/>
                    </a:lnTo>
                    <a:lnTo>
                      <a:pt x="28" y="136"/>
                    </a:lnTo>
                    <a:lnTo>
                      <a:pt x="23" y="129"/>
                    </a:lnTo>
                    <a:lnTo>
                      <a:pt x="21" y="128"/>
                    </a:lnTo>
                    <a:lnTo>
                      <a:pt x="19" y="122"/>
                    </a:lnTo>
                    <a:lnTo>
                      <a:pt x="17" y="119"/>
                    </a:lnTo>
                    <a:lnTo>
                      <a:pt x="12" y="115"/>
                    </a:lnTo>
                    <a:lnTo>
                      <a:pt x="8" y="112"/>
                    </a:lnTo>
                    <a:lnTo>
                      <a:pt x="3" y="106"/>
                    </a:lnTo>
                    <a:lnTo>
                      <a:pt x="1" y="103"/>
                    </a:lnTo>
                    <a:lnTo>
                      <a:pt x="1" y="99"/>
                    </a:lnTo>
                    <a:lnTo>
                      <a:pt x="3" y="96"/>
                    </a:lnTo>
                    <a:lnTo>
                      <a:pt x="1" y="92"/>
                    </a:lnTo>
                    <a:lnTo>
                      <a:pt x="1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9" name="Freeform 49">
                <a:extLst>
                  <a:ext uri="{FF2B5EF4-FFF2-40B4-BE49-F238E27FC236}">
                    <a16:creationId xmlns:a16="http://schemas.microsoft.com/office/drawing/2014/main" id="{A6AEA426-6376-E30A-6334-0C514AE338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5138738"/>
                <a:ext cx="615950" cy="615950"/>
              </a:xfrm>
              <a:custGeom>
                <a:avLst/>
                <a:gdLst>
                  <a:gd name="T0" fmla="*/ 225 w 388"/>
                  <a:gd name="T1" fmla="*/ 7 h 388"/>
                  <a:gd name="T2" fmla="*/ 232 w 388"/>
                  <a:gd name="T3" fmla="*/ 20 h 388"/>
                  <a:gd name="T4" fmla="*/ 243 w 388"/>
                  <a:gd name="T5" fmla="*/ 30 h 388"/>
                  <a:gd name="T6" fmla="*/ 252 w 388"/>
                  <a:gd name="T7" fmla="*/ 44 h 388"/>
                  <a:gd name="T8" fmla="*/ 259 w 388"/>
                  <a:gd name="T9" fmla="*/ 60 h 388"/>
                  <a:gd name="T10" fmla="*/ 268 w 388"/>
                  <a:gd name="T11" fmla="*/ 71 h 388"/>
                  <a:gd name="T12" fmla="*/ 296 w 388"/>
                  <a:gd name="T13" fmla="*/ 99 h 388"/>
                  <a:gd name="T14" fmla="*/ 305 w 388"/>
                  <a:gd name="T15" fmla="*/ 108 h 388"/>
                  <a:gd name="T16" fmla="*/ 314 w 388"/>
                  <a:gd name="T17" fmla="*/ 117 h 388"/>
                  <a:gd name="T18" fmla="*/ 319 w 388"/>
                  <a:gd name="T19" fmla="*/ 137 h 388"/>
                  <a:gd name="T20" fmla="*/ 332 w 388"/>
                  <a:gd name="T21" fmla="*/ 156 h 388"/>
                  <a:gd name="T22" fmla="*/ 349 w 388"/>
                  <a:gd name="T23" fmla="*/ 163 h 388"/>
                  <a:gd name="T24" fmla="*/ 374 w 388"/>
                  <a:gd name="T25" fmla="*/ 172 h 388"/>
                  <a:gd name="T26" fmla="*/ 383 w 388"/>
                  <a:gd name="T27" fmla="*/ 181 h 388"/>
                  <a:gd name="T28" fmla="*/ 385 w 388"/>
                  <a:gd name="T29" fmla="*/ 188 h 388"/>
                  <a:gd name="T30" fmla="*/ 369 w 388"/>
                  <a:gd name="T31" fmla="*/ 195 h 388"/>
                  <a:gd name="T32" fmla="*/ 362 w 388"/>
                  <a:gd name="T33" fmla="*/ 207 h 388"/>
                  <a:gd name="T34" fmla="*/ 344 w 388"/>
                  <a:gd name="T35" fmla="*/ 215 h 388"/>
                  <a:gd name="T36" fmla="*/ 325 w 388"/>
                  <a:gd name="T37" fmla="*/ 222 h 388"/>
                  <a:gd name="T38" fmla="*/ 314 w 388"/>
                  <a:gd name="T39" fmla="*/ 232 h 388"/>
                  <a:gd name="T40" fmla="*/ 300 w 388"/>
                  <a:gd name="T41" fmla="*/ 239 h 388"/>
                  <a:gd name="T42" fmla="*/ 282 w 388"/>
                  <a:gd name="T43" fmla="*/ 268 h 388"/>
                  <a:gd name="T44" fmla="*/ 279 w 388"/>
                  <a:gd name="T45" fmla="*/ 278 h 388"/>
                  <a:gd name="T46" fmla="*/ 266 w 388"/>
                  <a:gd name="T47" fmla="*/ 287 h 388"/>
                  <a:gd name="T48" fmla="*/ 259 w 388"/>
                  <a:gd name="T49" fmla="*/ 298 h 388"/>
                  <a:gd name="T50" fmla="*/ 238 w 388"/>
                  <a:gd name="T51" fmla="*/ 305 h 388"/>
                  <a:gd name="T52" fmla="*/ 231 w 388"/>
                  <a:gd name="T53" fmla="*/ 326 h 388"/>
                  <a:gd name="T54" fmla="*/ 231 w 388"/>
                  <a:gd name="T55" fmla="*/ 342 h 388"/>
                  <a:gd name="T56" fmla="*/ 215 w 388"/>
                  <a:gd name="T57" fmla="*/ 342 h 388"/>
                  <a:gd name="T58" fmla="*/ 188 w 388"/>
                  <a:gd name="T59" fmla="*/ 346 h 388"/>
                  <a:gd name="T60" fmla="*/ 160 w 388"/>
                  <a:gd name="T61" fmla="*/ 335 h 388"/>
                  <a:gd name="T62" fmla="*/ 137 w 388"/>
                  <a:gd name="T63" fmla="*/ 328 h 388"/>
                  <a:gd name="T64" fmla="*/ 108 w 388"/>
                  <a:gd name="T65" fmla="*/ 354 h 388"/>
                  <a:gd name="T66" fmla="*/ 85 w 388"/>
                  <a:gd name="T67" fmla="*/ 374 h 388"/>
                  <a:gd name="T68" fmla="*/ 62 w 388"/>
                  <a:gd name="T69" fmla="*/ 386 h 388"/>
                  <a:gd name="T70" fmla="*/ 34 w 388"/>
                  <a:gd name="T71" fmla="*/ 386 h 388"/>
                  <a:gd name="T72" fmla="*/ 31 w 388"/>
                  <a:gd name="T73" fmla="*/ 367 h 388"/>
                  <a:gd name="T74" fmla="*/ 15 w 388"/>
                  <a:gd name="T75" fmla="*/ 321 h 388"/>
                  <a:gd name="T76" fmla="*/ 0 w 388"/>
                  <a:gd name="T77" fmla="*/ 310 h 388"/>
                  <a:gd name="T78" fmla="*/ 45 w 388"/>
                  <a:gd name="T79" fmla="*/ 177 h 388"/>
                  <a:gd name="T80" fmla="*/ 124 w 388"/>
                  <a:gd name="T81" fmla="*/ 21 h 388"/>
                  <a:gd name="T82" fmla="*/ 144 w 388"/>
                  <a:gd name="T83" fmla="*/ 16 h 388"/>
                  <a:gd name="T84" fmla="*/ 151 w 388"/>
                  <a:gd name="T85" fmla="*/ 27 h 388"/>
                  <a:gd name="T86" fmla="*/ 151 w 388"/>
                  <a:gd name="T87" fmla="*/ 36 h 388"/>
                  <a:gd name="T88" fmla="*/ 181 w 388"/>
                  <a:gd name="T89" fmla="*/ 7 h 388"/>
                  <a:gd name="T90" fmla="*/ 197 w 388"/>
                  <a:gd name="T91" fmla="*/ 11 h 388"/>
                  <a:gd name="T92" fmla="*/ 225 w 388"/>
                  <a:gd name="T93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88" h="388">
                    <a:moveTo>
                      <a:pt x="225" y="0"/>
                    </a:moveTo>
                    <a:lnTo>
                      <a:pt x="227" y="4"/>
                    </a:lnTo>
                    <a:lnTo>
                      <a:pt x="225" y="7"/>
                    </a:lnTo>
                    <a:lnTo>
                      <a:pt x="225" y="11"/>
                    </a:lnTo>
                    <a:lnTo>
                      <a:pt x="227" y="14"/>
                    </a:lnTo>
                    <a:lnTo>
                      <a:pt x="232" y="20"/>
                    </a:lnTo>
                    <a:lnTo>
                      <a:pt x="236" y="23"/>
                    </a:lnTo>
                    <a:lnTo>
                      <a:pt x="241" y="27"/>
                    </a:lnTo>
                    <a:lnTo>
                      <a:pt x="243" y="30"/>
                    </a:lnTo>
                    <a:lnTo>
                      <a:pt x="245" y="36"/>
                    </a:lnTo>
                    <a:lnTo>
                      <a:pt x="247" y="37"/>
                    </a:lnTo>
                    <a:lnTo>
                      <a:pt x="252" y="44"/>
                    </a:lnTo>
                    <a:lnTo>
                      <a:pt x="254" y="52"/>
                    </a:lnTo>
                    <a:lnTo>
                      <a:pt x="257" y="55"/>
                    </a:lnTo>
                    <a:lnTo>
                      <a:pt x="259" y="60"/>
                    </a:lnTo>
                    <a:lnTo>
                      <a:pt x="264" y="64"/>
                    </a:lnTo>
                    <a:lnTo>
                      <a:pt x="266" y="64"/>
                    </a:lnTo>
                    <a:lnTo>
                      <a:pt x="268" y="71"/>
                    </a:lnTo>
                    <a:lnTo>
                      <a:pt x="280" y="89"/>
                    </a:lnTo>
                    <a:lnTo>
                      <a:pt x="289" y="94"/>
                    </a:lnTo>
                    <a:lnTo>
                      <a:pt x="296" y="99"/>
                    </a:lnTo>
                    <a:lnTo>
                      <a:pt x="300" y="103"/>
                    </a:lnTo>
                    <a:lnTo>
                      <a:pt x="305" y="106"/>
                    </a:lnTo>
                    <a:lnTo>
                      <a:pt x="305" y="108"/>
                    </a:lnTo>
                    <a:lnTo>
                      <a:pt x="305" y="110"/>
                    </a:lnTo>
                    <a:lnTo>
                      <a:pt x="307" y="115"/>
                    </a:lnTo>
                    <a:lnTo>
                      <a:pt x="314" y="117"/>
                    </a:lnTo>
                    <a:lnTo>
                      <a:pt x="321" y="122"/>
                    </a:lnTo>
                    <a:lnTo>
                      <a:pt x="318" y="128"/>
                    </a:lnTo>
                    <a:lnTo>
                      <a:pt x="319" y="137"/>
                    </a:lnTo>
                    <a:lnTo>
                      <a:pt x="321" y="144"/>
                    </a:lnTo>
                    <a:lnTo>
                      <a:pt x="323" y="151"/>
                    </a:lnTo>
                    <a:lnTo>
                      <a:pt x="332" y="156"/>
                    </a:lnTo>
                    <a:lnTo>
                      <a:pt x="335" y="163"/>
                    </a:lnTo>
                    <a:lnTo>
                      <a:pt x="344" y="165"/>
                    </a:lnTo>
                    <a:lnTo>
                      <a:pt x="349" y="163"/>
                    </a:lnTo>
                    <a:lnTo>
                      <a:pt x="360" y="167"/>
                    </a:lnTo>
                    <a:lnTo>
                      <a:pt x="365" y="167"/>
                    </a:lnTo>
                    <a:lnTo>
                      <a:pt x="374" y="172"/>
                    </a:lnTo>
                    <a:lnTo>
                      <a:pt x="380" y="172"/>
                    </a:lnTo>
                    <a:lnTo>
                      <a:pt x="383" y="176"/>
                    </a:lnTo>
                    <a:lnTo>
                      <a:pt x="383" y="181"/>
                    </a:lnTo>
                    <a:lnTo>
                      <a:pt x="385" y="184"/>
                    </a:lnTo>
                    <a:lnTo>
                      <a:pt x="388" y="188"/>
                    </a:lnTo>
                    <a:lnTo>
                      <a:pt x="385" y="188"/>
                    </a:lnTo>
                    <a:lnTo>
                      <a:pt x="380" y="192"/>
                    </a:lnTo>
                    <a:lnTo>
                      <a:pt x="372" y="192"/>
                    </a:lnTo>
                    <a:lnTo>
                      <a:pt x="369" y="195"/>
                    </a:lnTo>
                    <a:lnTo>
                      <a:pt x="369" y="200"/>
                    </a:lnTo>
                    <a:lnTo>
                      <a:pt x="367" y="206"/>
                    </a:lnTo>
                    <a:lnTo>
                      <a:pt x="362" y="207"/>
                    </a:lnTo>
                    <a:lnTo>
                      <a:pt x="355" y="213"/>
                    </a:lnTo>
                    <a:lnTo>
                      <a:pt x="349" y="213"/>
                    </a:lnTo>
                    <a:lnTo>
                      <a:pt x="344" y="215"/>
                    </a:lnTo>
                    <a:lnTo>
                      <a:pt x="342" y="213"/>
                    </a:lnTo>
                    <a:lnTo>
                      <a:pt x="333" y="215"/>
                    </a:lnTo>
                    <a:lnTo>
                      <a:pt x="325" y="222"/>
                    </a:lnTo>
                    <a:lnTo>
                      <a:pt x="321" y="225"/>
                    </a:lnTo>
                    <a:lnTo>
                      <a:pt x="316" y="229"/>
                    </a:lnTo>
                    <a:lnTo>
                      <a:pt x="314" y="232"/>
                    </a:lnTo>
                    <a:lnTo>
                      <a:pt x="309" y="234"/>
                    </a:lnTo>
                    <a:lnTo>
                      <a:pt x="305" y="238"/>
                    </a:lnTo>
                    <a:lnTo>
                      <a:pt x="300" y="239"/>
                    </a:lnTo>
                    <a:lnTo>
                      <a:pt x="294" y="243"/>
                    </a:lnTo>
                    <a:lnTo>
                      <a:pt x="284" y="257"/>
                    </a:lnTo>
                    <a:lnTo>
                      <a:pt x="282" y="268"/>
                    </a:lnTo>
                    <a:lnTo>
                      <a:pt x="284" y="271"/>
                    </a:lnTo>
                    <a:lnTo>
                      <a:pt x="284" y="277"/>
                    </a:lnTo>
                    <a:lnTo>
                      <a:pt x="279" y="278"/>
                    </a:lnTo>
                    <a:lnTo>
                      <a:pt x="277" y="282"/>
                    </a:lnTo>
                    <a:lnTo>
                      <a:pt x="271" y="284"/>
                    </a:lnTo>
                    <a:lnTo>
                      <a:pt x="266" y="287"/>
                    </a:lnTo>
                    <a:lnTo>
                      <a:pt x="264" y="292"/>
                    </a:lnTo>
                    <a:lnTo>
                      <a:pt x="261" y="294"/>
                    </a:lnTo>
                    <a:lnTo>
                      <a:pt x="259" y="298"/>
                    </a:lnTo>
                    <a:lnTo>
                      <a:pt x="252" y="300"/>
                    </a:lnTo>
                    <a:lnTo>
                      <a:pt x="247" y="303"/>
                    </a:lnTo>
                    <a:lnTo>
                      <a:pt x="238" y="305"/>
                    </a:lnTo>
                    <a:lnTo>
                      <a:pt x="234" y="312"/>
                    </a:lnTo>
                    <a:lnTo>
                      <a:pt x="236" y="323"/>
                    </a:lnTo>
                    <a:lnTo>
                      <a:pt x="231" y="326"/>
                    </a:lnTo>
                    <a:lnTo>
                      <a:pt x="231" y="331"/>
                    </a:lnTo>
                    <a:lnTo>
                      <a:pt x="229" y="339"/>
                    </a:lnTo>
                    <a:lnTo>
                      <a:pt x="231" y="342"/>
                    </a:lnTo>
                    <a:lnTo>
                      <a:pt x="222" y="349"/>
                    </a:lnTo>
                    <a:lnTo>
                      <a:pt x="217" y="346"/>
                    </a:lnTo>
                    <a:lnTo>
                      <a:pt x="215" y="342"/>
                    </a:lnTo>
                    <a:lnTo>
                      <a:pt x="208" y="344"/>
                    </a:lnTo>
                    <a:lnTo>
                      <a:pt x="197" y="344"/>
                    </a:lnTo>
                    <a:lnTo>
                      <a:pt x="188" y="346"/>
                    </a:lnTo>
                    <a:lnTo>
                      <a:pt x="181" y="342"/>
                    </a:lnTo>
                    <a:lnTo>
                      <a:pt x="176" y="344"/>
                    </a:lnTo>
                    <a:lnTo>
                      <a:pt x="160" y="335"/>
                    </a:lnTo>
                    <a:lnTo>
                      <a:pt x="155" y="335"/>
                    </a:lnTo>
                    <a:lnTo>
                      <a:pt x="151" y="330"/>
                    </a:lnTo>
                    <a:lnTo>
                      <a:pt x="137" y="328"/>
                    </a:lnTo>
                    <a:lnTo>
                      <a:pt x="126" y="330"/>
                    </a:lnTo>
                    <a:lnTo>
                      <a:pt x="116" y="339"/>
                    </a:lnTo>
                    <a:lnTo>
                      <a:pt x="108" y="354"/>
                    </a:lnTo>
                    <a:lnTo>
                      <a:pt x="101" y="363"/>
                    </a:lnTo>
                    <a:lnTo>
                      <a:pt x="89" y="369"/>
                    </a:lnTo>
                    <a:lnTo>
                      <a:pt x="85" y="374"/>
                    </a:lnTo>
                    <a:lnTo>
                      <a:pt x="77" y="379"/>
                    </a:lnTo>
                    <a:lnTo>
                      <a:pt x="68" y="383"/>
                    </a:lnTo>
                    <a:lnTo>
                      <a:pt x="62" y="386"/>
                    </a:lnTo>
                    <a:lnTo>
                      <a:pt x="52" y="385"/>
                    </a:lnTo>
                    <a:lnTo>
                      <a:pt x="45" y="388"/>
                    </a:lnTo>
                    <a:lnTo>
                      <a:pt x="34" y="386"/>
                    </a:lnTo>
                    <a:lnTo>
                      <a:pt x="23" y="388"/>
                    </a:lnTo>
                    <a:lnTo>
                      <a:pt x="23" y="379"/>
                    </a:lnTo>
                    <a:lnTo>
                      <a:pt x="31" y="367"/>
                    </a:lnTo>
                    <a:lnTo>
                      <a:pt x="31" y="354"/>
                    </a:lnTo>
                    <a:lnTo>
                      <a:pt x="20" y="331"/>
                    </a:lnTo>
                    <a:lnTo>
                      <a:pt x="15" y="321"/>
                    </a:lnTo>
                    <a:lnTo>
                      <a:pt x="2" y="310"/>
                    </a:lnTo>
                    <a:lnTo>
                      <a:pt x="2" y="310"/>
                    </a:lnTo>
                    <a:lnTo>
                      <a:pt x="0" y="310"/>
                    </a:lnTo>
                    <a:lnTo>
                      <a:pt x="0" y="308"/>
                    </a:lnTo>
                    <a:lnTo>
                      <a:pt x="9" y="179"/>
                    </a:lnTo>
                    <a:lnTo>
                      <a:pt x="45" y="177"/>
                    </a:lnTo>
                    <a:lnTo>
                      <a:pt x="52" y="29"/>
                    </a:lnTo>
                    <a:lnTo>
                      <a:pt x="84" y="30"/>
                    </a:lnTo>
                    <a:lnTo>
                      <a:pt x="124" y="21"/>
                    </a:lnTo>
                    <a:lnTo>
                      <a:pt x="135" y="18"/>
                    </a:lnTo>
                    <a:lnTo>
                      <a:pt x="142" y="18"/>
                    </a:lnTo>
                    <a:lnTo>
                      <a:pt x="144" y="16"/>
                    </a:lnTo>
                    <a:lnTo>
                      <a:pt x="146" y="18"/>
                    </a:lnTo>
                    <a:lnTo>
                      <a:pt x="147" y="23"/>
                    </a:lnTo>
                    <a:lnTo>
                      <a:pt x="151" y="27"/>
                    </a:lnTo>
                    <a:lnTo>
                      <a:pt x="149" y="30"/>
                    </a:lnTo>
                    <a:lnTo>
                      <a:pt x="147" y="36"/>
                    </a:lnTo>
                    <a:lnTo>
                      <a:pt x="151" y="36"/>
                    </a:lnTo>
                    <a:lnTo>
                      <a:pt x="165" y="27"/>
                    </a:lnTo>
                    <a:lnTo>
                      <a:pt x="172" y="16"/>
                    </a:lnTo>
                    <a:lnTo>
                      <a:pt x="181" y="7"/>
                    </a:lnTo>
                    <a:lnTo>
                      <a:pt x="190" y="7"/>
                    </a:lnTo>
                    <a:lnTo>
                      <a:pt x="192" y="11"/>
                    </a:lnTo>
                    <a:lnTo>
                      <a:pt x="197" y="11"/>
                    </a:lnTo>
                    <a:lnTo>
                      <a:pt x="202" y="7"/>
                    </a:lnTo>
                    <a:lnTo>
                      <a:pt x="217" y="2"/>
                    </a:lnTo>
                    <a:lnTo>
                      <a:pt x="225" y="0"/>
                    </a:lnTo>
                    <a:lnTo>
                      <a:pt x="225" y="0"/>
                    </a:lnTo>
                    <a:lnTo>
                      <a:pt x="225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0" name="Freeform 50">
                <a:extLst>
                  <a:ext uri="{FF2B5EF4-FFF2-40B4-BE49-F238E27FC236}">
                    <a16:creationId xmlns:a16="http://schemas.microsoft.com/office/drawing/2014/main" id="{20B2BB50-5AB2-A9DE-D8DB-C5285D67B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38" y="5083176"/>
                <a:ext cx="885825" cy="828675"/>
              </a:xfrm>
              <a:custGeom>
                <a:avLst/>
                <a:gdLst>
                  <a:gd name="T0" fmla="*/ 342 w 558"/>
                  <a:gd name="T1" fmla="*/ 214 h 522"/>
                  <a:gd name="T2" fmla="*/ 417 w 558"/>
                  <a:gd name="T3" fmla="*/ 65 h 522"/>
                  <a:gd name="T4" fmla="*/ 475 w 558"/>
                  <a:gd name="T5" fmla="*/ 53 h 522"/>
                  <a:gd name="T6" fmla="*/ 480 w 558"/>
                  <a:gd name="T7" fmla="*/ 58 h 522"/>
                  <a:gd name="T8" fmla="*/ 480 w 558"/>
                  <a:gd name="T9" fmla="*/ 71 h 522"/>
                  <a:gd name="T10" fmla="*/ 505 w 558"/>
                  <a:gd name="T11" fmla="*/ 51 h 522"/>
                  <a:gd name="T12" fmla="*/ 525 w 558"/>
                  <a:gd name="T13" fmla="*/ 46 h 522"/>
                  <a:gd name="T14" fmla="*/ 550 w 558"/>
                  <a:gd name="T15" fmla="*/ 37 h 522"/>
                  <a:gd name="T16" fmla="*/ 550 w 558"/>
                  <a:gd name="T17" fmla="*/ 28 h 522"/>
                  <a:gd name="T18" fmla="*/ 541 w 558"/>
                  <a:gd name="T19" fmla="*/ 25 h 522"/>
                  <a:gd name="T20" fmla="*/ 527 w 558"/>
                  <a:gd name="T21" fmla="*/ 25 h 522"/>
                  <a:gd name="T22" fmla="*/ 415 w 558"/>
                  <a:gd name="T23" fmla="*/ 48 h 522"/>
                  <a:gd name="T24" fmla="*/ 406 w 558"/>
                  <a:gd name="T25" fmla="*/ 46 h 522"/>
                  <a:gd name="T26" fmla="*/ 397 w 558"/>
                  <a:gd name="T27" fmla="*/ 44 h 522"/>
                  <a:gd name="T28" fmla="*/ 385 w 558"/>
                  <a:gd name="T29" fmla="*/ 42 h 522"/>
                  <a:gd name="T30" fmla="*/ 372 w 558"/>
                  <a:gd name="T31" fmla="*/ 48 h 522"/>
                  <a:gd name="T32" fmla="*/ 353 w 558"/>
                  <a:gd name="T33" fmla="*/ 35 h 522"/>
                  <a:gd name="T34" fmla="*/ 344 w 558"/>
                  <a:gd name="T35" fmla="*/ 39 h 522"/>
                  <a:gd name="T36" fmla="*/ 319 w 558"/>
                  <a:gd name="T37" fmla="*/ 42 h 522"/>
                  <a:gd name="T38" fmla="*/ 309 w 558"/>
                  <a:gd name="T39" fmla="*/ 35 h 522"/>
                  <a:gd name="T40" fmla="*/ 286 w 558"/>
                  <a:gd name="T41" fmla="*/ 32 h 522"/>
                  <a:gd name="T42" fmla="*/ 275 w 558"/>
                  <a:gd name="T43" fmla="*/ 17 h 522"/>
                  <a:gd name="T44" fmla="*/ 114 w 558"/>
                  <a:gd name="T45" fmla="*/ 17 h 522"/>
                  <a:gd name="T46" fmla="*/ 100 w 558"/>
                  <a:gd name="T47" fmla="*/ 25 h 522"/>
                  <a:gd name="T48" fmla="*/ 78 w 558"/>
                  <a:gd name="T49" fmla="*/ 12 h 522"/>
                  <a:gd name="T50" fmla="*/ 75 w 558"/>
                  <a:gd name="T51" fmla="*/ 3 h 522"/>
                  <a:gd name="T52" fmla="*/ 62 w 558"/>
                  <a:gd name="T53" fmla="*/ 3 h 522"/>
                  <a:gd name="T54" fmla="*/ 50 w 558"/>
                  <a:gd name="T55" fmla="*/ 0 h 522"/>
                  <a:gd name="T56" fmla="*/ 32 w 558"/>
                  <a:gd name="T57" fmla="*/ 17 h 522"/>
                  <a:gd name="T58" fmla="*/ 15 w 558"/>
                  <a:gd name="T59" fmla="*/ 14 h 522"/>
                  <a:gd name="T60" fmla="*/ 7 w 558"/>
                  <a:gd name="T61" fmla="*/ 17 h 522"/>
                  <a:gd name="T62" fmla="*/ 2 w 558"/>
                  <a:gd name="T63" fmla="*/ 51 h 522"/>
                  <a:gd name="T64" fmla="*/ 61 w 558"/>
                  <a:gd name="T65" fmla="*/ 145 h 522"/>
                  <a:gd name="T66" fmla="*/ 85 w 558"/>
                  <a:gd name="T67" fmla="*/ 205 h 522"/>
                  <a:gd name="T68" fmla="*/ 101 w 558"/>
                  <a:gd name="T69" fmla="*/ 257 h 522"/>
                  <a:gd name="T70" fmla="*/ 121 w 558"/>
                  <a:gd name="T71" fmla="*/ 342 h 522"/>
                  <a:gd name="T72" fmla="*/ 117 w 558"/>
                  <a:gd name="T73" fmla="*/ 375 h 522"/>
                  <a:gd name="T74" fmla="*/ 131 w 558"/>
                  <a:gd name="T75" fmla="*/ 405 h 522"/>
                  <a:gd name="T76" fmla="*/ 130 w 558"/>
                  <a:gd name="T77" fmla="*/ 425 h 522"/>
                  <a:gd name="T78" fmla="*/ 146 w 558"/>
                  <a:gd name="T79" fmla="*/ 459 h 522"/>
                  <a:gd name="T80" fmla="*/ 167 w 558"/>
                  <a:gd name="T81" fmla="*/ 494 h 522"/>
                  <a:gd name="T82" fmla="*/ 195 w 558"/>
                  <a:gd name="T83" fmla="*/ 499 h 522"/>
                  <a:gd name="T84" fmla="*/ 197 w 558"/>
                  <a:gd name="T85" fmla="*/ 483 h 522"/>
                  <a:gd name="T86" fmla="*/ 220 w 558"/>
                  <a:gd name="T87" fmla="*/ 489 h 522"/>
                  <a:gd name="T88" fmla="*/ 236 w 558"/>
                  <a:gd name="T89" fmla="*/ 513 h 522"/>
                  <a:gd name="T90" fmla="*/ 257 w 558"/>
                  <a:gd name="T91" fmla="*/ 519 h 522"/>
                  <a:gd name="T92" fmla="*/ 273 w 558"/>
                  <a:gd name="T93" fmla="*/ 515 h 522"/>
                  <a:gd name="T94" fmla="*/ 287 w 558"/>
                  <a:gd name="T95" fmla="*/ 522 h 522"/>
                  <a:gd name="T96" fmla="*/ 296 w 558"/>
                  <a:gd name="T97" fmla="*/ 508 h 522"/>
                  <a:gd name="T98" fmla="*/ 325 w 558"/>
                  <a:gd name="T99" fmla="*/ 496 h 522"/>
                  <a:gd name="T100" fmla="*/ 333 w 558"/>
                  <a:gd name="T101" fmla="*/ 345 h 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58" h="522">
                    <a:moveTo>
                      <a:pt x="333" y="345"/>
                    </a:moveTo>
                    <a:lnTo>
                      <a:pt x="333" y="343"/>
                    </a:lnTo>
                    <a:lnTo>
                      <a:pt x="342" y="214"/>
                    </a:lnTo>
                    <a:lnTo>
                      <a:pt x="378" y="212"/>
                    </a:lnTo>
                    <a:lnTo>
                      <a:pt x="385" y="64"/>
                    </a:lnTo>
                    <a:lnTo>
                      <a:pt x="417" y="65"/>
                    </a:lnTo>
                    <a:lnTo>
                      <a:pt x="457" y="56"/>
                    </a:lnTo>
                    <a:lnTo>
                      <a:pt x="468" y="53"/>
                    </a:lnTo>
                    <a:lnTo>
                      <a:pt x="475" y="53"/>
                    </a:lnTo>
                    <a:lnTo>
                      <a:pt x="477" y="51"/>
                    </a:lnTo>
                    <a:lnTo>
                      <a:pt x="479" y="53"/>
                    </a:lnTo>
                    <a:lnTo>
                      <a:pt x="480" y="58"/>
                    </a:lnTo>
                    <a:lnTo>
                      <a:pt x="484" y="62"/>
                    </a:lnTo>
                    <a:lnTo>
                      <a:pt x="482" y="65"/>
                    </a:lnTo>
                    <a:lnTo>
                      <a:pt x="480" y="71"/>
                    </a:lnTo>
                    <a:lnTo>
                      <a:pt x="484" y="71"/>
                    </a:lnTo>
                    <a:lnTo>
                      <a:pt x="498" y="62"/>
                    </a:lnTo>
                    <a:lnTo>
                      <a:pt x="505" y="51"/>
                    </a:lnTo>
                    <a:lnTo>
                      <a:pt x="514" y="42"/>
                    </a:lnTo>
                    <a:lnTo>
                      <a:pt x="523" y="42"/>
                    </a:lnTo>
                    <a:lnTo>
                      <a:pt x="525" y="46"/>
                    </a:lnTo>
                    <a:lnTo>
                      <a:pt x="530" y="46"/>
                    </a:lnTo>
                    <a:lnTo>
                      <a:pt x="535" y="42"/>
                    </a:lnTo>
                    <a:lnTo>
                      <a:pt x="550" y="37"/>
                    </a:lnTo>
                    <a:lnTo>
                      <a:pt x="558" y="35"/>
                    </a:lnTo>
                    <a:lnTo>
                      <a:pt x="551" y="28"/>
                    </a:lnTo>
                    <a:lnTo>
                      <a:pt x="550" y="28"/>
                    </a:lnTo>
                    <a:lnTo>
                      <a:pt x="548" y="26"/>
                    </a:lnTo>
                    <a:lnTo>
                      <a:pt x="542" y="26"/>
                    </a:lnTo>
                    <a:lnTo>
                      <a:pt x="541" y="25"/>
                    </a:lnTo>
                    <a:lnTo>
                      <a:pt x="539" y="25"/>
                    </a:lnTo>
                    <a:lnTo>
                      <a:pt x="535" y="23"/>
                    </a:lnTo>
                    <a:lnTo>
                      <a:pt x="527" y="25"/>
                    </a:lnTo>
                    <a:lnTo>
                      <a:pt x="521" y="25"/>
                    </a:lnTo>
                    <a:lnTo>
                      <a:pt x="418" y="48"/>
                    </a:lnTo>
                    <a:lnTo>
                      <a:pt x="415" y="48"/>
                    </a:lnTo>
                    <a:lnTo>
                      <a:pt x="411" y="48"/>
                    </a:lnTo>
                    <a:lnTo>
                      <a:pt x="408" y="48"/>
                    </a:lnTo>
                    <a:lnTo>
                      <a:pt x="406" y="46"/>
                    </a:lnTo>
                    <a:lnTo>
                      <a:pt x="403" y="46"/>
                    </a:lnTo>
                    <a:lnTo>
                      <a:pt x="401" y="44"/>
                    </a:lnTo>
                    <a:lnTo>
                      <a:pt x="397" y="44"/>
                    </a:lnTo>
                    <a:lnTo>
                      <a:pt x="394" y="42"/>
                    </a:lnTo>
                    <a:lnTo>
                      <a:pt x="390" y="42"/>
                    </a:lnTo>
                    <a:lnTo>
                      <a:pt x="385" y="42"/>
                    </a:lnTo>
                    <a:lnTo>
                      <a:pt x="385" y="46"/>
                    </a:lnTo>
                    <a:lnTo>
                      <a:pt x="381" y="48"/>
                    </a:lnTo>
                    <a:lnTo>
                      <a:pt x="372" y="48"/>
                    </a:lnTo>
                    <a:lnTo>
                      <a:pt x="365" y="44"/>
                    </a:lnTo>
                    <a:lnTo>
                      <a:pt x="356" y="35"/>
                    </a:lnTo>
                    <a:lnTo>
                      <a:pt x="353" y="35"/>
                    </a:lnTo>
                    <a:lnTo>
                      <a:pt x="349" y="33"/>
                    </a:lnTo>
                    <a:lnTo>
                      <a:pt x="349" y="39"/>
                    </a:lnTo>
                    <a:lnTo>
                      <a:pt x="344" y="39"/>
                    </a:lnTo>
                    <a:lnTo>
                      <a:pt x="333" y="37"/>
                    </a:lnTo>
                    <a:lnTo>
                      <a:pt x="326" y="39"/>
                    </a:lnTo>
                    <a:lnTo>
                      <a:pt x="319" y="42"/>
                    </a:lnTo>
                    <a:lnTo>
                      <a:pt x="314" y="41"/>
                    </a:lnTo>
                    <a:lnTo>
                      <a:pt x="312" y="37"/>
                    </a:lnTo>
                    <a:lnTo>
                      <a:pt x="309" y="35"/>
                    </a:lnTo>
                    <a:lnTo>
                      <a:pt x="302" y="37"/>
                    </a:lnTo>
                    <a:lnTo>
                      <a:pt x="293" y="35"/>
                    </a:lnTo>
                    <a:lnTo>
                      <a:pt x="286" y="32"/>
                    </a:lnTo>
                    <a:lnTo>
                      <a:pt x="282" y="28"/>
                    </a:lnTo>
                    <a:lnTo>
                      <a:pt x="277" y="19"/>
                    </a:lnTo>
                    <a:lnTo>
                      <a:pt x="275" y="17"/>
                    </a:lnTo>
                    <a:lnTo>
                      <a:pt x="121" y="19"/>
                    </a:lnTo>
                    <a:lnTo>
                      <a:pt x="117" y="17"/>
                    </a:lnTo>
                    <a:lnTo>
                      <a:pt x="114" y="17"/>
                    </a:lnTo>
                    <a:lnTo>
                      <a:pt x="108" y="21"/>
                    </a:lnTo>
                    <a:lnTo>
                      <a:pt x="107" y="21"/>
                    </a:lnTo>
                    <a:lnTo>
                      <a:pt x="100" y="25"/>
                    </a:lnTo>
                    <a:lnTo>
                      <a:pt x="91" y="21"/>
                    </a:lnTo>
                    <a:lnTo>
                      <a:pt x="82" y="12"/>
                    </a:lnTo>
                    <a:lnTo>
                      <a:pt x="78" y="12"/>
                    </a:lnTo>
                    <a:lnTo>
                      <a:pt x="80" y="7"/>
                    </a:lnTo>
                    <a:lnTo>
                      <a:pt x="75" y="5"/>
                    </a:lnTo>
                    <a:lnTo>
                      <a:pt x="75" y="3"/>
                    </a:lnTo>
                    <a:lnTo>
                      <a:pt x="69" y="0"/>
                    </a:lnTo>
                    <a:lnTo>
                      <a:pt x="66" y="2"/>
                    </a:lnTo>
                    <a:lnTo>
                      <a:pt x="62" y="3"/>
                    </a:lnTo>
                    <a:lnTo>
                      <a:pt x="61" y="2"/>
                    </a:lnTo>
                    <a:lnTo>
                      <a:pt x="55" y="0"/>
                    </a:lnTo>
                    <a:lnTo>
                      <a:pt x="50" y="0"/>
                    </a:lnTo>
                    <a:lnTo>
                      <a:pt x="38" y="9"/>
                    </a:lnTo>
                    <a:lnTo>
                      <a:pt x="36" y="14"/>
                    </a:lnTo>
                    <a:lnTo>
                      <a:pt x="32" y="17"/>
                    </a:lnTo>
                    <a:lnTo>
                      <a:pt x="27" y="14"/>
                    </a:lnTo>
                    <a:lnTo>
                      <a:pt x="16" y="12"/>
                    </a:lnTo>
                    <a:lnTo>
                      <a:pt x="15" y="14"/>
                    </a:lnTo>
                    <a:lnTo>
                      <a:pt x="13" y="19"/>
                    </a:lnTo>
                    <a:lnTo>
                      <a:pt x="9" y="19"/>
                    </a:lnTo>
                    <a:lnTo>
                      <a:pt x="7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51"/>
                    </a:lnTo>
                    <a:lnTo>
                      <a:pt x="27" y="78"/>
                    </a:lnTo>
                    <a:lnTo>
                      <a:pt x="41" y="99"/>
                    </a:lnTo>
                    <a:lnTo>
                      <a:pt x="61" y="145"/>
                    </a:lnTo>
                    <a:lnTo>
                      <a:pt x="64" y="165"/>
                    </a:lnTo>
                    <a:lnTo>
                      <a:pt x="85" y="193"/>
                    </a:lnTo>
                    <a:lnTo>
                      <a:pt x="85" y="205"/>
                    </a:lnTo>
                    <a:lnTo>
                      <a:pt x="107" y="237"/>
                    </a:lnTo>
                    <a:lnTo>
                      <a:pt x="107" y="253"/>
                    </a:lnTo>
                    <a:lnTo>
                      <a:pt x="101" y="257"/>
                    </a:lnTo>
                    <a:lnTo>
                      <a:pt x="107" y="278"/>
                    </a:lnTo>
                    <a:lnTo>
                      <a:pt x="108" y="310"/>
                    </a:lnTo>
                    <a:lnTo>
                      <a:pt x="121" y="342"/>
                    </a:lnTo>
                    <a:lnTo>
                      <a:pt x="119" y="359"/>
                    </a:lnTo>
                    <a:lnTo>
                      <a:pt x="123" y="372"/>
                    </a:lnTo>
                    <a:lnTo>
                      <a:pt x="117" y="375"/>
                    </a:lnTo>
                    <a:lnTo>
                      <a:pt x="123" y="381"/>
                    </a:lnTo>
                    <a:lnTo>
                      <a:pt x="124" y="404"/>
                    </a:lnTo>
                    <a:lnTo>
                      <a:pt x="131" y="405"/>
                    </a:lnTo>
                    <a:lnTo>
                      <a:pt x="135" y="413"/>
                    </a:lnTo>
                    <a:lnTo>
                      <a:pt x="130" y="416"/>
                    </a:lnTo>
                    <a:lnTo>
                      <a:pt x="130" y="425"/>
                    </a:lnTo>
                    <a:lnTo>
                      <a:pt x="137" y="432"/>
                    </a:lnTo>
                    <a:lnTo>
                      <a:pt x="137" y="448"/>
                    </a:lnTo>
                    <a:lnTo>
                      <a:pt x="146" y="459"/>
                    </a:lnTo>
                    <a:lnTo>
                      <a:pt x="155" y="478"/>
                    </a:lnTo>
                    <a:lnTo>
                      <a:pt x="165" y="489"/>
                    </a:lnTo>
                    <a:lnTo>
                      <a:pt x="167" y="494"/>
                    </a:lnTo>
                    <a:lnTo>
                      <a:pt x="181" y="505"/>
                    </a:lnTo>
                    <a:lnTo>
                      <a:pt x="188" y="501"/>
                    </a:lnTo>
                    <a:lnTo>
                      <a:pt x="195" y="499"/>
                    </a:lnTo>
                    <a:lnTo>
                      <a:pt x="195" y="494"/>
                    </a:lnTo>
                    <a:lnTo>
                      <a:pt x="193" y="490"/>
                    </a:lnTo>
                    <a:lnTo>
                      <a:pt x="197" y="483"/>
                    </a:lnTo>
                    <a:lnTo>
                      <a:pt x="208" y="480"/>
                    </a:lnTo>
                    <a:lnTo>
                      <a:pt x="213" y="489"/>
                    </a:lnTo>
                    <a:lnTo>
                      <a:pt x="220" y="489"/>
                    </a:lnTo>
                    <a:lnTo>
                      <a:pt x="217" y="498"/>
                    </a:lnTo>
                    <a:lnTo>
                      <a:pt x="224" y="510"/>
                    </a:lnTo>
                    <a:lnTo>
                      <a:pt x="236" y="513"/>
                    </a:lnTo>
                    <a:lnTo>
                      <a:pt x="247" y="517"/>
                    </a:lnTo>
                    <a:lnTo>
                      <a:pt x="252" y="517"/>
                    </a:lnTo>
                    <a:lnTo>
                      <a:pt x="257" y="519"/>
                    </a:lnTo>
                    <a:lnTo>
                      <a:pt x="264" y="519"/>
                    </a:lnTo>
                    <a:lnTo>
                      <a:pt x="268" y="515"/>
                    </a:lnTo>
                    <a:lnTo>
                      <a:pt x="273" y="515"/>
                    </a:lnTo>
                    <a:lnTo>
                      <a:pt x="277" y="522"/>
                    </a:lnTo>
                    <a:lnTo>
                      <a:pt x="282" y="521"/>
                    </a:lnTo>
                    <a:lnTo>
                      <a:pt x="287" y="522"/>
                    </a:lnTo>
                    <a:lnTo>
                      <a:pt x="287" y="513"/>
                    </a:lnTo>
                    <a:lnTo>
                      <a:pt x="291" y="510"/>
                    </a:lnTo>
                    <a:lnTo>
                      <a:pt x="296" y="508"/>
                    </a:lnTo>
                    <a:lnTo>
                      <a:pt x="300" y="499"/>
                    </a:lnTo>
                    <a:lnTo>
                      <a:pt x="312" y="494"/>
                    </a:lnTo>
                    <a:lnTo>
                      <a:pt x="325" y="496"/>
                    </a:lnTo>
                    <a:lnTo>
                      <a:pt x="328" y="496"/>
                    </a:lnTo>
                    <a:lnTo>
                      <a:pt x="335" y="345"/>
                    </a:lnTo>
                    <a:lnTo>
                      <a:pt x="333" y="34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1" name="Freeform 51">
                <a:extLst>
                  <a:ext uri="{FF2B5EF4-FFF2-40B4-BE49-F238E27FC236}">
                    <a16:creationId xmlns:a16="http://schemas.microsoft.com/office/drawing/2014/main" id="{C2B063AB-4005-5A34-0404-50DFCD2739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1763" y="4754563"/>
                <a:ext cx="504825" cy="933450"/>
              </a:xfrm>
              <a:custGeom>
                <a:avLst/>
                <a:gdLst>
                  <a:gd name="T0" fmla="*/ 93 w 318"/>
                  <a:gd name="T1" fmla="*/ 579 h 588"/>
                  <a:gd name="T2" fmla="*/ 148 w 318"/>
                  <a:gd name="T3" fmla="*/ 563 h 588"/>
                  <a:gd name="T4" fmla="*/ 169 w 318"/>
                  <a:gd name="T5" fmla="*/ 531 h 588"/>
                  <a:gd name="T6" fmla="*/ 174 w 318"/>
                  <a:gd name="T7" fmla="*/ 504 h 588"/>
                  <a:gd name="T8" fmla="*/ 186 w 318"/>
                  <a:gd name="T9" fmla="*/ 485 h 588"/>
                  <a:gd name="T10" fmla="*/ 210 w 318"/>
                  <a:gd name="T11" fmla="*/ 423 h 588"/>
                  <a:gd name="T12" fmla="*/ 243 w 318"/>
                  <a:gd name="T13" fmla="*/ 341 h 588"/>
                  <a:gd name="T14" fmla="*/ 263 w 318"/>
                  <a:gd name="T15" fmla="*/ 290 h 588"/>
                  <a:gd name="T16" fmla="*/ 277 w 318"/>
                  <a:gd name="T17" fmla="*/ 233 h 588"/>
                  <a:gd name="T18" fmla="*/ 282 w 318"/>
                  <a:gd name="T19" fmla="*/ 200 h 588"/>
                  <a:gd name="T20" fmla="*/ 287 w 318"/>
                  <a:gd name="T21" fmla="*/ 171 h 588"/>
                  <a:gd name="T22" fmla="*/ 289 w 318"/>
                  <a:gd name="T23" fmla="*/ 147 h 588"/>
                  <a:gd name="T24" fmla="*/ 307 w 318"/>
                  <a:gd name="T25" fmla="*/ 170 h 588"/>
                  <a:gd name="T26" fmla="*/ 314 w 318"/>
                  <a:gd name="T27" fmla="*/ 147 h 588"/>
                  <a:gd name="T28" fmla="*/ 307 w 318"/>
                  <a:gd name="T29" fmla="*/ 118 h 588"/>
                  <a:gd name="T30" fmla="*/ 307 w 318"/>
                  <a:gd name="T31" fmla="*/ 88 h 588"/>
                  <a:gd name="T32" fmla="*/ 298 w 318"/>
                  <a:gd name="T33" fmla="*/ 35 h 588"/>
                  <a:gd name="T34" fmla="*/ 280 w 318"/>
                  <a:gd name="T35" fmla="*/ 15 h 588"/>
                  <a:gd name="T36" fmla="*/ 273 w 318"/>
                  <a:gd name="T37" fmla="*/ 14 h 588"/>
                  <a:gd name="T38" fmla="*/ 261 w 318"/>
                  <a:gd name="T39" fmla="*/ 23 h 588"/>
                  <a:gd name="T40" fmla="*/ 257 w 318"/>
                  <a:gd name="T41" fmla="*/ 44 h 588"/>
                  <a:gd name="T42" fmla="*/ 241 w 318"/>
                  <a:gd name="T43" fmla="*/ 70 h 588"/>
                  <a:gd name="T44" fmla="*/ 229 w 318"/>
                  <a:gd name="T45" fmla="*/ 69 h 588"/>
                  <a:gd name="T46" fmla="*/ 227 w 318"/>
                  <a:gd name="T47" fmla="*/ 92 h 588"/>
                  <a:gd name="T48" fmla="*/ 213 w 318"/>
                  <a:gd name="T49" fmla="*/ 99 h 588"/>
                  <a:gd name="T50" fmla="*/ 220 w 318"/>
                  <a:gd name="T51" fmla="*/ 118 h 588"/>
                  <a:gd name="T52" fmla="*/ 197 w 318"/>
                  <a:gd name="T53" fmla="*/ 131 h 588"/>
                  <a:gd name="T54" fmla="*/ 188 w 318"/>
                  <a:gd name="T55" fmla="*/ 120 h 588"/>
                  <a:gd name="T56" fmla="*/ 186 w 318"/>
                  <a:gd name="T57" fmla="*/ 139 h 588"/>
                  <a:gd name="T58" fmla="*/ 179 w 318"/>
                  <a:gd name="T59" fmla="*/ 152 h 588"/>
                  <a:gd name="T60" fmla="*/ 174 w 318"/>
                  <a:gd name="T61" fmla="*/ 136 h 588"/>
                  <a:gd name="T62" fmla="*/ 156 w 318"/>
                  <a:gd name="T63" fmla="*/ 171 h 588"/>
                  <a:gd name="T64" fmla="*/ 144 w 318"/>
                  <a:gd name="T65" fmla="*/ 155 h 588"/>
                  <a:gd name="T66" fmla="*/ 117 w 318"/>
                  <a:gd name="T67" fmla="*/ 162 h 588"/>
                  <a:gd name="T68" fmla="*/ 114 w 318"/>
                  <a:gd name="T69" fmla="*/ 168 h 588"/>
                  <a:gd name="T70" fmla="*/ 84 w 318"/>
                  <a:gd name="T71" fmla="*/ 180 h 588"/>
                  <a:gd name="T72" fmla="*/ 64 w 318"/>
                  <a:gd name="T73" fmla="*/ 184 h 588"/>
                  <a:gd name="T74" fmla="*/ 43 w 318"/>
                  <a:gd name="T75" fmla="*/ 232 h 588"/>
                  <a:gd name="T76" fmla="*/ 47 w 318"/>
                  <a:gd name="T77" fmla="*/ 262 h 588"/>
                  <a:gd name="T78" fmla="*/ 64 w 318"/>
                  <a:gd name="T79" fmla="*/ 308 h 588"/>
                  <a:gd name="T80" fmla="*/ 57 w 318"/>
                  <a:gd name="T81" fmla="*/ 343 h 588"/>
                  <a:gd name="T82" fmla="*/ 39 w 318"/>
                  <a:gd name="T83" fmla="*/ 366 h 588"/>
                  <a:gd name="T84" fmla="*/ 15 w 318"/>
                  <a:gd name="T85" fmla="*/ 396 h 588"/>
                  <a:gd name="T86" fmla="*/ 4 w 318"/>
                  <a:gd name="T87" fmla="*/ 434 h 588"/>
                  <a:gd name="T88" fmla="*/ 15 w 318"/>
                  <a:gd name="T89" fmla="*/ 472 h 588"/>
                  <a:gd name="T90" fmla="*/ 22 w 318"/>
                  <a:gd name="T91" fmla="*/ 490 h 588"/>
                  <a:gd name="T92" fmla="*/ 13 w 318"/>
                  <a:gd name="T93" fmla="*/ 517 h 588"/>
                  <a:gd name="T94" fmla="*/ 20 w 318"/>
                  <a:gd name="T95" fmla="*/ 545 h 588"/>
                  <a:gd name="T96" fmla="*/ 39 w 318"/>
                  <a:gd name="T97" fmla="*/ 568 h 588"/>
                  <a:gd name="T98" fmla="*/ 61 w 318"/>
                  <a:gd name="T99" fmla="*/ 581 h 588"/>
                  <a:gd name="T100" fmla="*/ 68 w 318"/>
                  <a:gd name="T101" fmla="*/ 588 h 588"/>
                  <a:gd name="T102" fmla="*/ 254 w 318"/>
                  <a:gd name="T103" fmla="*/ 33 h 588"/>
                  <a:gd name="T104" fmla="*/ 247 w 318"/>
                  <a:gd name="T105" fmla="*/ 53 h 588"/>
                  <a:gd name="T106" fmla="*/ 245 w 318"/>
                  <a:gd name="T107" fmla="*/ 54 h 588"/>
                  <a:gd name="T108" fmla="*/ 240 w 318"/>
                  <a:gd name="T109" fmla="*/ 54 h 588"/>
                  <a:gd name="T110" fmla="*/ 233 w 318"/>
                  <a:gd name="T111" fmla="*/ 53 h 588"/>
                  <a:gd name="T112" fmla="*/ 289 w 318"/>
                  <a:gd name="T113" fmla="*/ 207 h 588"/>
                  <a:gd name="T114" fmla="*/ 295 w 318"/>
                  <a:gd name="T115" fmla="*/ 205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18" h="588">
                    <a:moveTo>
                      <a:pt x="68" y="588"/>
                    </a:moveTo>
                    <a:lnTo>
                      <a:pt x="73" y="584"/>
                    </a:lnTo>
                    <a:lnTo>
                      <a:pt x="82" y="584"/>
                    </a:lnTo>
                    <a:lnTo>
                      <a:pt x="93" y="579"/>
                    </a:lnTo>
                    <a:lnTo>
                      <a:pt x="100" y="568"/>
                    </a:lnTo>
                    <a:lnTo>
                      <a:pt x="126" y="566"/>
                    </a:lnTo>
                    <a:lnTo>
                      <a:pt x="133" y="568"/>
                    </a:lnTo>
                    <a:lnTo>
                      <a:pt x="148" y="563"/>
                    </a:lnTo>
                    <a:lnTo>
                      <a:pt x="151" y="556"/>
                    </a:lnTo>
                    <a:lnTo>
                      <a:pt x="158" y="554"/>
                    </a:lnTo>
                    <a:lnTo>
                      <a:pt x="162" y="542"/>
                    </a:lnTo>
                    <a:lnTo>
                      <a:pt x="169" y="531"/>
                    </a:lnTo>
                    <a:lnTo>
                      <a:pt x="169" y="524"/>
                    </a:lnTo>
                    <a:lnTo>
                      <a:pt x="178" y="519"/>
                    </a:lnTo>
                    <a:lnTo>
                      <a:pt x="176" y="506"/>
                    </a:lnTo>
                    <a:lnTo>
                      <a:pt x="174" y="504"/>
                    </a:lnTo>
                    <a:lnTo>
                      <a:pt x="179" y="501"/>
                    </a:lnTo>
                    <a:lnTo>
                      <a:pt x="183" y="487"/>
                    </a:lnTo>
                    <a:lnTo>
                      <a:pt x="183" y="485"/>
                    </a:lnTo>
                    <a:lnTo>
                      <a:pt x="186" y="485"/>
                    </a:lnTo>
                    <a:lnTo>
                      <a:pt x="194" y="472"/>
                    </a:lnTo>
                    <a:lnTo>
                      <a:pt x="199" y="444"/>
                    </a:lnTo>
                    <a:lnTo>
                      <a:pt x="204" y="428"/>
                    </a:lnTo>
                    <a:lnTo>
                      <a:pt x="210" y="423"/>
                    </a:lnTo>
                    <a:lnTo>
                      <a:pt x="213" y="405"/>
                    </a:lnTo>
                    <a:lnTo>
                      <a:pt x="225" y="386"/>
                    </a:lnTo>
                    <a:lnTo>
                      <a:pt x="236" y="352"/>
                    </a:lnTo>
                    <a:lnTo>
                      <a:pt x="243" y="341"/>
                    </a:lnTo>
                    <a:lnTo>
                      <a:pt x="243" y="325"/>
                    </a:lnTo>
                    <a:lnTo>
                      <a:pt x="252" y="311"/>
                    </a:lnTo>
                    <a:lnTo>
                      <a:pt x="252" y="304"/>
                    </a:lnTo>
                    <a:lnTo>
                      <a:pt x="263" y="290"/>
                    </a:lnTo>
                    <a:lnTo>
                      <a:pt x="266" y="267"/>
                    </a:lnTo>
                    <a:lnTo>
                      <a:pt x="272" y="249"/>
                    </a:lnTo>
                    <a:lnTo>
                      <a:pt x="275" y="246"/>
                    </a:lnTo>
                    <a:lnTo>
                      <a:pt x="277" y="233"/>
                    </a:lnTo>
                    <a:lnTo>
                      <a:pt x="273" y="228"/>
                    </a:lnTo>
                    <a:lnTo>
                      <a:pt x="275" y="217"/>
                    </a:lnTo>
                    <a:lnTo>
                      <a:pt x="284" y="205"/>
                    </a:lnTo>
                    <a:lnTo>
                      <a:pt x="282" y="200"/>
                    </a:lnTo>
                    <a:lnTo>
                      <a:pt x="289" y="193"/>
                    </a:lnTo>
                    <a:lnTo>
                      <a:pt x="287" y="182"/>
                    </a:lnTo>
                    <a:lnTo>
                      <a:pt x="284" y="178"/>
                    </a:lnTo>
                    <a:lnTo>
                      <a:pt x="287" y="171"/>
                    </a:lnTo>
                    <a:lnTo>
                      <a:pt x="287" y="162"/>
                    </a:lnTo>
                    <a:lnTo>
                      <a:pt x="284" y="159"/>
                    </a:lnTo>
                    <a:lnTo>
                      <a:pt x="284" y="150"/>
                    </a:lnTo>
                    <a:lnTo>
                      <a:pt x="289" y="147"/>
                    </a:lnTo>
                    <a:lnTo>
                      <a:pt x="293" y="150"/>
                    </a:lnTo>
                    <a:lnTo>
                      <a:pt x="295" y="159"/>
                    </a:lnTo>
                    <a:lnTo>
                      <a:pt x="302" y="168"/>
                    </a:lnTo>
                    <a:lnTo>
                      <a:pt x="307" y="170"/>
                    </a:lnTo>
                    <a:lnTo>
                      <a:pt x="310" y="164"/>
                    </a:lnTo>
                    <a:lnTo>
                      <a:pt x="310" y="157"/>
                    </a:lnTo>
                    <a:lnTo>
                      <a:pt x="312" y="154"/>
                    </a:lnTo>
                    <a:lnTo>
                      <a:pt x="314" y="147"/>
                    </a:lnTo>
                    <a:lnTo>
                      <a:pt x="318" y="145"/>
                    </a:lnTo>
                    <a:lnTo>
                      <a:pt x="316" y="136"/>
                    </a:lnTo>
                    <a:lnTo>
                      <a:pt x="309" y="125"/>
                    </a:lnTo>
                    <a:lnTo>
                      <a:pt x="307" y="118"/>
                    </a:lnTo>
                    <a:lnTo>
                      <a:pt x="309" y="113"/>
                    </a:lnTo>
                    <a:lnTo>
                      <a:pt x="309" y="104"/>
                    </a:lnTo>
                    <a:lnTo>
                      <a:pt x="305" y="93"/>
                    </a:lnTo>
                    <a:lnTo>
                      <a:pt x="307" y="88"/>
                    </a:lnTo>
                    <a:lnTo>
                      <a:pt x="309" y="69"/>
                    </a:lnTo>
                    <a:lnTo>
                      <a:pt x="302" y="60"/>
                    </a:lnTo>
                    <a:lnTo>
                      <a:pt x="302" y="42"/>
                    </a:lnTo>
                    <a:lnTo>
                      <a:pt x="298" y="35"/>
                    </a:lnTo>
                    <a:lnTo>
                      <a:pt x="295" y="37"/>
                    </a:lnTo>
                    <a:lnTo>
                      <a:pt x="287" y="26"/>
                    </a:lnTo>
                    <a:lnTo>
                      <a:pt x="287" y="19"/>
                    </a:lnTo>
                    <a:lnTo>
                      <a:pt x="280" y="15"/>
                    </a:lnTo>
                    <a:lnTo>
                      <a:pt x="284" y="7"/>
                    </a:lnTo>
                    <a:lnTo>
                      <a:pt x="280" y="0"/>
                    </a:lnTo>
                    <a:lnTo>
                      <a:pt x="270" y="8"/>
                    </a:lnTo>
                    <a:lnTo>
                      <a:pt x="273" y="14"/>
                    </a:lnTo>
                    <a:lnTo>
                      <a:pt x="266" y="19"/>
                    </a:lnTo>
                    <a:lnTo>
                      <a:pt x="259" y="14"/>
                    </a:lnTo>
                    <a:lnTo>
                      <a:pt x="254" y="14"/>
                    </a:lnTo>
                    <a:lnTo>
                      <a:pt x="261" y="23"/>
                    </a:lnTo>
                    <a:lnTo>
                      <a:pt x="261" y="28"/>
                    </a:lnTo>
                    <a:lnTo>
                      <a:pt x="266" y="33"/>
                    </a:lnTo>
                    <a:lnTo>
                      <a:pt x="266" y="37"/>
                    </a:lnTo>
                    <a:lnTo>
                      <a:pt x="257" y="44"/>
                    </a:lnTo>
                    <a:lnTo>
                      <a:pt x="257" y="56"/>
                    </a:lnTo>
                    <a:lnTo>
                      <a:pt x="254" y="65"/>
                    </a:lnTo>
                    <a:lnTo>
                      <a:pt x="248" y="63"/>
                    </a:lnTo>
                    <a:lnTo>
                      <a:pt x="241" y="70"/>
                    </a:lnTo>
                    <a:lnTo>
                      <a:pt x="240" y="77"/>
                    </a:lnTo>
                    <a:lnTo>
                      <a:pt x="234" y="81"/>
                    </a:lnTo>
                    <a:lnTo>
                      <a:pt x="229" y="77"/>
                    </a:lnTo>
                    <a:lnTo>
                      <a:pt x="229" y="69"/>
                    </a:lnTo>
                    <a:lnTo>
                      <a:pt x="225" y="67"/>
                    </a:lnTo>
                    <a:lnTo>
                      <a:pt x="220" y="72"/>
                    </a:lnTo>
                    <a:lnTo>
                      <a:pt x="218" y="83"/>
                    </a:lnTo>
                    <a:lnTo>
                      <a:pt x="227" y="92"/>
                    </a:lnTo>
                    <a:lnTo>
                      <a:pt x="229" y="95"/>
                    </a:lnTo>
                    <a:lnTo>
                      <a:pt x="227" y="97"/>
                    </a:lnTo>
                    <a:lnTo>
                      <a:pt x="222" y="97"/>
                    </a:lnTo>
                    <a:lnTo>
                      <a:pt x="213" y="99"/>
                    </a:lnTo>
                    <a:lnTo>
                      <a:pt x="215" y="106"/>
                    </a:lnTo>
                    <a:lnTo>
                      <a:pt x="224" y="108"/>
                    </a:lnTo>
                    <a:lnTo>
                      <a:pt x="224" y="113"/>
                    </a:lnTo>
                    <a:lnTo>
                      <a:pt x="220" y="118"/>
                    </a:lnTo>
                    <a:lnTo>
                      <a:pt x="217" y="113"/>
                    </a:lnTo>
                    <a:lnTo>
                      <a:pt x="211" y="115"/>
                    </a:lnTo>
                    <a:lnTo>
                      <a:pt x="210" y="120"/>
                    </a:lnTo>
                    <a:lnTo>
                      <a:pt x="197" y="131"/>
                    </a:lnTo>
                    <a:lnTo>
                      <a:pt x="197" y="120"/>
                    </a:lnTo>
                    <a:lnTo>
                      <a:pt x="199" y="118"/>
                    </a:lnTo>
                    <a:lnTo>
                      <a:pt x="197" y="113"/>
                    </a:lnTo>
                    <a:lnTo>
                      <a:pt x="188" y="120"/>
                    </a:lnTo>
                    <a:lnTo>
                      <a:pt x="194" y="124"/>
                    </a:lnTo>
                    <a:lnTo>
                      <a:pt x="192" y="127"/>
                    </a:lnTo>
                    <a:lnTo>
                      <a:pt x="183" y="132"/>
                    </a:lnTo>
                    <a:lnTo>
                      <a:pt x="186" y="139"/>
                    </a:lnTo>
                    <a:lnTo>
                      <a:pt x="192" y="141"/>
                    </a:lnTo>
                    <a:lnTo>
                      <a:pt x="192" y="147"/>
                    </a:lnTo>
                    <a:lnTo>
                      <a:pt x="186" y="148"/>
                    </a:lnTo>
                    <a:lnTo>
                      <a:pt x="179" y="152"/>
                    </a:lnTo>
                    <a:lnTo>
                      <a:pt x="178" y="147"/>
                    </a:lnTo>
                    <a:lnTo>
                      <a:pt x="174" y="147"/>
                    </a:lnTo>
                    <a:lnTo>
                      <a:pt x="178" y="139"/>
                    </a:lnTo>
                    <a:lnTo>
                      <a:pt x="174" y="136"/>
                    </a:lnTo>
                    <a:lnTo>
                      <a:pt x="160" y="150"/>
                    </a:lnTo>
                    <a:lnTo>
                      <a:pt x="156" y="161"/>
                    </a:lnTo>
                    <a:lnTo>
                      <a:pt x="158" y="166"/>
                    </a:lnTo>
                    <a:lnTo>
                      <a:pt x="156" y="171"/>
                    </a:lnTo>
                    <a:lnTo>
                      <a:pt x="151" y="170"/>
                    </a:lnTo>
                    <a:lnTo>
                      <a:pt x="148" y="166"/>
                    </a:lnTo>
                    <a:lnTo>
                      <a:pt x="148" y="155"/>
                    </a:lnTo>
                    <a:lnTo>
                      <a:pt x="144" y="155"/>
                    </a:lnTo>
                    <a:lnTo>
                      <a:pt x="135" y="166"/>
                    </a:lnTo>
                    <a:lnTo>
                      <a:pt x="124" y="157"/>
                    </a:lnTo>
                    <a:lnTo>
                      <a:pt x="123" y="161"/>
                    </a:lnTo>
                    <a:lnTo>
                      <a:pt x="117" y="162"/>
                    </a:lnTo>
                    <a:lnTo>
                      <a:pt x="119" y="173"/>
                    </a:lnTo>
                    <a:lnTo>
                      <a:pt x="116" y="173"/>
                    </a:lnTo>
                    <a:lnTo>
                      <a:pt x="114" y="173"/>
                    </a:lnTo>
                    <a:lnTo>
                      <a:pt x="114" y="168"/>
                    </a:lnTo>
                    <a:lnTo>
                      <a:pt x="109" y="166"/>
                    </a:lnTo>
                    <a:lnTo>
                      <a:pt x="105" y="171"/>
                    </a:lnTo>
                    <a:lnTo>
                      <a:pt x="100" y="166"/>
                    </a:lnTo>
                    <a:lnTo>
                      <a:pt x="84" y="180"/>
                    </a:lnTo>
                    <a:lnTo>
                      <a:pt x="80" y="180"/>
                    </a:lnTo>
                    <a:lnTo>
                      <a:pt x="77" y="178"/>
                    </a:lnTo>
                    <a:lnTo>
                      <a:pt x="68" y="178"/>
                    </a:lnTo>
                    <a:lnTo>
                      <a:pt x="64" y="184"/>
                    </a:lnTo>
                    <a:lnTo>
                      <a:pt x="66" y="196"/>
                    </a:lnTo>
                    <a:lnTo>
                      <a:pt x="54" y="216"/>
                    </a:lnTo>
                    <a:lnTo>
                      <a:pt x="54" y="219"/>
                    </a:lnTo>
                    <a:lnTo>
                      <a:pt x="43" y="232"/>
                    </a:lnTo>
                    <a:lnTo>
                      <a:pt x="43" y="237"/>
                    </a:lnTo>
                    <a:lnTo>
                      <a:pt x="48" y="242"/>
                    </a:lnTo>
                    <a:lnTo>
                      <a:pt x="43" y="251"/>
                    </a:lnTo>
                    <a:lnTo>
                      <a:pt x="47" y="262"/>
                    </a:lnTo>
                    <a:lnTo>
                      <a:pt x="47" y="272"/>
                    </a:lnTo>
                    <a:lnTo>
                      <a:pt x="57" y="295"/>
                    </a:lnTo>
                    <a:lnTo>
                      <a:pt x="57" y="301"/>
                    </a:lnTo>
                    <a:lnTo>
                      <a:pt x="64" y="308"/>
                    </a:lnTo>
                    <a:lnTo>
                      <a:pt x="64" y="311"/>
                    </a:lnTo>
                    <a:lnTo>
                      <a:pt x="59" y="318"/>
                    </a:lnTo>
                    <a:lnTo>
                      <a:pt x="61" y="324"/>
                    </a:lnTo>
                    <a:lnTo>
                      <a:pt x="57" y="343"/>
                    </a:lnTo>
                    <a:lnTo>
                      <a:pt x="48" y="348"/>
                    </a:lnTo>
                    <a:lnTo>
                      <a:pt x="47" y="359"/>
                    </a:lnTo>
                    <a:lnTo>
                      <a:pt x="41" y="359"/>
                    </a:lnTo>
                    <a:lnTo>
                      <a:pt x="39" y="366"/>
                    </a:lnTo>
                    <a:lnTo>
                      <a:pt x="32" y="373"/>
                    </a:lnTo>
                    <a:lnTo>
                      <a:pt x="31" y="387"/>
                    </a:lnTo>
                    <a:lnTo>
                      <a:pt x="25" y="395"/>
                    </a:lnTo>
                    <a:lnTo>
                      <a:pt x="15" y="396"/>
                    </a:lnTo>
                    <a:lnTo>
                      <a:pt x="11" y="400"/>
                    </a:lnTo>
                    <a:lnTo>
                      <a:pt x="11" y="414"/>
                    </a:lnTo>
                    <a:lnTo>
                      <a:pt x="2" y="423"/>
                    </a:lnTo>
                    <a:lnTo>
                      <a:pt x="4" y="434"/>
                    </a:lnTo>
                    <a:lnTo>
                      <a:pt x="0" y="441"/>
                    </a:lnTo>
                    <a:lnTo>
                      <a:pt x="2" y="446"/>
                    </a:lnTo>
                    <a:lnTo>
                      <a:pt x="4" y="458"/>
                    </a:lnTo>
                    <a:lnTo>
                      <a:pt x="15" y="472"/>
                    </a:lnTo>
                    <a:lnTo>
                      <a:pt x="13" y="481"/>
                    </a:lnTo>
                    <a:lnTo>
                      <a:pt x="15" y="487"/>
                    </a:lnTo>
                    <a:lnTo>
                      <a:pt x="20" y="490"/>
                    </a:lnTo>
                    <a:lnTo>
                      <a:pt x="22" y="490"/>
                    </a:lnTo>
                    <a:lnTo>
                      <a:pt x="20" y="492"/>
                    </a:lnTo>
                    <a:lnTo>
                      <a:pt x="11" y="494"/>
                    </a:lnTo>
                    <a:lnTo>
                      <a:pt x="11" y="503"/>
                    </a:lnTo>
                    <a:lnTo>
                      <a:pt x="13" y="517"/>
                    </a:lnTo>
                    <a:lnTo>
                      <a:pt x="11" y="534"/>
                    </a:lnTo>
                    <a:lnTo>
                      <a:pt x="15" y="538"/>
                    </a:lnTo>
                    <a:lnTo>
                      <a:pt x="15" y="543"/>
                    </a:lnTo>
                    <a:lnTo>
                      <a:pt x="20" y="545"/>
                    </a:lnTo>
                    <a:lnTo>
                      <a:pt x="25" y="554"/>
                    </a:lnTo>
                    <a:lnTo>
                      <a:pt x="31" y="556"/>
                    </a:lnTo>
                    <a:lnTo>
                      <a:pt x="34" y="563"/>
                    </a:lnTo>
                    <a:lnTo>
                      <a:pt x="39" y="568"/>
                    </a:lnTo>
                    <a:lnTo>
                      <a:pt x="45" y="566"/>
                    </a:lnTo>
                    <a:lnTo>
                      <a:pt x="47" y="570"/>
                    </a:lnTo>
                    <a:lnTo>
                      <a:pt x="54" y="572"/>
                    </a:lnTo>
                    <a:lnTo>
                      <a:pt x="61" y="581"/>
                    </a:lnTo>
                    <a:lnTo>
                      <a:pt x="66" y="581"/>
                    </a:lnTo>
                    <a:lnTo>
                      <a:pt x="66" y="584"/>
                    </a:lnTo>
                    <a:lnTo>
                      <a:pt x="68" y="588"/>
                    </a:lnTo>
                    <a:lnTo>
                      <a:pt x="68" y="588"/>
                    </a:lnTo>
                    <a:close/>
                    <a:moveTo>
                      <a:pt x="248" y="42"/>
                    </a:moveTo>
                    <a:lnTo>
                      <a:pt x="247" y="38"/>
                    </a:lnTo>
                    <a:lnTo>
                      <a:pt x="254" y="31"/>
                    </a:lnTo>
                    <a:lnTo>
                      <a:pt x="254" y="33"/>
                    </a:lnTo>
                    <a:lnTo>
                      <a:pt x="248" y="42"/>
                    </a:lnTo>
                    <a:lnTo>
                      <a:pt x="248" y="42"/>
                    </a:lnTo>
                    <a:close/>
                    <a:moveTo>
                      <a:pt x="245" y="54"/>
                    </a:moveTo>
                    <a:lnTo>
                      <a:pt x="247" y="53"/>
                    </a:lnTo>
                    <a:lnTo>
                      <a:pt x="248" y="54"/>
                    </a:lnTo>
                    <a:lnTo>
                      <a:pt x="247" y="58"/>
                    </a:lnTo>
                    <a:lnTo>
                      <a:pt x="245" y="54"/>
                    </a:lnTo>
                    <a:lnTo>
                      <a:pt x="245" y="54"/>
                    </a:lnTo>
                    <a:close/>
                    <a:moveTo>
                      <a:pt x="233" y="53"/>
                    </a:moveTo>
                    <a:lnTo>
                      <a:pt x="234" y="51"/>
                    </a:lnTo>
                    <a:lnTo>
                      <a:pt x="236" y="53"/>
                    </a:lnTo>
                    <a:lnTo>
                      <a:pt x="240" y="54"/>
                    </a:lnTo>
                    <a:lnTo>
                      <a:pt x="238" y="63"/>
                    </a:lnTo>
                    <a:lnTo>
                      <a:pt x="234" y="58"/>
                    </a:lnTo>
                    <a:lnTo>
                      <a:pt x="229" y="58"/>
                    </a:lnTo>
                    <a:lnTo>
                      <a:pt x="233" y="53"/>
                    </a:lnTo>
                    <a:lnTo>
                      <a:pt x="233" y="53"/>
                    </a:lnTo>
                    <a:close/>
                    <a:moveTo>
                      <a:pt x="289" y="217"/>
                    </a:moveTo>
                    <a:lnTo>
                      <a:pt x="289" y="212"/>
                    </a:lnTo>
                    <a:lnTo>
                      <a:pt x="289" y="207"/>
                    </a:lnTo>
                    <a:lnTo>
                      <a:pt x="291" y="203"/>
                    </a:lnTo>
                    <a:lnTo>
                      <a:pt x="295" y="203"/>
                    </a:lnTo>
                    <a:lnTo>
                      <a:pt x="298" y="198"/>
                    </a:lnTo>
                    <a:lnTo>
                      <a:pt x="295" y="205"/>
                    </a:lnTo>
                    <a:lnTo>
                      <a:pt x="293" y="210"/>
                    </a:lnTo>
                    <a:lnTo>
                      <a:pt x="289" y="21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2" name="Freeform 52">
                <a:extLst>
                  <a:ext uri="{FF2B5EF4-FFF2-40B4-BE49-F238E27FC236}">
                    <a16:creationId xmlns:a16="http://schemas.microsoft.com/office/drawing/2014/main" id="{58855FAA-F076-55F5-CCA2-D9B80B8A7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2138" y="4652963"/>
                <a:ext cx="688975" cy="1104900"/>
              </a:xfrm>
              <a:custGeom>
                <a:avLst/>
                <a:gdLst>
                  <a:gd name="T0" fmla="*/ 76 w 434"/>
                  <a:gd name="T1" fmla="*/ 434 h 696"/>
                  <a:gd name="T2" fmla="*/ 87 w 434"/>
                  <a:gd name="T3" fmla="*/ 411 h 696"/>
                  <a:gd name="T4" fmla="*/ 94 w 434"/>
                  <a:gd name="T5" fmla="*/ 379 h 696"/>
                  <a:gd name="T6" fmla="*/ 94 w 434"/>
                  <a:gd name="T7" fmla="*/ 356 h 696"/>
                  <a:gd name="T8" fmla="*/ 98 w 434"/>
                  <a:gd name="T9" fmla="*/ 331 h 696"/>
                  <a:gd name="T10" fmla="*/ 103 w 434"/>
                  <a:gd name="T11" fmla="*/ 297 h 696"/>
                  <a:gd name="T12" fmla="*/ 107 w 434"/>
                  <a:gd name="T13" fmla="*/ 265 h 696"/>
                  <a:gd name="T14" fmla="*/ 64 w 434"/>
                  <a:gd name="T15" fmla="*/ 251 h 696"/>
                  <a:gd name="T16" fmla="*/ 27 w 434"/>
                  <a:gd name="T17" fmla="*/ 237 h 696"/>
                  <a:gd name="T18" fmla="*/ 0 w 434"/>
                  <a:gd name="T19" fmla="*/ 200 h 696"/>
                  <a:gd name="T20" fmla="*/ 78 w 434"/>
                  <a:gd name="T21" fmla="*/ 166 h 696"/>
                  <a:gd name="T22" fmla="*/ 130 w 434"/>
                  <a:gd name="T23" fmla="*/ 157 h 696"/>
                  <a:gd name="T24" fmla="*/ 149 w 434"/>
                  <a:gd name="T25" fmla="*/ 170 h 696"/>
                  <a:gd name="T26" fmla="*/ 177 w 434"/>
                  <a:gd name="T27" fmla="*/ 186 h 696"/>
                  <a:gd name="T28" fmla="*/ 161 w 434"/>
                  <a:gd name="T29" fmla="*/ 228 h 696"/>
                  <a:gd name="T30" fmla="*/ 185 w 434"/>
                  <a:gd name="T31" fmla="*/ 262 h 696"/>
                  <a:gd name="T32" fmla="*/ 202 w 434"/>
                  <a:gd name="T33" fmla="*/ 283 h 696"/>
                  <a:gd name="T34" fmla="*/ 211 w 434"/>
                  <a:gd name="T35" fmla="*/ 239 h 696"/>
                  <a:gd name="T36" fmla="*/ 224 w 434"/>
                  <a:gd name="T37" fmla="*/ 205 h 696"/>
                  <a:gd name="T38" fmla="*/ 231 w 434"/>
                  <a:gd name="T39" fmla="*/ 191 h 696"/>
                  <a:gd name="T40" fmla="*/ 220 w 434"/>
                  <a:gd name="T41" fmla="*/ 156 h 696"/>
                  <a:gd name="T42" fmla="*/ 190 w 434"/>
                  <a:gd name="T43" fmla="*/ 124 h 696"/>
                  <a:gd name="T44" fmla="*/ 225 w 434"/>
                  <a:gd name="T45" fmla="*/ 40 h 696"/>
                  <a:gd name="T46" fmla="*/ 245 w 434"/>
                  <a:gd name="T47" fmla="*/ 44 h 696"/>
                  <a:gd name="T48" fmla="*/ 275 w 434"/>
                  <a:gd name="T49" fmla="*/ 44 h 696"/>
                  <a:gd name="T50" fmla="*/ 293 w 434"/>
                  <a:gd name="T51" fmla="*/ 44 h 696"/>
                  <a:gd name="T52" fmla="*/ 319 w 434"/>
                  <a:gd name="T53" fmla="*/ 33 h 696"/>
                  <a:gd name="T54" fmla="*/ 348 w 434"/>
                  <a:gd name="T55" fmla="*/ 35 h 696"/>
                  <a:gd name="T56" fmla="*/ 383 w 434"/>
                  <a:gd name="T57" fmla="*/ 23 h 696"/>
                  <a:gd name="T58" fmla="*/ 418 w 434"/>
                  <a:gd name="T59" fmla="*/ 3 h 696"/>
                  <a:gd name="T60" fmla="*/ 433 w 434"/>
                  <a:gd name="T61" fmla="*/ 12 h 696"/>
                  <a:gd name="T62" fmla="*/ 424 w 434"/>
                  <a:gd name="T63" fmla="*/ 39 h 696"/>
                  <a:gd name="T64" fmla="*/ 425 w 434"/>
                  <a:gd name="T65" fmla="*/ 71 h 696"/>
                  <a:gd name="T66" fmla="*/ 425 w 434"/>
                  <a:gd name="T67" fmla="*/ 110 h 696"/>
                  <a:gd name="T68" fmla="*/ 417 w 434"/>
                  <a:gd name="T69" fmla="*/ 152 h 696"/>
                  <a:gd name="T70" fmla="*/ 431 w 434"/>
                  <a:gd name="T71" fmla="*/ 177 h 696"/>
                  <a:gd name="T72" fmla="*/ 418 w 434"/>
                  <a:gd name="T73" fmla="*/ 193 h 696"/>
                  <a:gd name="T74" fmla="*/ 418 w 434"/>
                  <a:gd name="T75" fmla="*/ 205 h 696"/>
                  <a:gd name="T76" fmla="*/ 394 w 434"/>
                  <a:gd name="T77" fmla="*/ 242 h 696"/>
                  <a:gd name="T78" fmla="*/ 355 w 434"/>
                  <a:gd name="T79" fmla="*/ 273 h 696"/>
                  <a:gd name="T80" fmla="*/ 289 w 434"/>
                  <a:gd name="T81" fmla="*/ 303 h 696"/>
                  <a:gd name="T82" fmla="*/ 266 w 434"/>
                  <a:gd name="T83" fmla="*/ 313 h 696"/>
                  <a:gd name="T84" fmla="*/ 241 w 434"/>
                  <a:gd name="T85" fmla="*/ 347 h 696"/>
                  <a:gd name="T86" fmla="*/ 202 w 434"/>
                  <a:gd name="T87" fmla="*/ 372 h 696"/>
                  <a:gd name="T88" fmla="*/ 174 w 434"/>
                  <a:gd name="T89" fmla="*/ 388 h 696"/>
                  <a:gd name="T90" fmla="*/ 170 w 434"/>
                  <a:gd name="T91" fmla="*/ 407 h 696"/>
                  <a:gd name="T92" fmla="*/ 174 w 434"/>
                  <a:gd name="T93" fmla="*/ 446 h 696"/>
                  <a:gd name="T94" fmla="*/ 185 w 434"/>
                  <a:gd name="T95" fmla="*/ 499 h 696"/>
                  <a:gd name="T96" fmla="*/ 195 w 434"/>
                  <a:gd name="T97" fmla="*/ 499 h 696"/>
                  <a:gd name="T98" fmla="*/ 195 w 434"/>
                  <a:gd name="T99" fmla="*/ 528 h 696"/>
                  <a:gd name="T100" fmla="*/ 185 w 434"/>
                  <a:gd name="T101" fmla="*/ 561 h 696"/>
                  <a:gd name="T102" fmla="*/ 185 w 434"/>
                  <a:gd name="T103" fmla="*/ 588 h 696"/>
                  <a:gd name="T104" fmla="*/ 82 w 434"/>
                  <a:gd name="T105" fmla="*/ 639 h 696"/>
                  <a:gd name="T106" fmla="*/ 62 w 434"/>
                  <a:gd name="T107" fmla="*/ 660 h 696"/>
                  <a:gd name="T108" fmla="*/ 78 w 434"/>
                  <a:gd name="T109" fmla="*/ 675 h 696"/>
                  <a:gd name="T110" fmla="*/ 76 w 434"/>
                  <a:gd name="T111" fmla="*/ 689 h 696"/>
                  <a:gd name="T112" fmla="*/ 50 w 434"/>
                  <a:gd name="T113" fmla="*/ 691 h 696"/>
                  <a:gd name="T114" fmla="*/ 45 w 434"/>
                  <a:gd name="T115" fmla="*/ 666 h 696"/>
                  <a:gd name="T116" fmla="*/ 45 w 434"/>
                  <a:gd name="T117" fmla="*/ 623 h 696"/>
                  <a:gd name="T118" fmla="*/ 39 w 434"/>
                  <a:gd name="T119" fmla="*/ 563 h 696"/>
                  <a:gd name="T120" fmla="*/ 29 w 434"/>
                  <a:gd name="T121" fmla="*/ 510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34" h="696">
                    <a:moveTo>
                      <a:pt x="29" y="510"/>
                    </a:moveTo>
                    <a:lnTo>
                      <a:pt x="75" y="464"/>
                    </a:lnTo>
                    <a:lnTo>
                      <a:pt x="75" y="451"/>
                    </a:lnTo>
                    <a:lnTo>
                      <a:pt x="76" y="446"/>
                    </a:lnTo>
                    <a:lnTo>
                      <a:pt x="76" y="434"/>
                    </a:lnTo>
                    <a:lnTo>
                      <a:pt x="80" y="428"/>
                    </a:lnTo>
                    <a:lnTo>
                      <a:pt x="78" y="421"/>
                    </a:lnTo>
                    <a:lnTo>
                      <a:pt x="78" y="416"/>
                    </a:lnTo>
                    <a:lnTo>
                      <a:pt x="85" y="416"/>
                    </a:lnTo>
                    <a:lnTo>
                      <a:pt x="87" y="411"/>
                    </a:lnTo>
                    <a:lnTo>
                      <a:pt x="96" y="404"/>
                    </a:lnTo>
                    <a:lnTo>
                      <a:pt x="101" y="397"/>
                    </a:lnTo>
                    <a:lnTo>
                      <a:pt x="99" y="391"/>
                    </a:lnTo>
                    <a:lnTo>
                      <a:pt x="94" y="388"/>
                    </a:lnTo>
                    <a:lnTo>
                      <a:pt x="94" y="379"/>
                    </a:lnTo>
                    <a:lnTo>
                      <a:pt x="99" y="375"/>
                    </a:lnTo>
                    <a:lnTo>
                      <a:pt x="96" y="368"/>
                    </a:lnTo>
                    <a:lnTo>
                      <a:pt x="89" y="363"/>
                    </a:lnTo>
                    <a:lnTo>
                      <a:pt x="89" y="358"/>
                    </a:lnTo>
                    <a:lnTo>
                      <a:pt x="94" y="356"/>
                    </a:lnTo>
                    <a:lnTo>
                      <a:pt x="96" y="347"/>
                    </a:lnTo>
                    <a:lnTo>
                      <a:pt x="96" y="340"/>
                    </a:lnTo>
                    <a:lnTo>
                      <a:pt x="101" y="336"/>
                    </a:lnTo>
                    <a:lnTo>
                      <a:pt x="105" y="329"/>
                    </a:lnTo>
                    <a:lnTo>
                      <a:pt x="98" y="331"/>
                    </a:lnTo>
                    <a:lnTo>
                      <a:pt x="94" y="327"/>
                    </a:lnTo>
                    <a:lnTo>
                      <a:pt x="99" y="320"/>
                    </a:lnTo>
                    <a:lnTo>
                      <a:pt x="99" y="308"/>
                    </a:lnTo>
                    <a:lnTo>
                      <a:pt x="103" y="301"/>
                    </a:lnTo>
                    <a:lnTo>
                      <a:pt x="103" y="297"/>
                    </a:lnTo>
                    <a:lnTo>
                      <a:pt x="103" y="292"/>
                    </a:lnTo>
                    <a:lnTo>
                      <a:pt x="105" y="285"/>
                    </a:lnTo>
                    <a:lnTo>
                      <a:pt x="103" y="280"/>
                    </a:lnTo>
                    <a:lnTo>
                      <a:pt x="107" y="273"/>
                    </a:lnTo>
                    <a:lnTo>
                      <a:pt x="107" y="265"/>
                    </a:lnTo>
                    <a:lnTo>
                      <a:pt x="98" y="265"/>
                    </a:lnTo>
                    <a:lnTo>
                      <a:pt x="92" y="260"/>
                    </a:lnTo>
                    <a:lnTo>
                      <a:pt x="85" y="255"/>
                    </a:lnTo>
                    <a:lnTo>
                      <a:pt x="73" y="253"/>
                    </a:lnTo>
                    <a:lnTo>
                      <a:pt x="64" y="251"/>
                    </a:lnTo>
                    <a:lnTo>
                      <a:pt x="57" y="242"/>
                    </a:lnTo>
                    <a:lnTo>
                      <a:pt x="46" y="235"/>
                    </a:lnTo>
                    <a:lnTo>
                      <a:pt x="34" y="232"/>
                    </a:lnTo>
                    <a:lnTo>
                      <a:pt x="32" y="237"/>
                    </a:lnTo>
                    <a:lnTo>
                      <a:pt x="27" y="237"/>
                    </a:lnTo>
                    <a:lnTo>
                      <a:pt x="25" y="234"/>
                    </a:lnTo>
                    <a:lnTo>
                      <a:pt x="20" y="232"/>
                    </a:lnTo>
                    <a:lnTo>
                      <a:pt x="4" y="232"/>
                    </a:lnTo>
                    <a:lnTo>
                      <a:pt x="4" y="212"/>
                    </a:lnTo>
                    <a:lnTo>
                      <a:pt x="0" y="200"/>
                    </a:lnTo>
                    <a:lnTo>
                      <a:pt x="4" y="193"/>
                    </a:lnTo>
                    <a:lnTo>
                      <a:pt x="20" y="186"/>
                    </a:lnTo>
                    <a:lnTo>
                      <a:pt x="29" y="186"/>
                    </a:lnTo>
                    <a:lnTo>
                      <a:pt x="71" y="168"/>
                    </a:lnTo>
                    <a:lnTo>
                      <a:pt x="78" y="166"/>
                    </a:lnTo>
                    <a:lnTo>
                      <a:pt x="103" y="156"/>
                    </a:lnTo>
                    <a:lnTo>
                      <a:pt x="115" y="152"/>
                    </a:lnTo>
                    <a:lnTo>
                      <a:pt x="126" y="150"/>
                    </a:lnTo>
                    <a:lnTo>
                      <a:pt x="130" y="154"/>
                    </a:lnTo>
                    <a:lnTo>
                      <a:pt x="130" y="157"/>
                    </a:lnTo>
                    <a:lnTo>
                      <a:pt x="133" y="163"/>
                    </a:lnTo>
                    <a:lnTo>
                      <a:pt x="135" y="166"/>
                    </a:lnTo>
                    <a:lnTo>
                      <a:pt x="142" y="172"/>
                    </a:lnTo>
                    <a:lnTo>
                      <a:pt x="144" y="170"/>
                    </a:lnTo>
                    <a:lnTo>
                      <a:pt x="149" y="170"/>
                    </a:lnTo>
                    <a:lnTo>
                      <a:pt x="153" y="166"/>
                    </a:lnTo>
                    <a:lnTo>
                      <a:pt x="161" y="164"/>
                    </a:lnTo>
                    <a:lnTo>
                      <a:pt x="172" y="168"/>
                    </a:lnTo>
                    <a:lnTo>
                      <a:pt x="177" y="175"/>
                    </a:lnTo>
                    <a:lnTo>
                      <a:pt x="177" y="186"/>
                    </a:lnTo>
                    <a:lnTo>
                      <a:pt x="176" y="195"/>
                    </a:lnTo>
                    <a:lnTo>
                      <a:pt x="167" y="205"/>
                    </a:lnTo>
                    <a:lnTo>
                      <a:pt x="165" y="214"/>
                    </a:lnTo>
                    <a:lnTo>
                      <a:pt x="160" y="221"/>
                    </a:lnTo>
                    <a:lnTo>
                      <a:pt x="161" y="228"/>
                    </a:lnTo>
                    <a:lnTo>
                      <a:pt x="165" y="237"/>
                    </a:lnTo>
                    <a:lnTo>
                      <a:pt x="165" y="244"/>
                    </a:lnTo>
                    <a:lnTo>
                      <a:pt x="172" y="253"/>
                    </a:lnTo>
                    <a:lnTo>
                      <a:pt x="179" y="260"/>
                    </a:lnTo>
                    <a:lnTo>
                      <a:pt x="185" y="262"/>
                    </a:lnTo>
                    <a:lnTo>
                      <a:pt x="190" y="267"/>
                    </a:lnTo>
                    <a:lnTo>
                      <a:pt x="195" y="274"/>
                    </a:lnTo>
                    <a:lnTo>
                      <a:pt x="192" y="280"/>
                    </a:lnTo>
                    <a:lnTo>
                      <a:pt x="193" y="285"/>
                    </a:lnTo>
                    <a:lnTo>
                      <a:pt x="202" y="283"/>
                    </a:lnTo>
                    <a:lnTo>
                      <a:pt x="204" y="274"/>
                    </a:lnTo>
                    <a:lnTo>
                      <a:pt x="200" y="265"/>
                    </a:lnTo>
                    <a:lnTo>
                      <a:pt x="206" y="258"/>
                    </a:lnTo>
                    <a:lnTo>
                      <a:pt x="206" y="250"/>
                    </a:lnTo>
                    <a:lnTo>
                      <a:pt x="211" y="239"/>
                    </a:lnTo>
                    <a:lnTo>
                      <a:pt x="218" y="237"/>
                    </a:lnTo>
                    <a:lnTo>
                      <a:pt x="225" y="232"/>
                    </a:lnTo>
                    <a:lnTo>
                      <a:pt x="227" y="225"/>
                    </a:lnTo>
                    <a:lnTo>
                      <a:pt x="227" y="211"/>
                    </a:lnTo>
                    <a:lnTo>
                      <a:pt x="224" y="205"/>
                    </a:lnTo>
                    <a:lnTo>
                      <a:pt x="224" y="202"/>
                    </a:lnTo>
                    <a:lnTo>
                      <a:pt x="222" y="198"/>
                    </a:lnTo>
                    <a:lnTo>
                      <a:pt x="224" y="195"/>
                    </a:lnTo>
                    <a:lnTo>
                      <a:pt x="229" y="195"/>
                    </a:lnTo>
                    <a:lnTo>
                      <a:pt x="231" y="191"/>
                    </a:lnTo>
                    <a:lnTo>
                      <a:pt x="236" y="189"/>
                    </a:lnTo>
                    <a:lnTo>
                      <a:pt x="234" y="184"/>
                    </a:lnTo>
                    <a:lnTo>
                      <a:pt x="232" y="179"/>
                    </a:lnTo>
                    <a:lnTo>
                      <a:pt x="229" y="168"/>
                    </a:lnTo>
                    <a:lnTo>
                      <a:pt x="220" y="156"/>
                    </a:lnTo>
                    <a:lnTo>
                      <a:pt x="216" y="149"/>
                    </a:lnTo>
                    <a:lnTo>
                      <a:pt x="202" y="134"/>
                    </a:lnTo>
                    <a:lnTo>
                      <a:pt x="199" y="134"/>
                    </a:lnTo>
                    <a:lnTo>
                      <a:pt x="195" y="131"/>
                    </a:lnTo>
                    <a:lnTo>
                      <a:pt x="190" y="124"/>
                    </a:lnTo>
                    <a:lnTo>
                      <a:pt x="176" y="118"/>
                    </a:lnTo>
                    <a:lnTo>
                      <a:pt x="169" y="79"/>
                    </a:lnTo>
                    <a:lnTo>
                      <a:pt x="179" y="42"/>
                    </a:lnTo>
                    <a:lnTo>
                      <a:pt x="220" y="42"/>
                    </a:lnTo>
                    <a:lnTo>
                      <a:pt x="225" y="40"/>
                    </a:lnTo>
                    <a:lnTo>
                      <a:pt x="227" y="37"/>
                    </a:lnTo>
                    <a:lnTo>
                      <a:pt x="234" y="37"/>
                    </a:lnTo>
                    <a:lnTo>
                      <a:pt x="234" y="40"/>
                    </a:lnTo>
                    <a:lnTo>
                      <a:pt x="239" y="40"/>
                    </a:lnTo>
                    <a:lnTo>
                      <a:pt x="245" y="44"/>
                    </a:lnTo>
                    <a:lnTo>
                      <a:pt x="250" y="46"/>
                    </a:lnTo>
                    <a:lnTo>
                      <a:pt x="254" y="49"/>
                    </a:lnTo>
                    <a:lnTo>
                      <a:pt x="254" y="53"/>
                    </a:lnTo>
                    <a:lnTo>
                      <a:pt x="264" y="49"/>
                    </a:lnTo>
                    <a:lnTo>
                      <a:pt x="275" y="44"/>
                    </a:lnTo>
                    <a:lnTo>
                      <a:pt x="278" y="42"/>
                    </a:lnTo>
                    <a:lnTo>
                      <a:pt x="282" y="40"/>
                    </a:lnTo>
                    <a:lnTo>
                      <a:pt x="287" y="42"/>
                    </a:lnTo>
                    <a:lnTo>
                      <a:pt x="287" y="44"/>
                    </a:lnTo>
                    <a:lnTo>
                      <a:pt x="293" y="44"/>
                    </a:lnTo>
                    <a:lnTo>
                      <a:pt x="298" y="48"/>
                    </a:lnTo>
                    <a:lnTo>
                      <a:pt x="307" y="44"/>
                    </a:lnTo>
                    <a:lnTo>
                      <a:pt x="317" y="44"/>
                    </a:lnTo>
                    <a:lnTo>
                      <a:pt x="321" y="37"/>
                    </a:lnTo>
                    <a:lnTo>
                      <a:pt x="319" y="33"/>
                    </a:lnTo>
                    <a:lnTo>
                      <a:pt x="321" y="30"/>
                    </a:lnTo>
                    <a:lnTo>
                      <a:pt x="330" y="33"/>
                    </a:lnTo>
                    <a:lnTo>
                      <a:pt x="335" y="32"/>
                    </a:lnTo>
                    <a:lnTo>
                      <a:pt x="340" y="35"/>
                    </a:lnTo>
                    <a:lnTo>
                      <a:pt x="348" y="35"/>
                    </a:lnTo>
                    <a:lnTo>
                      <a:pt x="351" y="32"/>
                    </a:lnTo>
                    <a:lnTo>
                      <a:pt x="367" y="26"/>
                    </a:lnTo>
                    <a:lnTo>
                      <a:pt x="374" y="30"/>
                    </a:lnTo>
                    <a:lnTo>
                      <a:pt x="379" y="26"/>
                    </a:lnTo>
                    <a:lnTo>
                      <a:pt x="383" y="23"/>
                    </a:lnTo>
                    <a:lnTo>
                      <a:pt x="392" y="23"/>
                    </a:lnTo>
                    <a:lnTo>
                      <a:pt x="399" y="16"/>
                    </a:lnTo>
                    <a:lnTo>
                      <a:pt x="406" y="16"/>
                    </a:lnTo>
                    <a:lnTo>
                      <a:pt x="413" y="10"/>
                    </a:lnTo>
                    <a:lnTo>
                      <a:pt x="418" y="3"/>
                    </a:lnTo>
                    <a:lnTo>
                      <a:pt x="425" y="5"/>
                    </a:lnTo>
                    <a:lnTo>
                      <a:pt x="429" y="2"/>
                    </a:lnTo>
                    <a:lnTo>
                      <a:pt x="431" y="0"/>
                    </a:lnTo>
                    <a:lnTo>
                      <a:pt x="434" y="3"/>
                    </a:lnTo>
                    <a:lnTo>
                      <a:pt x="433" y="12"/>
                    </a:lnTo>
                    <a:lnTo>
                      <a:pt x="429" y="17"/>
                    </a:lnTo>
                    <a:lnTo>
                      <a:pt x="433" y="19"/>
                    </a:lnTo>
                    <a:lnTo>
                      <a:pt x="424" y="32"/>
                    </a:lnTo>
                    <a:lnTo>
                      <a:pt x="422" y="35"/>
                    </a:lnTo>
                    <a:lnTo>
                      <a:pt x="424" y="39"/>
                    </a:lnTo>
                    <a:lnTo>
                      <a:pt x="425" y="40"/>
                    </a:lnTo>
                    <a:lnTo>
                      <a:pt x="422" y="44"/>
                    </a:lnTo>
                    <a:lnTo>
                      <a:pt x="424" y="58"/>
                    </a:lnTo>
                    <a:lnTo>
                      <a:pt x="429" y="67"/>
                    </a:lnTo>
                    <a:lnTo>
                      <a:pt x="425" y="71"/>
                    </a:lnTo>
                    <a:lnTo>
                      <a:pt x="425" y="81"/>
                    </a:lnTo>
                    <a:lnTo>
                      <a:pt x="427" y="83"/>
                    </a:lnTo>
                    <a:lnTo>
                      <a:pt x="429" y="94"/>
                    </a:lnTo>
                    <a:lnTo>
                      <a:pt x="424" y="99"/>
                    </a:lnTo>
                    <a:lnTo>
                      <a:pt x="425" y="110"/>
                    </a:lnTo>
                    <a:lnTo>
                      <a:pt x="422" y="129"/>
                    </a:lnTo>
                    <a:lnTo>
                      <a:pt x="420" y="129"/>
                    </a:lnTo>
                    <a:lnTo>
                      <a:pt x="424" y="133"/>
                    </a:lnTo>
                    <a:lnTo>
                      <a:pt x="424" y="152"/>
                    </a:lnTo>
                    <a:lnTo>
                      <a:pt x="417" y="152"/>
                    </a:lnTo>
                    <a:lnTo>
                      <a:pt x="417" y="156"/>
                    </a:lnTo>
                    <a:lnTo>
                      <a:pt x="418" y="157"/>
                    </a:lnTo>
                    <a:lnTo>
                      <a:pt x="427" y="157"/>
                    </a:lnTo>
                    <a:lnTo>
                      <a:pt x="429" y="159"/>
                    </a:lnTo>
                    <a:lnTo>
                      <a:pt x="431" y="177"/>
                    </a:lnTo>
                    <a:lnTo>
                      <a:pt x="427" y="182"/>
                    </a:lnTo>
                    <a:lnTo>
                      <a:pt x="422" y="184"/>
                    </a:lnTo>
                    <a:lnTo>
                      <a:pt x="425" y="188"/>
                    </a:lnTo>
                    <a:lnTo>
                      <a:pt x="424" y="193"/>
                    </a:lnTo>
                    <a:lnTo>
                      <a:pt x="418" y="193"/>
                    </a:lnTo>
                    <a:lnTo>
                      <a:pt x="413" y="198"/>
                    </a:lnTo>
                    <a:lnTo>
                      <a:pt x="415" y="200"/>
                    </a:lnTo>
                    <a:lnTo>
                      <a:pt x="417" y="198"/>
                    </a:lnTo>
                    <a:lnTo>
                      <a:pt x="422" y="200"/>
                    </a:lnTo>
                    <a:lnTo>
                      <a:pt x="418" y="205"/>
                    </a:lnTo>
                    <a:lnTo>
                      <a:pt x="417" y="212"/>
                    </a:lnTo>
                    <a:lnTo>
                      <a:pt x="411" y="214"/>
                    </a:lnTo>
                    <a:lnTo>
                      <a:pt x="402" y="225"/>
                    </a:lnTo>
                    <a:lnTo>
                      <a:pt x="402" y="230"/>
                    </a:lnTo>
                    <a:lnTo>
                      <a:pt x="394" y="242"/>
                    </a:lnTo>
                    <a:lnTo>
                      <a:pt x="388" y="242"/>
                    </a:lnTo>
                    <a:lnTo>
                      <a:pt x="388" y="251"/>
                    </a:lnTo>
                    <a:lnTo>
                      <a:pt x="360" y="265"/>
                    </a:lnTo>
                    <a:lnTo>
                      <a:pt x="356" y="265"/>
                    </a:lnTo>
                    <a:lnTo>
                      <a:pt x="355" y="273"/>
                    </a:lnTo>
                    <a:lnTo>
                      <a:pt x="328" y="287"/>
                    </a:lnTo>
                    <a:lnTo>
                      <a:pt x="317" y="285"/>
                    </a:lnTo>
                    <a:lnTo>
                      <a:pt x="317" y="287"/>
                    </a:lnTo>
                    <a:lnTo>
                      <a:pt x="305" y="292"/>
                    </a:lnTo>
                    <a:lnTo>
                      <a:pt x="289" y="303"/>
                    </a:lnTo>
                    <a:lnTo>
                      <a:pt x="284" y="301"/>
                    </a:lnTo>
                    <a:lnTo>
                      <a:pt x="284" y="306"/>
                    </a:lnTo>
                    <a:lnTo>
                      <a:pt x="275" y="319"/>
                    </a:lnTo>
                    <a:lnTo>
                      <a:pt x="270" y="320"/>
                    </a:lnTo>
                    <a:lnTo>
                      <a:pt x="266" y="313"/>
                    </a:lnTo>
                    <a:lnTo>
                      <a:pt x="264" y="324"/>
                    </a:lnTo>
                    <a:lnTo>
                      <a:pt x="259" y="326"/>
                    </a:lnTo>
                    <a:lnTo>
                      <a:pt x="259" y="333"/>
                    </a:lnTo>
                    <a:lnTo>
                      <a:pt x="241" y="342"/>
                    </a:lnTo>
                    <a:lnTo>
                      <a:pt x="241" y="347"/>
                    </a:lnTo>
                    <a:lnTo>
                      <a:pt x="238" y="350"/>
                    </a:lnTo>
                    <a:lnTo>
                      <a:pt x="232" y="350"/>
                    </a:lnTo>
                    <a:lnTo>
                      <a:pt x="234" y="358"/>
                    </a:lnTo>
                    <a:lnTo>
                      <a:pt x="224" y="358"/>
                    </a:lnTo>
                    <a:lnTo>
                      <a:pt x="202" y="372"/>
                    </a:lnTo>
                    <a:lnTo>
                      <a:pt x="202" y="381"/>
                    </a:lnTo>
                    <a:lnTo>
                      <a:pt x="195" y="386"/>
                    </a:lnTo>
                    <a:lnTo>
                      <a:pt x="186" y="386"/>
                    </a:lnTo>
                    <a:lnTo>
                      <a:pt x="181" y="391"/>
                    </a:lnTo>
                    <a:lnTo>
                      <a:pt x="174" y="388"/>
                    </a:lnTo>
                    <a:lnTo>
                      <a:pt x="169" y="388"/>
                    </a:lnTo>
                    <a:lnTo>
                      <a:pt x="169" y="391"/>
                    </a:lnTo>
                    <a:lnTo>
                      <a:pt x="174" y="397"/>
                    </a:lnTo>
                    <a:lnTo>
                      <a:pt x="174" y="402"/>
                    </a:lnTo>
                    <a:lnTo>
                      <a:pt x="170" y="407"/>
                    </a:lnTo>
                    <a:lnTo>
                      <a:pt x="170" y="412"/>
                    </a:lnTo>
                    <a:lnTo>
                      <a:pt x="167" y="420"/>
                    </a:lnTo>
                    <a:lnTo>
                      <a:pt x="179" y="436"/>
                    </a:lnTo>
                    <a:lnTo>
                      <a:pt x="179" y="441"/>
                    </a:lnTo>
                    <a:lnTo>
                      <a:pt x="174" y="446"/>
                    </a:lnTo>
                    <a:lnTo>
                      <a:pt x="177" y="448"/>
                    </a:lnTo>
                    <a:lnTo>
                      <a:pt x="183" y="455"/>
                    </a:lnTo>
                    <a:lnTo>
                      <a:pt x="183" y="464"/>
                    </a:lnTo>
                    <a:lnTo>
                      <a:pt x="188" y="473"/>
                    </a:lnTo>
                    <a:lnTo>
                      <a:pt x="185" y="499"/>
                    </a:lnTo>
                    <a:lnTo>
                      <a:pt x="188" y="508"/>
                    </a:lnTo>
                    <a:lnTo>
                      <a:pt x="190" y="508"/>
                    </a:lnTo>
                    <a:lnTo>
                      <a:pt x="190" y="501"/>
                    </a:lnTo>
                    <a:lnTo>
                      <a:pt x="195" y="490"/>
                    </a:lnTo>
                    <a:lnTo>
                      <a:pt x="195" y="499"/>
                    </a:lnTo>
                    <a:lnTo>
                      <a:pt x="199" y="499"/>
                    </a:lnTo>
                    <a:lnTo>
                      <a:pt x="197" y="510"/>
                    </a:lnTo>
                    <a:lnTo>
                      <a:pt x="193" y="515"/>
                    </a:lnTo>
                    <a:lnTo>
                      <a:pt x="193" y="526"/>
                    </a:lnTo>
                    <a:lnTo>
                      <a:pt x="195" y="528"/>
                    </a:lnTo>
                    <a:lnTo>
                      <a:pt x="190" y="540"/>
                    </a:lnTo>
                    <a:lnTo>
                      <a:pt x="190" y="547"/>
                    </a:lnTo>
                    <a:lnTo>
                      <a:pt x="186" y="552"/>
                    </a:lnTo>
                    <a:lnTo>
                      <a:pt x="186" y="561"/>
                    </a:lnTo>
                    <a:lnTo>
                      <a:pt x="185" y="561"/>
                    </a:lnTo>
                    <a:lnTo>
                      <a:pt x="185" y="568"/>
                    </a:lnTo>
                    <a:lnTo>
                      <a:pt x="192" y="563"/>
                    </a:lnTo>
                    <a:lnTo>
                      <a:pt x="193" y="568"/>
                    </a:lnTo>
                    <a:lnTo>
                      <a:pt x="188" y="577"/>
                    </a:lnTo>
                    <a:lnTo>
                      <a:pt x="185" y="588"/>
                    </a:lnTo>
                    <a:lnTo>
                      <a:pt x="170" y="604"/>
                    </a:lnTo>
                    <a:lnTo>
                      <a:pt x="144" y="616"/>
                    </a:lnTo>
                    <a:lnTo>
                      <a:pt x="107" y="623"/>
                    </a:lnTo>
                    <a:lnTo>
                      <a:pt x="92" y="636"/>
                    </a:lnTo>
                    <a:lnTo>
                      <a:pt x="82" y="639"/>
                    </a:lnTo>
                    <a:lnTo>
                      <a:pt x="80" y="643"/>
                    </a:lnTo>
                    <a:lnTo>
                      <a:pt x="75" y="648"/>
                    </a:lnTo>
                    <a:lnTo>
                      <a:pt x="71" y="657"/>
                    </a:lnTo>
                    <a:lnTo>
                      <a:pt x="68" y="657"/>
                    </a:lnTo>
                    <a:lnTo>
                      <a:pt x="62" y="660"/>
                    </a:lnTo>
                    <a:lnTo>
                      <a:pt x="64" y="662"/>
                    </a:lnTo>
                    <a:lnTo>
                      <a:pt x="69" y="669"/>
                    </a:lnTo>
                    <a:lnTo>
                      <a:pt x="68" y="678"/>
                    </a:lnTo>
                    <a:lnTo>
                      <a:pt x="73" y="673"/>
                    </a:lnTo>
                    <a:lnTo>
                      <a:pt x="78" y="675"/>
                    </a:lnTo>
                    <a:lnTo>
                      <a:pt x="80" y="668"/>
                    </a:lnTo>
                    <a:lnTo>
                      <a:pt x="82" y="668"/>
                    </a:lnTo>
                    <a:lnTo>
                      <a:pt x="84" y="671"/>
                    </a:lnTo>
                    <a:lnTo>
                      <a:pt x="82" y="682"/>
                    </a:lnTo>
                    <a:lnTo>
                      <a:pt x="76" y="689"/>
                    </a:lnTo>
                    <a:lnTo>
                      <a:pt x="76" y="696"/>
                    </a:lnTo>
                    <a:lnTo>
                      <a:pt x="69" y="696"/>
                    </a:lnTo>
                    <a:lnTo>
                      <a:pt x="53" y="692"/>
                    </a:lnTo>
                    <a:lnTo>
                      <a:pt x="50" y="694"/>
                    </a:lnTo>
                    <a:lnTo>
                      <a:pt x="50" y="691"/>
                    </a:lnTo>
                    <a:lnTo>
                      <a:pt x="52" y="684"/>
                    </a:lnTo>
                    <a:lnTo>
                      <a:pt x="52" y="678"/>
                    </a:lnTo>
                    <a:lnTo>
                      <a:pt x="53" y="675"/>
                    </a:lnTo>
                    <a:lnTo>
                      <a:pt x="50" y="669"/>
                    </a:lnTo>
                    <a:lnTo>
                      <a:pt x="45" y="666"/>
                    </a:lnTo>
                    <a:lnTo>
                      <a:pt x="41" y="662"/>
                    </a:lnTo>
                    <a:lnTo>
                      <a:pt x="41" y="660"/>
                    </a:lnTo>
                    <a:lnTo>
                      <a:pt x="41" y="648"/>
                    </a:lnTo>
                    <a:lnTo>
                      <a:pt x="41" y="636"/>
                    </a:lnTo>
                    <a:lnTo>
                      <a:pt x="45" y="623"/>
                    </a:lnTo>
                    <a:lnTo>
                      <a:pt x="45" y="590"/>
                    </a:lnTo>
                    <a:lnTo>
                      <a:pt x="43" y="581"/>
                    </a:lnTo>
                    <a:lnTo>
                      <a:pt x="39" y="574"/>
                    </a:lnTo>
                    <a:lnTo>
                      <a:pt x="39" y="565"/>
                    </a:lnTo>
                    <a:lnTo>
                      <a:pt x="39" y="563"/>
                    </a:lnTo>
                    <a:lnTo>
                      <a:pt x="39" y="544"/>
                    </a:lnTo>
                    <a:lnTo>
                      <a:pt x="34" y="533"/>
                    </a:lnTo>
                    <a:lnTo>
                      <a:pt x="32" y="522"/>
                    </a:lnTo>
                    <a:lnTo>
                      <a:pt x="30" y="512"/>
                    </a:lnTo>
                    <a:lnTo>
                      <a:pt x="29" y="5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3" name="Freeform 53">
                <a:extLst>
                  <a:ext uri="{FF2B5EF4-FFF2-40B4-BE49-F238E27FC236}">
                    <a16:creationId xmlns:a16="http://schemas.microsoft.com/office/drawing/2014/main" id="{3F464A5D-29E0-4EE3-15E4-FE1B951CE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1026" y="5678488"/>
                <a:ext cx="95250" cy="107950"/>
              </a:xfrm>
              <a:custGeom>
                <a:avLst/>
                <a:gdLst>
                  <a:gd name="T0" fmla="*/ 48 w 60"/>
                  <a:gd name="T1" fmla="*/ 14 h 68"/>
                  <a:gd name="T2" fmla="*/ 48 w 60"/>
                  <a:gd name="T3" fmla="*/ 16 h 68"/>
                  <a:gd name="T4" fmla="*/ 52 w 60"/>
                  <a:gd name="T5" fmla="*/ 20 h 68"/>
                  <a:gd name="T6" fmla="*/ 57 w 60"/>
                  <a:gd name="T7" fmla="*/ 23 h 68"/>
                  <a:gd name="T8" fmla="*/ 60 w 60"/>
                  <a:gd name="T9" fmla="*/ 29 h 68"/>
                  <a:gd name="T10" fmla="*/ 59 w 60"/>
                  <a:gd name="T11" fmla="*/ 32 h 68"/>
                  <a:gd name="T12" fmla="*/ 59 w 60"/>
                  <a:gd name="T13" fmla="*/ 38 h 68"/>
                  <a:gd name="T14" fmla="*/ 57 w 60"/>
                  <a:gd name="T15" fmla="*/ 45 h 68"/>
                  <a:gd name="T16" fmla="*/ 57 w 60"/>
                  <a:gd name="T17" fmla="*/ 48 h 68"/>
                  <a:gd name="T18" fmla="*/ 55 w 60"/>
                  <a:gd name="T19" fmla="*/ 48 h 68"/>
                  <a:gd name="T20" fmla="*/ 50 w 60"/>
                  <a:gd name="T21" fmla="*/ 52 h 68"/>
                  <a:gd name="T22" fmla="*/ 50 w 60"/>
                  <a:gd name="T23" fmla="*/ 57 h 68"/>
                  <a:gd name="T24" fmla="*/ 48 w 60"/>
                  <a:gd name="T25" fmla="*/ 66 h 68"/>
                  <a:gd name="T26" fmla="*/ 41 w 60"/>
                  <a:gd name="T27" fmla="*/ 68 h 68"/>
                  <a:gd name="T28" fmla="*/ 25 w 60"/>
                  <a:gd name="T29" fmla="*/ 66 h 68"/>
                  <a:gd name="T30" fmla="*/ 13 w 60"/>
                  <a:gd name="T31" fmla="*/ 59 h 68"/>
                  <a:gd name="T32" fmla="*/ 7 w 60"/>
                  <a:gd name="T33" fmla="*/ 50 h 68"/>
                  <a:gd name="T34" fmla="*/ 4 w 60"/>
                  <a:gd name="T35" fmla="*/ 46 h 68"/>
                  <a:gd name="T36" fmla="*/ 0 w 60"/>
                  <a:gd name="T37" fmla="*/ 41 h 68"/>
                  <a:gd name="T38" fmla="*/ 4 w 60"/>
                  <a:gd name="T39" fmla="*/ 30 h 68"/>
                  <a:gd name="T40" fmla="*/ 14 w 60"/>
                  <a:gd name="T41" fmla="*/ 13 h 68"/>
                  <a:gd name="T42" fmla="*/ 16 w 60"/>
                  <a:gd name="T43" fmla="*/ 4 h 68"/>
                  <a:gd name="T44" fmla="*/ 23 w 60"/>
                  <a:gd name="T45" fmla="*/ 0 h 68"/>
                  <a:gd name="T46" fmla="*/ 34 w 60"/>
                  <a:gd name="T47" fmla="*/ 7 h 68"/>
                  <a:gd name="T48" fmla="*/ 41 w 60"/>
                  <a:gd name="T49" fmla="*/ 13 h 68"/>
                  <a:gd name="T50" fmla="*/ 48 w 60"/>
                  <a:gd name="T51" fmla="*/ 16 h 68"/>
                  <a:gd name="T52" fmla="*/ 48 w 60"/>
                  <a:gd name="T53" fmla="*/ 1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0" h="68">
                    <a:moveTo>
                      <a:pt x="48" y="14"/>
                    </a:moveTo>
                    <a:lnTo>
                      <a:pt x="48" y="16"/>
                    </a:lnTo>
                    <a:lnTo>
                      <a:pt x="52" y="20"/>
                    </a:lnTo>
                    <a:lnTo>
                      <a:pt x="57" y="23"/>
                    </a:lnTo>
                    <a:lnTo>
                      <a:pt x="60" y="29"/>
                    </a:lnTo>
                    <a:lnTo>
                      <a:pt x="59" y="32"/>
                    </a:lnTo>
                    <a:lnTo>
                      <a:pt x="59" y="38"/>
                    </a:lnTo>
                    <a:lnTo>
                      <a:pt x="57" y="45"/>
                    </a:lnTo>
                    <a:lnTo>
                      <a:pt x="57" y="48"/>
                    </a:lnTo>
                    <a:lnTo>
                      <a:pt x="55" y="48"/>
                    </a:lnTo>
                    <a:lnTo>
                      <a:pt x="50" y="52"/>
                    </a:lnTo>
                    <a:lnTo>
                      <a:pt x="50" y="57"/>
                    </a:lnTo>
                    <a:lnTo>
                      <a:pt x="48" y="66"/>
                    </a:lnTo>
                    <a:lnTo>
                      <a:pt x="41" y="68"/>
                    </a:lnTo>
                    <a:lnTo>
                      <a:pt x="25" y="66"/>
                    </a:lnTo>
                    <a:lnTo>
                      <a:pt x="13" y="59"/>
                    </a:lnTo>
                    <a:lnTo>
                      <a:pt x="7" y="50"/>
                    </a:lnTo>
                    <a:lnTo>
                      <a:pt x="4" y="46"/>
                    </a:lnTo>
                    <a:lnTo>
                      <a:pt x="0" y="41"/>
                    </a:lnTo>
                    <a:lnTo>
                      <a:pt x="4" y="30"/>
                    </a:lnTo>
                    <a:lnTo>
                      <a:pt x="14" y="13"/>
                    </a:lnTo>
                    <a:lnTo>
                      <a:pt x="16" y="4"/>
                    </a:lnTo>
                    <a:lnTo>
                      <a:pt x="23" y="0"/>
                    </a:lnTo>
                    <a:lnTo>
                      <a:pt x="34" y="7"/>
                    </a:lnTo>
                    <a:lnTo>
                      <a:pt x="41" y="13"/>
                    </a:lnTo>
                    <a:lnTo>
                      <a:pt x="48" y="16"/>
                    </a:lnTo>
                    <a:lnTo>
                      <a:pt x="48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4" name="Freeform 54">
                <a:extLst>
                  <a:ext uri="{FF2B5EF4-FFF2-40B4-BE49-F238E27FC236}">
                    <a16:creationId xmlns:a16="http://schemas.microsoft.com/office/drawing/2014/main" id="{EE7D6B35-EBC7-E3B7-C285-F6D229F537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97576" y="5434013"/>
                <a:ext cx="1065213" cy="908050"/>
              </a:xfrm>
              <a:custGeom>
                <a:avLst/>
                <a:gdLst>
                  <a:gd name="T0" fmla="*/ 12 w 671"/>
                  <a:gd name="T1" fmla="*/ 269 h 572"/>
                  <a:gd name="T2" fmla="*/ 36 w 671"/>
                  <a:gd name="T3" fmla="*/ 277 h 572"/>
                  <a:gd name="T4" fmla="*/ 76 w 671"/>
                  <a:gd name="T5" fmla="*/ 298 h 572"/>
                  <a:gd name="T6" fmla="*/ 101 w 671"/>
                  <a:gd name="T7" fmla="*/ 300 h 572"/>
                  <a:gd name="T8" fmla="*/ 119 w 671"/>
                  <a:gd name="T9" fmla="*/ 278 h 572"/>
                  <a:gd name="T10" fmla="*/ 167 w 671"/>
                  <a:gd name="T11" fmla="*/ 135 h 572"/>
                  <a:gd name="T12" fmla="*/ 175 w 671"/>
                  <a:gd name="T13" fmla="*/ 202 h 572"/>
                  <a:gd name="T14" fmla="*/ 220 w 671"/>
                  <a:gd name="T15" fmla="*/ 197 h 572"/>
                  <a:gd name="T16" fmla="*/ 260 w 671"/>
                  <a:gd name="T17" fmla="*/ 168 h 572"/>
                  <a:gd name="T18" fmla="*/ 307 w 671"/>
                  <a:gd name="T19" fmla="*/ 149 h 572"/>
                  <a:gd name="T20" fmla="*/ 349 w 671"/>
                  <a:gd name="T21" fmla="*/ 158 h 572"/>
                  <a:gd name="T22" fmla="*/ 383 w 671"/>
                  <a:gd name="T23" fmla="*/ 156 h 572"/>
                  <a:gd name="T24" fmla="*/ 386 w 671"/>
                  <a:gd name="T25" fmla="*/ 126 h 572"/>
                  <a:gd name="T26" fmla="*/ 413 w 671"/>
                  <a:gd name="T27" fmla="*/ 108 h 572"/>
                  <a:gd name="T28" fmla="*/ 431 w 671"/>
                  <a:gd name="T29" fmla="*/ 92 h 572"/>
                  <a:gd name="T30" fmla="*/ 446 w 671"/>
                  <a:gd name="T31" fmla="*/ 57 h 572"/>
                  <a:gd name="T32" fmla="*/ 468 w 671"/>
                  <a:gd name="T33" fmla="*/ 43 h 572"/>
                  <a:gd name="T34" fmla="*/ 496 w 671"/>
                  <a:gd name="T35" fmla="*/ 29 h 572"/>
                  <a:gd name="T36" fmla="*/ 521 w 671"/>
                  <a:gd name="T37" fmla="*/ 14 h 572"/>
                  <a:gd name="T38" fmla="*/ 555 w 671"/>
                  <a:gd name="T39" fmla="*/ 0 h 572"/>
                  <a:gd name="T40" fmla="*/ 586 w 671"/>
                  <a:gd name="T41" fmla="*/ 14 h 572"/>
                  <a:gd name="T42" fmla="*/ 627 w 671"/>
                  <a:gd name="T43" fmla="*/ 30 h 572"/>
                  <a:gd name="T44" fmla="*/ 634 w 671"/>
                  <a:gd name="T45" fmla="*/ 82 h 572"/>
                  <a:gd name="T46" fmla="*/ 636 w 671"/>
                  <a:gd name="T47" fmla="*/ 156 h 572"/>
                  <a:gd name="T48" fmla="*/ 604 w 671"/>
                  <a:gd name="T49" fmla="*/ 158 h 572"/>
                  <a:gd name="T50" fmla="*/ 595 w 671"/>
                  <a:gd name="T51" fmla="*/ 204 h 572"/>
                  <a:gd name="T52" fmla="*/ 638 w 671"/>
                  <a:gd name="T53" fmla="*/ 211 h 572"/>
                  <a:gd name="T54" fmla="*/ 671 w 671"/>
                  <a:gd name="T55" fmla="*/ 204 h 572"/>
                  <a:gd name="T56" fmla="*/ 663 w 671"/>
                  <a:gd name="T57" fmla="*/ 241 h 572"/>
                  <a:gd name="T58" fmla="*/ 634 w 671"/>
                  <a:gd name="T59" fmla="*/ 298 h 572"/>
                  <a:gd name="T60" fmla="*/ 606 w 671"/>
                  <a:gd name="T61" fmla="*/ 316 h 572"/>
                  <a:gd name="T62" fmla="*/ 579 w 671"/>
                  <a:gd name="T63" fmla="*/ 349 h 572"/>
                  <a:gd name="T64" fmla="*/ 533 w 671"/>
                  <a:gd name="T65" fmla="*/ 416 h 572"/>
                  <a:gd name="T66" fmla="*/ 471 w 671"/>
                  <a:gd name="T67" fmla="*/ 473 h 572"/>
                  <a:gd name="T68" fmla="*/ 420 w 671"/>
                  <a:gd name="T69" fmla="*/ 510 h 572"/>
                  <a:gd name="T70" fmla="*/ 381 w 671"/>
                  <a:gd name="T71" fmla="*/ 521 h 572"/>
                  <a:gd name="T72" fmla="*/ 360 w 671"/>
                  <a:gd name="T73" fmla="*/ 539 h 572"/>
                  <a:gd name="T74" fmla="*/ 326 w 671"/>
                  <a:gd name="T75" fmla="*/ 546 h 572"/>
                  <a:gd name="T76" fmla="*/ 266 w 671"/>
                  <a:gd name="T77" fmla="*/ 537 h 572"/>
                  <a:gd name="T78" fmla="*/ 222 w 671"/>
                  <a:gd name="T79" fmla="*/ 540 h 572"/>
                  <a:gd name="T80" fmla="*/ 202 w 671"/>
                  <a:gd name="T81" fmla="*/ 553 h 572"/>
                  <a:gd name="T82" fmla="*/ 161 w 671"/>
                  <a:gd name="T83" fmla="*/ 556 h 572"/>
                  <a:gd name="T84" fmla="*/ 128 w 671"/>
                  <a:gd name="T85" fmla="*/ 571 h 572"/>
                  <a:gd name="T86" fmla="*/ 92 w 671"/>
                  <a:gd name="T87" fmla="*/ 551 h 572"/>
                  <a:gd name="T88" fmla="*/ 73 w 671"/>
                  <a:gd name="T89" fmla="*/ 539 h 572"/>
                  <a:gd name="T90" fmla="*/ 64 w 671"/>
                  <a:gd name="T91" fmla="*/ 533 h 572"/>
                  <a:gd name="T92" fmla="*/ 46 w 671"/>
                  <a:gd name="T93" fmla="*/ 482 h 572"/>
                  <a:gd name="T94" fmla="*/ 64 w 671"/>
                  <a:gd name="T95" fmla="*/ 468 h 572"/>
                  <a:gd name="T96" fmla="*/ 50 w 671"/>
                  <a:gd name="T97" fmla="*/ 406 h 572"/>
                  <a:gd name="T98" fmla="*/ 16 w 671"/>
                  <a:gd name="T99" fmla="*/ 307 h 572"/>
                  <a:gd name="T100" fmla="*/ 443 w 671"/>
                  <a:gd name="T101" fmla="*/ 363 h 572"/>
                  <a:gd name="T102" fmla="*/ 471 w 671"/>
                  <a:gd name="T103" fmla="*/ 374 h 572"/>
                  <a:gd name="T104" fmla="*/ 498 w 671"/>
                  <a:gd name="T105" fmla="*/ 353 h 572"/>
                  <a:gd name="T106" fmla="*/ 508 w 671"/>
                  <a:gd name="T107" fmla="*/ 335 h 572"/>
                  <a:gd name="T108" fmla="*/ 507 w 671"/>
                  <a:gd name="T109" fmla="*/ 292 h 572"/>
                  <a:gd name="T110" fmla="*/ 482 w 671"/>
                  <a:gd name="T111" fmla="*/ 289 h 572"/>
                  <a:gd name="T112" fmla="*/ 448 w 671"/>
                  <a:gd name="T113" fmla="*/ 308 h 572"/>
                  <a:gd name="T114" fmla="*/ 436 w 671"/>
                  <a:gd name="T115" fmla="*/ 346 h 5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71" h="572">
                    <a:moveTo>
                      <a:pt x="0" y="284"/>
                    </a:moveTo>
                    <a:lnTo>
                      <a:pt x="7" y="280"/>
                    </a:lnTo>
                    <a:lnTo>
                      <a:pt x="14" y="278"/>
                    </a:lnTo>
                    <a:lnTo>
                      <a:pt x="14" y="273"/>
                    </a:lnTo>
                    <a:lnTo>
                      <a:pt x="12" y="269"/>
                    </a:lnTo>
                    <a:lnTo>
                      <a:pt x="16" y="262"/>
                    </a:lnTo>
                    <a:lnTo>
                      <a:pt x="27" y="259"/>
                    </a:lnTo>
                    <a:lnTo>
                      <a:pt x="32" y="268"/>
                    </a:lnTo>
                    <a:lnTo>
                      <a:pt x="39" y="268"/>
                    </a:lnTo>
                    <a:lnTo>
                      <a:pt x="36" y="277"/>
                    </a:lnTo>
                    <a:lnTo>
                      <a:pt x="43" y="289"/>
                    </a:lnTo>
                    <a:lnTo>
                      <a:pt x="55" y="292"/>
                    </a:lnTo>
                    <a:lnTo>
                      <a:pt x="66" y="296"/>
                    </a:lnTo>
                    <a:lnTo>
                      <a:pt x="71" y="296"/>
                    </a:lnTo>
                    <a:lnTo>
                      <a:pt x="76" y="298"/>
                    </a:lnTo>
                    <a:lnTo>
                      <a:pt x="83" y="298"/>
                    </a:lnTo>
                    <a:lnTo>
                      <a:pt x="87" y="294"/>
                    </a:lnTo>
                    <a:lnTo>
                      <a:pt x="92" y="294"/>
                    </a:lnTo>
                    <a:lnTo>
                      <a:pt x="96" y="301"/>
                    </a:lnTo>
                    <a:lnTo>
                      <a:pt x="101" y="300"/>
                    </a:lnTo>
                    <a:lnTo>
                      <a:pt x="106" y="301"/>
                    </a:lnTo>
                    <a:lnTo>
                      <a:pt x="106" y="292"/>
                    </a:lnTo>
                    <a:lnTo>
                      <a:pt x="110" y="289"/>
                    </a:lnTo>
                    <a:lnTo>
                      <a:pt x="115" y="287"/>
                    </a:lnTo>
                    <a:lnTo>
                      <a:pt x="119" y="278"/>
                    </a:lnTo>
                    <a:lnTo>
                      <a:pt x="131" y="273"/>
                    </a:lnTo>
                    <a:lnTo>
                      <a:pt x="144" y="275"/>
                    </a:lnTo>
                    <a:lnTo>
                      <a:pt x="147" y="275"/>
                    </a:lnTo>
                    <a:lnTo>
                      <a:pt x="154" y="124"/>
                    </a:lnTo>
                    <a:lnTo>
                      <a:pt x="167" y="135"/>
                    </a:lnTo>
                    <a:lnTo>
                      <a:pt x="172" y="145"/>
                    </a:lnTo>
                    <a:lnTo>
                      <a:pt x="183" y="168"/>
                    </a:lnTo>
                    <a:lnTo>
                      <a:pt x="183" y="181"/>
                    </a:lnTo>
                    <a:lnTo>
                      <a:pt x="175" y="193"/>
                    </a:lnTo>
                    <a:lnTo>
                      <a:pt x="175" y="202"/>
                    </a:lnTo>
                    <a:lnTo>
                      <a:pt x="186" y="200"/>
                    </a:lnTo>
                    <a:lnTo>
                      <a:pt x="197" y="202"/>
                    </a:lnTo>
                    <a:lnTo>
                      <a:pt x="204" y="199"/>
                    </a:lnTo>
                    <a:lnTo>
                      <a:pt x="214" y="200"/>
                    </a:lnTo>
                    <a:lnTo>
                      <a:pt x="220" y="197"/>
                    </a:lnTo>
                    <a:lnTo>
                      <a:pt x="229" y="193"/>
                    </a:lnTo>
                    <a:lnTo>
                      <a:pt x="237" y="188"/>
                    </a:lnTo>
                    <a:lnTo>
                      <a:pt x="241" y="183"/>
                    </a:lnTo>
                    <a:lnTo>
                      <a:pt x="253" y="177"/>
                    </a:lnTo>
                    <a:lnTo>
                      <a:pt x="260" y="168"/>
                    </a:lnTo>
                    <a:lnTo>
                      <a:pt x="268" y="153"/>
                    </a:lnTo>
                    <a:lnTo>
                      <a:pt x="278" y="144"/>
                    </a:lnTo>
                    <a:lnTo>
                      <a:pt x="289" y="142"/>
                    </a:lnTo>
                    <a:lnTo>
                      <a:pt x="303" y="144"/>
                    </a:lnTo>
                    <a:lnTo>
                      <a:pt x="307" y="149"/>
                    </a:lnTo>
                    <a:lnTo>
                      <a:pt x="312" y="149"/>
                    </a:lnTo>
                    <a:lnTo>
                      <a:pt x="328" y="158"/>
                    </a:lnTo>
                    <a:lnTo>
                      <a:pt x="333" y="156"/>
                    </a:lnTo>
                    <a:lnTo>
                      <a:pt x="340" y="160"/>
                    </a:lnTo>
                    <a:lnTo>
                      <a:pt x="349" y="158"/>
                    </a:lnTo>
                    <a:lnTo>
                      <a:pt x="360" y="158"/>
                    </a:lnTo>
                    <a:lnTo>
                      <a:pt x="367" y="156"/>
                    </a:lnTo>
                    <a:lnTo>
                      <a:pt x="369" y="160"/>
                    </a:lnTo>
                    <a:lnTo>
                      <a:pt x="374" y="163"/>
                    </a:lnTo>
                    <a:lnTo>
                      <a:pt x="383" y="156"/>
                    </a:lnTo>
                    <a:lnTo>
                      <a:pt x="381" y="153"/>
                    </a:lnTo>
                    <a:lnTo>
                      <a:pt x="383" y="145"/>
                    </a:lnTo>
                    <a:lnTo>
                      <a:pt x="383" y="140"/>
                    </a:lnTo>
                    <a:lnTo>
                      <a:pt x="388" y="137"/>
                    </a:lnTo>
                    <a:lnTo>
                      <a:pt x="386" y="126"/>
                    </a:lnTo>
                    <a:lnTo>
                      <a:pt x="390" y="119"/>
                    </a:lnTo>
                    <a:lnTo>
                      <a:pt x="399" y="117"/>
                    </a:lnTo>
                    <a:lnTo>
                      <a:pt x="404" y="114"/>
                    </a:lnTo>
                    <a:lnTo>
                      <a:pt x="411" y="112"/>
                    </a:lnTo>
                    <a:lnTo>
                      <a:pt x="413" y="108"/>
                    </a:lnTo>
                    <a:lnTo>
                      <a:pt x="416" y="106"/>
                    </a:lnTo>
                    <a:lnTo>
                      <a:pt x="418" y="101"/>
                    </a:lnTo>
                    <a:lnTo>
                      <a:pt x="423" y="98"/>
                    </a:lnTo>
                    <a:lnTo>
                      <a:pt x="429" y="96"/>
                    </a:lnTo>
                    <a:lnTo>
                      <a:pt x="431" y="92"/>
                    </a:lnTo>
                    <a:lnTo>
                      <a:pt x="436" y="91"/>
                    </a:lnTo>
                    <a:lnTo>
                      <a:pt x="436" y="85"/>
                    </a:lnTo>
                    <a:lnTo>
                      <a:pt x="434" y="82"/>
                    </a:lnTo>
                    <a:lnTo>
                      <a:pt x="436" y="71"/>
                    </a:lnTo>
                    <a:lnTo>
                      <a:pt x="446" y="57"/>
                    </a:lnTo>
                    <a:lnTo>
                      <a:pt x="452" y="53"/>
                    </a:lnTo>
                    <a:lnTo>
                      <a:pt x="457" y="52"/>
                    </a:lnTo>
                    <a:lnTo>
                      <a:pt x="461" y="48"/>
                    </a:lnTo>
                    <a:lnTo>
                      <a:pt x="466" y="46"/>
                    </a:lnTo>
                    <a:lnTo>
                      <a:pt x="468" y="43"/>
                    </a:lnTo>
                    <a:lnTo>
                      <a:pt x="473" y="39"/>
                    </a:lnTo>
                    <a:lnTo>
                      <a:pt x="477" y="36"/>
                    </a:lnTo>
                    <a:lnTo>
                      <a:pt x="485" y="29"/>
                    </a:lnTo>
                    <a:lnTo>
                      <a:pt x="494" y="27"/>
                    </a:lnTo>
                    <a:lnTo>
                      <a:pt x="496" y="29"/>
                    </a:lnTo>
                    <a:lnTo>
                      <a:pt x="501" y="27"/>
                    </a:lnTo>
                    <a:lnTo>
                      <a:pt x="507" y="27"/>
                    </a:lnTo>
                    <a:lnTo>
                      <a:pt x="514" y="21"/>
                    </a:lnTo>
                    <a:lnTo>
                      <a:pt x="519" y="20"/>
                    </a:lnTo>
                    <a:lnTo>
                      <a:pt x="521" y="14"/>
                    </a:lnTo>
                    <a:lnTo>
                      <a:pt x="521" y="9"/>
                    </a:lnTo>
                    <a:lnTo>
                      <a:pt x="524" y="6"/>
                    </a:lnTo>
                    <a:lnTo>
                      <a:pt x="532" y="6"/>
                    </a:lnTo>
                    <a:lnTo>
                      <a:pt x="537" y="2"/>
                    </a:lnTo>
                    <a:lnTo>
                      <a:pt x="555" y="0"/>
                    </a:lnTo>
                    <a:lnTo>
                      <a:pt x="565" y="2"/>
                    </a:lnTo>
                    <a:lnTo>
                      <a:pt x="567" y="7"/>
                    </a:lnTo>
                    <a:lnTo>
                      <a:pt x="574" y="7"/>
                    </a:lnTo>
                    <a:lnTo>
                      <a:pt x="583" y="11"/>
                    </a:lnTo>
                    <a:lnTo>
                      <a:pt x="586" y="14"/>
                    </a:lnTo>
                    <a:lnTo>
                      <a:pt x="592" y="11"/>
                    </a:lnTo>
                    <a:lnTo>
                      <a:pt x="602" y="9"/>
                    </a:lnTo>
                    <a:lnTo>
                      <a:pt x="617" y="13"/>
                    </a:lnTo>
                    <a:lnTo>
                      <a:pt x="625" y="20"/>
                    </a:lnTo>
                    <a:lnTo>
                      <a:pt x="627" y="30"/>
                    </a:lnTo>
                    <a:lnTo>
                      <a:pt x="629" y="41"/>
                    </a:lnTo>
                    <a:lnTo>
                      <a:pt x="634" y="52"/>
                    </a:lnTo>
                    <a:lnTo>
                      <a:pt x="634" y="71"/>
                    </a:lnTo>
                    <a:lnTo>
                      <a:pt x="634" y="73"/>
                    </a:lnTo>
                    <a:lnTo>
                      <a:pt x="634" y="82"/>
                    </a:lnTo>
                    <a:lnTo>
                      <a:pt x="638" y="89"/>
                    </a:lnTo>
                    <a:lnTo>
                      <a:pt x="640" y="98"/>
                    </a:lnTo>
                    <a:lnTo>
                      <a:pt x="640" y="131"/>
                    </a:lnTo>
                    <a:lnTo>
                      <a:pt x="636" y="144"/>
                    </a:lnTo>
                    <a:lnTo>
                      <a:pt x="636" y="156"/>
                    </a:lnTo>
                    <a:lnTo>
                      <a:pt x="636" y="170"/>
                    </a:lnTo>
                    <a:lnTo>
                      <a:pt x="629" y="167"/>
                    </a:lnTo>
                    <a:lnTo>
                      <a:pt x="622" y="161"/>
                    </a:lnTo>
                    <a:lnTo>
                      <a:pt x="611" y="154"/>
                    </a:lnTo>
                    <a:lnTo>
                      <a:pt x="604" y="158"/>
                    </a:lnTo>
                    <a:lnTo>
                      <a:pt x="602" y="167"/>
                    </a:lnTo>
                    <a:lnTo>
                      <a:pt x="592" y="184"/>
                    </a:lnTo>
                    <a:lnTo>
                      <a:pt x="588" y="195"/>
                    </a:lnTo>
                    <a:lnTo>
                      <a:pt x="592" y="200"/>
                    </a:lnTo>
                    <a:lnTo>
                      <a:pt x="595" y="204"/>
                    </a:lnTo>
                    <a:lnTo>
                      <a:pt x="601" y="213"/>
                    </a:lnTo>
                    <a:lnTo>
                      <a:pt x="613" y="220"/>
                    </a:lnTo>
                    <a:lnTo>
                      <a:pt x="629" y="222"/>
                    </a:lnTo>
                    <a:lnTo>
                      <a:pt x="636" y="220"/>
                    </a:lnTo>
                    <a:lnTo>
                      <a:pt x="638" y="211"/>
                    </a:lnTo>
                    <a:lnTo>
                      <a:pt x="638" y="206"/>
                    </a:lnTo>
                    <a:lnTo>
                      <a:pt x="643" y="202"/>
                    </a:lnTo>
                    <a:lnTo>
                      <a:pt x="648" y="200"/>
                    </a:lnTo>
                    <a:lnTo>
                      <a:pt x="664" y="204"/>
                    </a:lnTo>
                    <a:lnTo>
                      <a:pt x="671" y="204"/>
                    </a:lnTo>
                    <a:lnTo>
                      <a:pt x="671" y="206"/>
                    </a:lnTo>
                    <a:lnTo>
                      <a:pt x="666" y="213"/>
                    </a:lnTo>
                    <a:lnTo>
                      <a:pt x="670" y="213"/>
                    </a:lnTo>
                    <a:lnTo>
                      <a:pt x="664" y="229"/>
                    </a:lnTo>
                    <a:lnTo>
                      <a:pt x="663" y="241"/>
                    </a:lnTo>
                    <a:lnTo>
                      <a:pt x="657" y="254"/>
                    </a:lnTo>
                    <a:lnTo>
                      <a:pt x="652" y="269"/>
                    </a:lnTo>
                    <a:lnTo>
                      <a:pt x="647" y="277"/>
                    </a:lnTo>
                    <a:lnTo>
                      <a:pt x="645" y="284"/>
                    </a:lnTo>
                    <a:lnTo>
                      <a:pt x="634" y="298"/>
                    </a:lnTo>
                    <a:lnTo>
                      <a:pt x="631" y="298"/>
                    </a:lnTo>
                    <a:lnTo>
                      <a:pt x="627" y="301"/>
                    </a:lnTo>
                    <a:lnTo>
                      <a:pt x="618" y="305"/>
                    </a:lnTo>
                    <a:lnTo>
                      <a:pt x="615" y="310"/>
                    </a:lnTo>
                    <a:lnTo>
                      <a:pt x="606" y="316"/>
                    </a:lnTo>
                    <a:lnTo>
                      <a:pt x="601" y="326"/>
                    </a:lnTo>
                    <a:lnTo>
                      <a:pt x="592" y="335"/>
                    </a:lnTo>
                    <a:lnTo>
                      <a:pt x="592" y="340"/>
                    </a:lnTo>
                    <a:lnTo>
                      <a:pt x="586" y="349"/>
                    </a:lnTo>
                    <a:lnTo>
                      <a:pt x="579" y="349"/>
                    </a:lnTo>
                    <a:lnTo>
                      <a:pt x="572" y="362"/>
                    </a:lnTo>
                    <a:lnTo>
                      <a:pt x="556" y="390"/>
                    </a:lnTo>
                    <a:lnTo>
                      <a:pt x="542" y="402"/>
                    </a:lnTo>
                    <a:lnTo>
                      <a:pt x="540" y="413"/>
                    </a:lnTo>
                    <a:lnTo>
                      <a:pt x="533" y="416"/>
                    </a:lnTo>
                    <a:lnTo>
                      <a:pt x="526" y="425"/>
                    </a:lnTo>
                    <a:lnTo>
                      <a:pt x="521" y="425"/>
                    </a:lnTo>
                    <a:lnTo>
                      <a:pt x="519" y="429"/>
                    </a:lnTo>
                    <a:lnTo>
                      <a:pt x="477" y="471"/>
                    </a:lnTo>
                    <a:lnTo>
                      <a:pt x="471" y="473"/>
                    </a:lnTo>
                    <a:lnTo>
                      <a:pt x="471" y="475"/>
                    </a:lnTo>
                    <a:lnTo>
                      <a:pt x="464" y="482"/>
                    </a:lnTo>
                    <a:lnTo>
                      <a:pt x="436" y="502"/>
                    </a:lnTo>
                    <a:lnTo>
                      <a:pt x="429" y="509"/>
                    </a:lnTo>
                    <a:lnTo>
                      <a:pt x="420" y="510"/>
                    </a:lnTo>
                    <a:lnTo>
                      <a:pt x="420" y="514"/>
                    </a:lnTo>
                    <a:lnTo>
                      <a:pt x="404" y="517"/>
                    </a:lnTo>
                    <a:lnTo>
                      <a:pt x="395" y="523"/>
                    </a:lnTo>
                    <a:lnTo>
                      <a:pt x="384" y="525"/>
                    </a:lnTo>
                    <a:lnTo>
                      <a:pt x="381" y="521"/>
                    </a:lnTo>
                    <a:lnTo>
                      <a:pt x="369" y="521"/>
                    </a:lnTo>
                    <a:lnTo>
                      <a:pt x="358" y="525"/>
                    </a:lnTo>
                    <a:lnTo>
                      <a:pt x="353" y="532"/>
                    </a:lnTo>
                    <a:lnTo>
                      <a:pt x="360" y="537"/>
                    </a:lnTo>
                    <a:lnTo>
                      <a:pt x="360" y="539"/>
                    </a:lnTo>
                    <a:lnTo>
                      <a:pt x="344" y="539"/>
                    </a:lnTo>
                    <a:lnTo>
                      <a:pt x="337" y="535"/>
                    </a:lnTo>
                    <a:lnTo>
                      <a:pt x="330" y="535"/>
                    </a:lnTo>
                    <a:lnTo>
                      <a:pt x="324" y="540"/>
                    </a:lnTo>
                    <a:lnTo>
                      <a:pt x="326" y="546"/>
                    </a:lnTo>
                    <a:lnTo>
                      <a:pt x="322" y="548"/>
                    </a:lnTo>
                    <a:lnTo>
                      <a:pt x="303" y="544"/>
                    </a:lnTo>
                    <a:lnTo>
                      <a:pt x="298" y="539"/>
                    </a:lnTo>
                    <a:lnTo>
                      <a:pt x="278" y="535"/>
                    </a:lnTo>
                    <a:lnTo>
                      <a:pt x="266" y="537"/>
                    </a:lnTo>
                    <a:lnTo>
                      <a:pt x="266" y="540"/>
                    </a:lnTo>
                    <a:lnTo>
                      <a:pt x="259" y="542"/>
                    </a:lnTo>
                    <a:lnTo>
                      <a:pt x="250" y="537"/>
                    </a:lnTo>
                    <a:lnTo>
                      <a:pt x="229" y="537"/>
                    </a:lnTo>
                    <a:lnTo>
                      <a:pt x="222" y="540"/>
                    </a:lnTo>
                    <a:lnTo>
                      <a:pt x="220" y="548"/>
                    </a:lnTo>
                    <a:lnTo>
                      <a:pt x="214" y="546"/>
                    </a:lnTo>
                    <a:lnTo>
                      <a:pt x="209" y="546"/>
                    </a:lnTo>
                    <a:lnTo>
                      <a:pt x="206" y="549"/>
                    </a:lnTo>
                    <a:lnTo>
                      <a:pt x="202" y="553"/>
                    </a:lnTo>
                    <a:lnTo>
                      <a:pt x="193" y="555"/>
                    </a:lnTo>
                    <a:lnTo>
                      <a:pt x="186" y="556"/>
                    </a:lnTo>
                    <a:lnTo>
                      <a:pt x="174" y="553"/>
                    </a:lnTo>
                    <a:lnTo>
                      <a:pt x="163" y="553"/>
                    </a:lnTo>
                    <a:lnTo>
                      <a:pt x="161" y="556"/>
                    </a:lnTo>
                    <a:lnTo>
                      <a:pt x="152" y="555"/>
                    </a:lnTo>
                    <a:lnTo>
                      <a:pt x="144" y="564"/>
                    </a:lnTo>
                    <a:lnTo>
                      <a:pt x="135" y="565"/>
                    </a:lnTo>
                    <a:lnTo>
                      <a:pt x="133" y="571"/>
                    </a:lnTo>
                    <a:lnTo>
                      <a:pt x="128" y="571"/>
                    </a:lnTo>
                    <a:lnTo>
                      <a:pt x="124" y="572"/>
                    </a:lnTo>
                    <a:lnTo>
                      <a:pt x="105" y="562"/>
                    </a:lnTo>
                    <a:lnTo>
                      <a:pt x="99" y="565"/>
                    </a:lnTo>
                    <a:lnTo>
                      <a:pt x="99" y="555"/>
                    </a:lnTo>
                    <a:lnTo>
                      <a:pt x="92" y="551"/>
                    </a:lnTo>
                    <a:lnTo>
                      <a:pt x="85" y="553"/>
                    </a:lnTo>
                    <a:lnTo>
                      <a:pt x="82" y="551"/>
                    </a:lnTo>
                    <a:lnTo>
                      <a:pt x="85" y="549"/>
                    </a:lnTo>
                    <a:lnTo>
                      <a:pt x="83" y="540"/>
                    </a:lnTo>
                    <a:lnTo>
                      <a:pt x="73" y="539"/>
                    </a:lnTo>
                    <a:lnTo>
                      <a:pt x="66" y="544"/>
                    </a:lnTo>
                    <a:lnTo>
                      <a:pt x="67" y="553"/>
                    </a:lnTo>
                    <a:lnTo>
                      <a:pt x="62" y="549"/>
                    </a:lnTo>
                    <a:lnTo>
                      <a:pt x="60" y="540"/>
                    </a:lnTo>
                    <a:lnTo>
                      <a:pt x="64" y="533"/>
                    </a:lnTo>
                    <a:lnTo>
                      <a:pt x="62" y="523"/>
                    </a:lnTo>
                    <a:lnTo>
                      <a:pt x="67" y="514"/>
                    </a:lnTo>
                    <a:lnTo>
                      <a:pt x="60" y="500"/>
                    </a:lnTo>
                    <a:lnTo>
                      <a:pt x="53" y="493"/>
                    </a:lnTo>
                    <a:lnTo>
                      <a:pt x="46" y="482"/>
                    </a:lnTo>
                    <a:lnTo>
                      <a:pt x="46" y="471"/>
                    </a:lnTo>
                    <a:lnTo>
                      <a:pt x="51" y="468"/>
                    </a:lnTo>
                    <a:lnTo>
                      <a:pt x="55" y="473"/>
                    </a:lnTo>
                    <a:lnTo>
                      <a:pt x="59" y="473"/>
                    </a:lnTo>
                    <a:lnTo>
                      <a:pt x="64" y="468"/>
                    </a:lnTo>
                    <a:lnTo>
                      <a:pt x="66" y="454"/>
                    </a:lnTo>
                    <a:lnTo>
                      <a:pt x="62" y="440"/>
                    </a:lnTo>
                    <a:lnTo>
                      <a:pt x="62" y="434"/>
                    </a:lnTo>
                    <a:lnTo>
                      <a:pt x="51" y="415"/>
                    </a:lnTo>
                    <a:lnTo>
                      <a:pt x="50" y="406"/>
                    </a:lnTo>
                    <a:lnTo>
                      <a:pt x="39" y="390"/>
                    </a:lnTo>
                    <a:lnTo>
                      <a:pt x="34" y="367"/>
                    </a:lnTo>
                    <a:lnTo>
                      <a:pt x="25" y="344"/>
                    </a:lnTo>
                    <a:lnTo>
                      <a:pt x="25" y="331"/>
                    </a:lnTo>
                    <a:lnTo>
                      <a:pt x="16" y="307"/>
                    </a:lnTo>
                    <a:lnTo>
                      <a:pt x="4" y="296"/>
                    </a:lnTo>
                    <a:lnTo>
                      <a:pt x="0" y="284"/>
                    </a:lnTo>
                    <a:lnTo>
                      <a:pt x="0" y="284"/>
                    </a:lnTo>
                    <a:lnTo>
                      <a:pt x="0" y="284"/>
                    </a:lnTo>
                    <a:close/>
                    <a:moveTo>
                      <a:pt x="443" y="363"/>
                    </a:moveTo>
                    <a:lnTo>
                      <a:pt x="448" y="369"/>
                    </a:lnTo>
                    <a:lnTo>
                      <a:pt x="454" y="374"/>
                    </a:lnTo>
                    <a:lnTo>
                      <a:pt x="462" y="378"/>
                    </a:lnTo>
                    <a:lnTo>
                      <a:pt x="470" y="378"/>
                    </a:lnTo>
                    <a:lnTo>
                      <a:pt x="471" y="374"/>
                    </a:lnTo>
                    <a:lnTo>
                      <a:pt x="475" y="370"/>
                    </a:lnTo>
                    <a:lnTo>
                      <a:pt x="478" y="360"/>
                    </a:lnTo>
                    <a:lnTo>
                      <a:pt x="485" y="358"/>
                    </a:lnTo>
                    <a:lnTo>
                      <a:pt x="491" y="354"/>
                    </a:lnTo>
                    <a:lnTo>
                      <a:pt x="498" y="353"/>
                    </a:lnTo>
                    <a:lnTo>
                      <a:pt x="503" y="354"/>
                    </a:lnTo>
                    <a:lnTo>
                      <a:pt x="510" y="349"/>
                    </a:lnTo>
                    <a:lnTo>
                      <a:pt x="512" y="344"/>
                    </a:lnTo>
                    <a:lnTo>
                      <a:pt x="508" y="340"/>
                    </a:lnTo>
                    <a:lnTo>
                      <a:pt x="508" y="335"/>
                    </a:lnTo>
                    <a:lnTo>
                      <a:pt x="516" y="331"/>
                    </a:lnTo>
                    <a:lnTo>
                      <a:pt x="523" y="324"/>
                    </a:lnTo>
                    <a:lnTo>
                      <a:pt x="523" y="316"/>
                    </a:lnTo>
                    <a:lnTo>
                      <a:pt x="516" y="300"/>
                    </a:lnTo>
                    <a:lnTo>
                      <a:pt x="507" y="292"/>
                    </a:lnTo>
                    <a:lnTo>
                      <a:pt x="501" y="294"/>
                    </a:lnTo>
                    <a:lnTo>
                      <a:pt x="494" y="289"/>
                    </a:lnTo>
                    <a:lnTo>
                      <a:pt x="493" y="291"/>
                    </a:lnTo>
                    <a:lnTo>
                      <a:pt x="489" y="289"/>
                    </a:lnTo>
                    <a:lnTo>
                      <a:pt x="482" y="289"/>
                    </a:lnTo>
                    <a:lnTo>
                      <a:pt x="482" y="291"/>
                    </a:lnTo>
                    <a:lnTo>
                      <a:pt x="477" y="294"/>
                    </a:lnTo>
                    <a:lnTo>
                      <a:pt x="473" y="298"/>
                    </a:lnTo>
                    <a:lnTo>
                      <a:pt x="457" y="301"/>
                    </a:lnTo>
                    <a:lnTo>
                      <a:pt x="448" y="308"/>
                    </a:lnTo>
                    <a:lnTo>
                      <a:pt x="445" y="321"/>
                    </a:lnTo>
                    <a:lnTo>
                      <a:pt x="432" y="328"/>
                    </a:lnTo>
                    <a:lnTo>
                      <a:pt x="427" y="333"/>
                    </a:lnTo>
                    <a:lnTo>
                      <a:pt x="431" y="340"/>
                    </a:lnTo>
                    <a:lnTo>
                      <a:pt x="436" y="346"/>
                    </a:lnTo>
                    <a:lnTo>
                      <a:pt x="438" y="349"/>
                    </a:lnTo>
                    <a:lnTo>
                      <a:pt x="441" y="354"/>
                    </a:lnTo>
                    <a:lnTo>
                      <a:pt x="443" y="36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5" name="Freeform 55">
                <a:extLst>
                  <a:ext uri="{FF2B5EF4-FFF2-40B4-BE49-F238E27FC236}">
                    <a16:creationId xmlns:a16="http://schemas.microsoft.com/office/drawing/2014/main" id="{06C42498-735A-A616-3BD1-96FA461947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5438" y="5892801"/>
                <a:ext cx="152400" cy="141288"/>
              </a:xfrm>
              <a:custGeom>
                <a:avLst/>
                <a:gdLst>
                  <a:gd name="T0" fmla="*/ 16 w 96"/>
                  <a:gd name="T1" fmla="*/ 74 h 89"/>
                  <a:gd name="T2" fmla="*/ 14 w 96"/>
                  <a:gd name="T3" fmla="*/ 65 h 89"/>
                  <a:gd name="T4" fmla="*/ 11 w 96"/>
                  <a:gd name="T5" fmla="*/ 60 h 89"/>
                  <a:gd name="T6" fmla="*/ 9 w 96"/>
                  <a:gd name="T7" fmla="*/ 57 h 89"/>
                  <a:gd name="T8" fmla="*/ 4 w 96"/>
                  <a:gd name="T9" fmla="*/ 51 h 89"/>
                  <a:gd name="T10" fmla="*/ 0 w 96"/>
                  <a:gd name="T11" fmla="*/ 44 h 89"/>
                  <a:gd name="T12" fmla="*/ 5 w 96"/>
                  <a:gd name="T13" fmla="*/ 39 h 89"/>
                  <a:gd name="T14" fmla="*/ 18 w 96"/>
                  <a:gd name="T15" fmla="*/ 32 h 89"/>
                  <a:gd name="T16" fmla="*/ 21 w 96"/>
                  <a:gd name="T17" fmla="*/ 19 h 89"/>
                  <a:gd name="T18" fmla="*/ 30 w 96"/>
                  <a:gd name="T19" fmla="*/ 12 h 89"/>
                  <a:gd name="T20" fmla="*/ 46 w 96"/>
                  <a:gd name="T21" fmla="*/ 9 h 89"/>
                  <a:gd name="T22" fmla="*/ 50 w 96"/>
                  <a:gd name="T23" fmla="*/ 5 h 89"/>
                  <a:gd name="T24" fmla="*/ 55 w 96"/>
                  <a:gd name="T25" fmla="*/ 2 h 89"/>
                  <a:gd name="T26" fmla="*/ 55 w 96"/>
                  <a:gd name="T27" fmla="*/ 0 h 89"/>
                  <a:gd name="T28" fmla="*/ 62 w 96"/>
                  <a:gd name="T29" fmla="*/ 0 h 89"/>
                  <a:gd name="T30" fmla="*/ 66 w 96"/>
                  <a:gd name="T31" fmla="*/ 2 h 89"/>
                  <a:gd name="T32" fmla="*/ 67 w 96"/>
                  <a:gd name="T33" fmla="*/ 0 h 89"/>
                  <a:gd name="T34" fmla="*/ 74 w 96"/>
                  <a:gd name="T35" fmla="*/ 5 h 89"/>
                  <a:gd name="T36" fmla="*/ 80 w 96"/>
                  <a:gd name="T37" fmla="*/ 3 h 89"/>
                  <a:gd name="T38" fmla="*/ 89 w 96"/>
                  <a:gd name="T39" fmla="*/ 11 h 89"/>
                  <a:gd name="T40" fmla="*/ 96 w 96"/>
                  <a:gd name="T41" fmla="*/ 27 h 89"/>
                  <a:gd name="T42" fmla="*/ 96 w 96"/>
                  <a:gd name="T43" fmla="*/ 35 h 89"/>
                  <a:gd name="T44" fmla="*/ 89 w 96"/>
                  <a:gd name="T45" fmla="*/ 42 h 89"/>
                  <a:gd name="T46" fmla="*/ 81 w 96"/>
                  <a:gd name="T47" fmla="*/ 46 h 89"/>
                  <a:gd name="T48" fmla="*/ 81 w 96"/>
                  <a:gd name="T49" fmla="*/ 51 h 89"/>
                  <a:gd name="T50" fmla="*/ 85 w 96"/>
                  <a:gd name="T51" fmla="*/ 55 h 89"/>
                  <a:gd name="T52" fmla="*/ 83 w 96"/>
                  <a:gd name="T53" fmla="*/ 60 h 89"/>
                  <a:gd name="T54" fmla="*/ 76 w 96"/>
                  <a:gd name="T55" fmla="*/ 65 h 89"/>
                  <a:gd name="T56" fmla="*/ 71 w 96"/>
                  <a:gd name="T57" fmla="*/ 64 h 89"/>
                  <a:gd name="T58" fmla="*/ 64 w 96"/>
                  <a:gd name="T59" fmla="*/ 65 h 89"/>
                  <a:gd name="T60" fmla="*/ 58 w 96"/>
                  <a:gd name="T61" fmla="*/ 69 h 89"/>
                  <a:gd name="T62" fmla="*/ 51 w 96"/>
                  <a:gd name="T63" fmla="*/ 71 h 89"/>
                  <a:gd name="T64" fmla="*/ 48 w 96"/>
                  <a:gd name="T65" fmla="*/ 81 h 89"/>
                  <a:gd name="T66" fmla="*/ 44 w 96"/>
                  <a:gd name="T67" fmla="*/ 85 h 89"/>
                  <a:gd name="T68" fmla="*/ 43 w 96"/>
                  <a:gd name="T69" fmla="*/ 89 h 89"/>
                  <a:gd name="T70" fmla="*/ 35 w 96"/>
                  <a:gd name="T71" fmla="*/ 89 h 89"/>
                  <a:gd name="T72" fmla="*/ 27 w 96"/>
                  <a:gd name="T73" fmla="*/ 85 h 89"/>
                  <a:gd name="T74" fmla="*/ 21 w 96"/>
                  <a:gd name="T75" fmla="*/ 80 h 89"/>
                  <a:gd name="T76" fmla="*/ 16 w 96"/>
                  <a:gd name="T77" fmla="*/ 7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89">
                    <a:moveTo>
                      <a:pt x="16" y="74"/>
                    </a:moveTo>
                    <a:lnTo>
                      <a:pt x="14" y="65"/>
                    </a:lnTo>
                    <a:lnTo>
                      <a:pt x="11" y="60"/>
                    </a:lnTo>
                    <a:lnTo>
                      <a:pt x="9" y="57"/>
                    </a:lnTo>
                    <a:lnTo>
                      <a:pt x="4" y="51"/>
                    </a:lnTo>
                    <a:lnTo>
                      <a:pt x="0" y="44"/>
                    </a:lnTo>
                    <a:lnTo>
                      <a:pt x="5" y="39"/>
                    </a:lnTo>
                    <a:lnTo>
                      <a:pt x="18" y="32"/>
                    </a:lnTo>
                    <a:lnTo>
                      <a:pt x="21" y="19"/>
                    </a:lnTo>
                    <a:lnTo>
                      <a:pt x="30" y="12"/>
                    </a:lnTo>
                    <a:lnTo>
                      <a:pt x="46" y="9"/>
                    </a:lnTo>
                    <a:lnTo>
                      <a:pt x="50" y="5"/>
                    </a:lnTo>
                    <a:lnTo>
                      <a:pt x="55" y="2"/>
                    </a:lnTo>
                    <a:lnTo>
                      <a:pt x="55" y="0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67" y="0"/>
                    </a:lnTo>
                    <a:lnTo>
                      <a:pt x="74" y="5"/>
                    </a:lnTo>
                    <a:lnTo>
                      <a:pt x="80" y="3"/>
                    </a:lnTo>
                    <a:lnTo>
                      <a:pt x="89" y="11"/>
                    </a:lnTo>
                    <a:lnTo>
                      <a:pt x="96" y="27"/>
                    </a:lnTo>
                    <a:lnTo>
                      <a:pt x="96" y="35"/>
                    </a:lnTo>
                    <a:lnTo>
                      <a:pt x="89" y="42"/>
                    </a:lnTo>
                    <a:lnTo>
                      <a:pt x="81" y="46"/>
                    </a:lnTo>
                    <a:lnTo>
                      <a:pt x="81" y="51"/>
                    </a:lnTo>
                    <a:lnTo>
                      <a:pt x="85" y="55"/>
                    </a:lnTo>
                    <a:lnTo>
                      <a:pt x="83" y="60"/>
                    </a:lnTo>
                    <a:lnTo>
                      <a:pt x="76" y="65"/>
                    </a:lnTo>
                    <a:lnTo>
                      <a:pt x="71" y="64"/>
                    </a:lnTo>
                    <a:lnTo>
                      <a:pt x="64" y="65"/>
                    </a:lnTo>
                    <a:lnTo>
                      <a:pt x="58" y="69"/>
                    </a:lnTo>
                    <a:lnTo>
                      <a:pt x="51" y="71"/>
                    </a:lnTo>
                    <a:lnTo>
                      <a:pt x="48" y="81"/>
                    </a:lnTo>
                    <a:lnTo>
                      <a:pt x="44" y="85"/>
                    </a:lnTo>
                    <a:lnTo>
                      <a:pt x="43" y="89"/>
                    </a:lnTo>
                    <a:lnTo>
                      <a:pt x="35" y="89"/>
                    </a:lnTo>
                    <a:lnTo>
                      <a:pt x="27" y="85"/>
                    </a:lnTo>
                    <a:lnTo>
                      <a:pt x="21" y="80"/>
                    </a:lnTo>
                    <a:lnTo>
                      <a:pt x="16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6" name="Graphic 5" descr="Production with solid fill">
              <a:extLst>
                <a:ext uri="{FF2B5EF4-FFF2-40B4-BE49-F238E27FC236}">
                  <a16:creationId xmlns:a16="http://schemas.microsoft.com/office/drawing/2014/main" id="{3310F1E8-8BBC-938E-67BB-EECBD3BA9CF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16365" y="5322144"/>
              <a:ext cx="254548" cy="254548"/>
            </a:xfrm>
            <a:prstGeom prst="rect">
              <a:avLst/>
            </a:prstGeom>
          </p:spPr>
        </p:pic>
        <p:pic>
          <p:nvPicPr>
            <p:cNvPr id="7" name="Graphic 6" descr="Production with solid fill">
              <a:extLst>
                <a:ext uri="{FF2B5EF4-FFF2-40B4-BE49-F238E27FC236}">
                  <a16:creationId xmlns:a16="http://schemas.microsoft.com/office/drawing/2014/main" id="{318AC50C-6303-235F-701D-D748760E0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50779" y="5271493"/>
              <a:ext cx="254548" cy="254548"/>
            </a:xfrm>
            <a:prstGeom prst="rect">
              <a:avLst/>
            </a:prstGeom>
          </p:spPr>
        </p:pic>
        <p:pic>
          <p:nvPicPr>
            <p:cNvPr id="8" name="Graphic 7" descr="Production with solid fill">
              <a:extLst>
                <a:ext uri="{FF2B5EF4-FFF2-40B4-BE49-F238E27FC236}">
                  <a16:creationId xmlns:a16="http://schemas.microsoft.com/office/drawing/2014/main" id="{C407E40D-D392-5D7D-91D6-FAC8DFEA6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406632" y="4836398"/>
              <a:ext cx="254548" cy="254548"/>
            </a:xfrm>
            <a:prstGeom prst="rect">
              <a:avLst/>
            </a:prstGeom>
          </p:spPr>
        </p:pic>
        <p:pic>
          <p:nvPicPr>
            <p:cNvPr id="9" name="Graphic 8" descr="Production with solid fill">
              <a:extLst>
                <a:ext uri="{FF2B5EF4-FFF2-40B4-BE49-F238E27FC236}">
                  <a16:creationId xmlns:a16="http://schemas.microsoft.com/office/drawing/2014/main" id="{0304CBE4-3197-2096-C05B-5C8B29D69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52924" y="4698957"/>
              <a:ext cx="254548" cy="254548"/>
            </a:xfrm>
            <a:prstGeom prst="rect">
              <a:avLst/>
            </a:prstGeom>
          </p:spPr>
        </p:pic>
        <p:pic>
          <p:nvPicPr>
            <p:cNvPr id="10" name="Graphic 9" descr="Production with solid fill">
              <a:extLst>
                <a:ext uri="{FF2B5EF4-FFF2-40B4-BE49-F238E27FC236}">
                  <a16:creationId xmlns:a16="http://schemas.microsoft.com/office/drawing/2014/main" id="{6B12DAB2-5B4B-8468-0103-5C3CB1287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441382" y="4732351"/>
              <a:ext cx="254548" cy="254548"/>
            </a:xfrm>
            <a:prstGeom prst="rect">
              <a:avLst/>
            </a:prstGeom>
          </p:spPr>
        </p:pic>
        <p:pic>
          <p:nvPicPr>
            <p:cNvPr id="11" name="Graphic 10" descr="Production with solid fill">
              <a:extLst>
                <a:ext uri="{FF2B5EF4-FFF2-40B4-BE49-F238E27FC236}">
                  <a16:creationId xmlns:a16="http://schemas.microsoft.com/office/drawing/2014/main" id="{F712401D-D30E-BDE1-5884-8A0F193FB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47685" y="5850425"/>
              <a:ext cx="254548" cy="254548"/>
            </a:xfrm>
            <a:prstGeom prst="rect">
              <a:avLst/>
            </a:prstGeom>
          </p:spPr>
        </p:pic>
        <p:pic>
          <p:nvPicPr>
            <p:cNvPr id="12" name="Graphic 11" descr="Production with solid fill">
              <a:extLst>
                <a:ext uri="{FF2B5EF4-FFF2-40B4-BE49-F238E27FC236}">
                  <a16:creationId xmlns:a16="http://schemas.microsoft.com/office/drawing/2014/main" id="{4362414C-57AE-38FA-9C75-AFCE2A194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97138" y="5791064"/>
              <a:ext cx="254548" cy="254548"/>
            </a:xfrm>
            <a:prstGeom prst="rect">
              <a:avLst/>
            </a:prstGeom>
          </p:spPr>
        </p:pic>
        <p:pic>
          <p:nvPicPr>
            <p:cNvPr id="13" name="Graphic 12" descr="Production with solid fill">
              <a:extLst>
                <a:ext uri="{FF2B5EF4-FFF2-40B4-BE49-F238E27FC236}">
                  <a16:creationId xmlns:a16="http://schemas.microsoft.com/office/drawing/2014/main" id="{4445EB50-D169-A103-C5BC-A7E4F82389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97060" y="4839347"/>
              <a:ext cx="254548" cy="254548"/>
            </a:xfrm>
            <a:prstGeom prst="rect">
              <a:avLst/>
            </a:prstGeom>
          </p:spPr>
        </p:pic>
        <p:pic>
          <p:nvPicPr>
            <p:cNvPr id="15" name="Graphic 14" descr="Production with solid fill">
              <a:extLst>
                <a:ext uri="{FF2B5EF4-FFF2-40B4-BE49-F238E27FC236}">
                  <a16:creationId xmlns:a16="http://schemas.microsoft.com/office/drawing/2014/main" id="{D7D48411-CECF-1E7F-5779-D78EF3812DD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15891" y="5713101"/>
              <a:ext cx="254548" cy="254548"/>
            </a:xfrm>
            <a:prstGeom prst="rect">
              <a:avLst/>
            </a:prstGeom>
          </p:spPr>
        </p:pic>
        <p:pic>
          <p:nvPicPr>
            <p:cNvPr id="16" name="Graphic 15" descr="Production with solid fill">
              <a:extLst>
                <a:ext uri="{FF2B5EF4-FFF2-40B4-BE49-F238E27FC236}">
                  <a16:creationId xmlns:a16="http://schemas.microsoft.com/office/drawing/2014/main" id="{33A73293-427B-776F-9E66-771F0A79E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497409" y="2225443"/>
              <a:ext cx="254548" cy="254548"/>
            </a:xfrm>
            <a:prstGeom prst="rect">
              <a:avLst/>
            </a:prstGeom>
          </p:spPr>
        </p:pic>
        <p:pic>
          <p:nvPicPr>
            <p:cNvPr id="23" name="Graphic 22" descr="Production with solid fill">
              <a:extLst>
                <a:ext uri="{FF2B5EF4-FFF2-40B4-BE49-F238E27FC236}">
                  <a16:creationId xmlns:a16="http://schemas.microsoft.com/office/drawing/2014/main" id="{AC92D3EA-7FA9-DE06-6029-63381DCD33A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04847" y="5018717"/>
              <a:ext cx="254548" cy="254548"/>
            </a:xfrm>
            <a:prstGeom prst="rect">
              <a:avLst/>
            </a:prstGeom>
          </p:spPr>
        </p:pic>
        <p:pic>
          <p:nvPicPr>
            <p:cNvPr id="28" name="Graphic 27" descr="Production with solid fill">
              <a:extLst>
                <a:ext uri="{FF2B5EF4-FFF2-40B4-BE49-F238E27FC236}">
                  <a16:creationId xmlns:a16="http://schemas.microsoft.com/office/drawing/2014/main" id="{8D8E0FF6-3334-ED8F-546D-FD3E04124B0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50274" y="5065923"/>
              <a:ext cx="254548" cy="254548"/>
            </a:xfrm>
            <a:prstGeom prst="rect">
              <a:avLst/>
            </a:prstGeom>
          </p:spPr>
        </p:pic>
        <p:pic>
          <p:nvPicPr>
            <p:cNvPr id="33" name="Graphic 32" descr="Production with solid fill">
              <a:extLst>
                <a:ext uri="{FF2B5EF4-FFF2-40B4-BE49-F238E27FC236}">
                  <a16:creationId xmlns:a16="http://schemas.microsoft.com/office/drawing/2014/main" id="{B2B991E9-1F6B-851C-13F8-8C0DD5EB16C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326951" y="4980153"/>
              <a:ext cx="254548" cy="254548"/>
            </a:xfrm>
            <a:prstGeom prst="rect">
              <a:avLst/>
            </a:prstGeom>
          </p:spPr>
        </p:pic>
        <p:pic>
          <p:nvPicPr>
            <p:cNvPr id="38" name="Graphic 37" descr="Production with solid fill">
              <a:extLst>
                <a:ext uri="{FF2B5EF4-FFF2-40B4-BE49-F238E27FC236}">
                  <a16:creationId xmlns:a16="http://schemas.microsoft.com/office/drawing/2014/main" id="{8DFACE87-4893-5BEC-77FC-314D6ECAB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705379" y="5347218"/>
              <a:ext cx="254548" cy="254548"/>
            </a:xfrm>
            <a:prstGeom prst="rect">
              <a:avLst/>
            </a:prstGeom>
          </p:spPr>
        </p:pic>
        <p:pic>
          <p:nvPicPr>
            <p:cNvPr id="43" name="Graphic 42" descr="Production with solid fill">
              <a:extLst>
                <a:ext uri="{FF2B5EF4-FFF2-40B4-BE49-F238E27FC236}">
                  <a16:creationId xmlns:a16="http://schemas.microsoft.com/office/drawing/2014/main" id="{107B15D2-4AAE-6E80-A3EB-3CF94AC87B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78599" y="5713966"/>
              <a:ext cx="254548" cy="254548"/>
            </a:xfrm>
            <a:prstGeom prst="rect">
              <a:avLst/>
            </a:prstGeom>
          </p:spPr>
        </p:pic>
        <p:pic>
          <p:nvPicPr>
            <p:cNvPr id="48" name="Graphic 47" descr="Production with solid fill">
              <a:extLst>
                <a:ext uri="{FF2B5EF4-FFF2-40B4-BE49-F238E27FC236}">
                  <a16:creationId xmlns:a16="http://schemas.microsoft.com/office/drawing/2014/main" id="{6D1569E2-CAEA-E389-73C9-5B380CBC80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328168" y="2008012"/>
              <a:ext cx="254548" cy="254548"/>
            </a:xfrm>
            <a:prstGeom prst="rect">
              <a:avLst/>
            </a:prstGeom>
          </p:spPr>
        </p:pic>
        <p:pic>
          <p:nvPicPr>
            <p:cNvPr id="648" name="Graphic 647" descr="Production with solid fill">
              <a:extLst>
                <a:ext uri="{FF2B5EF4-FFF2-40B4-BE49-F238E27FC236}">
                  <a16:creationId xmlns:a16="http://schemas.microsoft.com/office/drawing/2014/main" id="{5291E151-A98E-8016-5F09-A98DDE5ABC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183839" y="2101283"/>
              <a:ext cx="254548" cy="254548"/>
            </a:xfrm>
            <a:prstGeom prst="rect">
              <a:avLst/>
            </a:prstGeom>
          </p:spPr>
        </p:pic>
        <p:pic>
          <p:nvPicPr>
            <p:cNvPr id="712" name="Graphic 711" descr="Production with solid fill">
              <a:extLst>
                <a:ext uri="{FF2B5EF4-FFF2-40B4-BE49-F238E27FC236}">
                  <a16:creationId xmlns:a16="http://schemas.microsoft.com/office/drawing/2014/main" id="{38E591D4-A41E-B67F-7BD9-61D09E13B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282055" y="2127005"/>
              <a:ext cx="254548" cy="254548"/>
            </a:xfrm>
            <a:prstGeom prst="rect">
              <a:avLst/>
            </a:prstGeom>
          </p:spPr>
        </p:pic>
        <p:pic>
          <p:nvPicPr>
            <p:cNvPr id="714" name="Graphic 713" descr="Production with solid fill">
              <a:extLst>
                <a:ext uri="{FF2B5EF4-FFF2-40B4-BE49-F238E27FC236}">
                  <a16:creationId xmlns:a16="http://schemas.microsoft.com/office/drawing/2014/main" id="{5BB42AFE-CF0F-34A4-1F66-5854F8CF8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595488" y="5815536"/>
              <a:ext cx="254548" cy="254548"/>
            </a:xfrm>
            <a:prstGeom prst="rect">
              <a:avLst/>
            </a:prstGeom>
          </p:spPr>
        </p:pic>
        <p:pic>
          <p:nvPicPr>
            <p:cNvPr id="715" name="Graphic 714" descr="Production with solid fill">
              <a:extLst>
                <a:ext uri="{FF2B5EF4-FFF2-40B4-BE49-F238E27FC236}">
                  <a16:creationId xmlns:a16="http://schemas.microsoft.com/office/drawing/2014/main" id="{25AD0DFF-E45E-B2C1-60F5-A36DCDFDAA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597098" y="2316348"/>
              <a:ext cx="254548" cy="254548"/>
            </a:xfrm>
            <a:prstGeom prst="rect">
              <a:avLst/>
            </a:prstGeom>
          </p:spPr>
        </p:pic>
        <p:pic>
          <p:nvPicPr>
            <p:cNvPr id="716" name="Graphic 715" descr="Production with solid fill">
              <a:extLst>
                <a:ext uri="{FF2B5EF4-FFF2-40B4-BE49-F238E27FC236}">
                  <a16:creationId xmlns:a16="http://schemas.microsoft.com/office/drawing/2014/main" id="{AE5D85D7-021D-08A4-3C64-6458437AAD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14480" y="3297993"/>
              <a:ext cx="254548" cy="254548"/>
            </a:xfrm>
            <a:prstGeom prst="rect">
              <a:avLst/>
            </a:prstGeom>
          </p:spPr>
        </p:pic>
      </p:grpSp>
      <p:sp>
        <p:nvSpPr>
          <p:cNvPr id="805" name="TextBox 804">
            <a:extLst>
              <a:ext uri="{FF2B5EF4-FFF2-40B4-BE49-F238E27FC236}">
                <a16:creationId xmlns:a16="http://schemas.microsoft.com/office/drawing/2014/main" id="{E8940275-95F1-8805-EAFA-2B115681055B}"/>
              </a:ext>
            </a:extLst>
          </p:cNvPr>
          <p:cNvSpPr txBox="1"/>
          <p:nvPr/>
        </p:nvSpPr>
        <p:spPr>
          <a:xfrm>
            <a:off x="8720949" y="10459476"/>
            <a:ext cx="569634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47500</a:t>
            </a:r>
          </a:p>
        </p:txBody>
      </p:sp>
      <p:sp>
        <p:nvSpPr>
          <p:cNvPr id="806" name="TextBox 805">
            <a:extLst>
              <a:ext uri="{FF2B5EF4-FFF2-40B4-BE49-F238E27FC236}">
                <a16:creationId xmlns:a16="http://schemas.microsoft.com/office/drawing/2014/main" id="{A8C0125C-BDAB-0463-8866-73067F0C94D8}"/>
              </a:ext>
            </a:extLst>
          </p:cNvPr>
          <p:cNvSpPr txBox="1"/>
          <p:nvPr/>
        </p:nvSpPr>
        <p:spPr>
          <a:xfrm>
            <a:off x="7684165" y="10459476"/>
            <a:ext cx="98641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Phosphate</a:t>
            </a:r>
          </a:p>
        </p:txBody>
      </p:sp>
      <p:sp>
        <p:nvSpPr>
          <p:cNvPr id="776" name="Rounded Rectangle 775">
            <a:extLst>
              <a:ext uri="{FF2B5EF4-FFF2-40B4-BE49-F238E27FC236}">
                <a16:creationId xmlns:a16="http://schemas.microsoft.com/office/drawing/2014/main" id="{0A78740B-C797-F756-A016-DEA89371E012}"/>
              </a:ext>
            </a:extLst>
          </p:cNvPr>
          <p:cNvSpPr/>
          <p:nvPr/>
        </p:nvSpPr>
        <p:spPr>
          <a:xfrm>
            <a:off x="4981241" y="1746319"/>
            <a:ext cx="2185792" cy="1315578"/>
          </a:xfrm>
          <a:prstGeom prst="roundRect">
            <a:avLst>
              <a:gd name="adj" fmla="val 6436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81" name="TextBox 780">
            <a:extLst>
              <a:ext uri="{FF2B5EF4-FFF2-40B4-BE49-F238E27FC236}">
                <a16:creationId xmlns:a16="http://schemas.microsoft.com/office/drawing/2014/main" id="{877826F8-23A9-351B-2AA6-4476D7922E6D}"/>
              </a:ext>
            </a:extLst>
          </p:cNvPr>
          <p:cNvSpPr txBox="1"/>
          <p:nvPr/>
        </p:nvSpPr>
        <p:spPr>
          <a:xfrm>
            <a:off x="6720301" y="1847737"/>
            <a:ext cx="321169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4.3</a:t>
            </a:r>
          </a:p>
        </p:txBody>
      </p:sp>
      <p:sp>
        <p:nvSpPr>
          <p:cNvPr id="782" name="TextBox 781">
            <a:extLst>
              <a:ext uri="{FF2B5EF4-FFF2-40B4-BE49-F238E27FC236}">
                <a16:creationId xmlns:a16="http://schemas.microsoft.com/office/drawing/2014/main" id="{1AE05856-F783-6EE1-EA76-D99CD389AB56}"/>
              </a:ext>
            </a:extLst>
          </p:cNvPr>
          <p:cNvSpPr txBox="1"/>
          <p:nvPr/>
        </p:nvSpPr>
        <p:spPr>
          <a:xfrm>
            <a:off x="5947520" y="2142621"/>
            <a:ext cx="69947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Cobalt*</a:t>
            </a:r>
          </a:p>
        </p:txBody>
      </p:sp>
      <p:cxnSp>
        <p:nvCxnSpPr>
          <p:cNvPr id="808" name="Straight Connector 807">
            <a:extLst>
              <a:ext uri="{FF2B5EF4-FFF2-40B4-BE49-F238E27FC236}">
                <a16:creationId xmlns:a16="http://schemas.microsoft.com/office/drawing/2014/main" id="{2BCFFF13-446E-6438-57DA-1FDBFDC78D4B}"/>
              </a:ext>
            </a:extLst>
          </p:cNvPr>
          <p:cNvCxnSpPr>
            <a:cxnSpLocks/>
          </p:cNvCxnSpPr>
          <p:nvPr/>
        </p:nvCxnSpPr>
        <p:spPr>
          <a:xfrm>
            <a:off x="5219155" y="2506894"/>
            <a:ext cx="180934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9" name="Graphic 808" descr="Production with solid fill">
            <a:extLst>
              <a:ext uri="{FF2B5EF4-FFF2-40B4-BE49-F238E27FC236}">
                <a16:creationId xmlns:a16="http://schemas.microsoft.com/office/drawing/2014/main" id="{5045631C-E32F-1861-9564-9D90479ED69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60152" y="1902955"/>
            <a:ext cx="598488" cy="598488"/>
          </a:xfrm>
          <a:prstGeom prst="rect">
            <a:avLst/>
          </a:prstGeom>
        </p:spPr>
      </p:pic>
      <p:sp>
        <p:nvSpPr>
          <p:cNvPr id="810" name="Oval 809">
            <a:extLst>
              <a:ext uri="{FF2B5EF4-FFF2-40B4-BE49-F238E27FC236}">
                <a16:creationId xmlns:a16="http://schemas.microsoft.com/office/drawing/2014/main" id="{9E1C46DA-52DA-91F3-C6A6-1E803E061F26}"/>
              </a:ext>
            </a:extLst>
          </p:cNvPr>
          <p:cNvSpPr/>
          <p:nvPr/>
        </p:nvSpPr>
        <p:spPr>
          <a:xfrm>
            <a:off x="5106805" y="2156479"/>
            <a:ext cx="91440" cy="91440"/>
          </a:xfrm>
          <a:prstGeom prst="ellipse">
            <a:avLst/>
          </a:prstGeom>
          <a:solidFill>
            <a:srgbClr val="E84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11" name="Oval 810">
            <a:extLst>
              <a:ext uri="{FF2B5EF4-FFF2-40B4-BE49-F238E27FC236}">
                <a16:creationId xmlns:a16="http://schemas.microsoft.com/office/drawing/2014/main" id="{BA8CF155-3E1D-7A14-057B-A965AEE801EE}"/>
              </a:ext>
            </a:extLst>
          </p:cNvPr>
          <p:cNvSpPr/>
          <p:nvPr/>
        </p:nvSpPr>
        <p:spPr>
          <a:xfrm>
            <a:off x="5106805" y="2763125"/>
            <a:ext cx="91440" cy="914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812" name="Group 811">
            <a:extLst>
              <a:ext uri="{FF2B5EF4-FFF2-40B4-BE49-F238E27FC236}">
                <a16:creationId xmlns:a16="http://schemas.microsoft.com/office/drawing/2014/main" id="{F501817F-E85F-E6DB-AB24-CADFA2366C68}"/>
              </a:ext>
            </a:extLst>
          </p:cNvPr>
          <p:cNvGrpSpPr/>
          <p:nvPr/>
        </p:nvGrpSpPr>
        <p:grpSpPr>
          <a:xfrm>
            <a:off x="5360152" y="2727094"/>
            <a:ext cx="1417644" cy="163502"/>
            <a:chOff x="9834015" y="2088862"/>
            <a:chExt cx="1900785" cy="219224"/>
          </a:xfrm>
        </p:grpSpPr>
        <p:sp>
          <p:nvSpPr>
            <p:cNvPr id="813" name="Rounded Rectangle 812">
              <a:extLst>
                <a:ext uri="{FF2B5EF4-FFF2-40B4-BE49-F238E27FC236}">
                  <a16:creationId xmlns:a16="http://schemas.microsoft.com/office/drawing/2014/main" id="{262BB3E5-40DE-84F7-0B40-BB149E037963}"/>
                </a:ext>
              </a:extLst>
            </p:cNvPr>
            <p:cNvSpPr/>
            <p:nvPr/>
          </p:nvSpPr>
          <p:spPr>
            <a:xfrm>
              <a:off x="9834015" y="2088862"/>
              <a:ext cx="1900785" cy="21922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14" name="Rounded Rectangle 813">
              <a:extLst>
                <a:ext uri="{FF2B5EF4-FFF2-40B4-BE49-F238E27FC236}">
                  <a16:creationId xmlns:a16="http://schemas.microsoft.com/office/drawing/2014/main" id="{FE3FF95C-A216-4765-E269-35495CE1FF9F}"/>
                </a:ext>
              </a:extLst>
            </p:cNvPr>
            <p:cNvSpPr/>
            <p:nvPr/>
          </p:nvSpPr>
          <p:spPr>
            <a:xfrm>
              <a:off x="9834018" y="2088862"/>
              <a:ext cx="417473" cy="219224"/>
            </a:xfrm>
            <a:prstGeom prst="roundRect">
              <a:avLst>
                <a:gd name="adj" fmla="val 50000"/>
              </a:avLst>
            </a:prstGeom>
            <a:solidFill>
              <a:srgbClr val="0047AB"/>
            </a:solidFill>
            <a:ln w="5953" cap="flat">
              <a:noFill/>
              <a:prstDash val="solid"/>
              <a:miter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3%</a:t>
              </a:r>
            </a:p>
          </p:txBody>
        </p:sp>
      </p:grpSp>
      <p:sp>
        <p:nvSpPr>
          <p:cNvPr id="820" name="Rounded Rectangle 819">
            <a:extLst>
              <a:ext uri="{FF2B5EF4-FFF2-40B4-BE49-F238E27FC236}">
                <a16:creationId xmlns:a16="http://schemas.microsoft.com/office/drawing/2014/main" id="{E2A75804-A578-C643-2F9E-25359FB01A7D}"/>
              </a:ext>
            </a:extLst>
          </p:cNvPr>
          <p:cNvSpPr/>
          <p:nvPr/>
        </p:nvSpPr>
        <p:spPr>
          <a:xfrm>
            <a:off x="7265125" y="1746319"/>
            <a:ext cx="2185792" cy="1315578"/>
          </a:xfrm>
          <a:prstGeom prst="roundRect">
            <a:avLst>
              <a:gd name="adj" fmla="val 6436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22" name="TextBox 821">
            <a:extLst>
              <a:ext uri="{FF2B5EF4-FFF2-40B4-BE49-F238E27FC236}">
                <a16:creationId xmlns:a16="http://schemas.microsoft.com/office/drawing/2014/main" id="{A1AA70D7-851C-61C0-E01B-EB39B83A9407}"/>
              </a:ext>
            </a:extLst>
          </p:cNvPr>
          <p:cNvSpPr txBox="1"/>
          <p:nvPr/>
        </p:nvSpPr>
        <p:spPr>
          <a:xfrm>
            <a:off x="8855106" y="1847737"/>
            <a:ext cx="47024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1540</a:t>
            </a:r>
          </a:p>
        </p:txBody>
      </p:sp>
      <p:sp>
        <p:nvSpPr>
          <p:cNvPr id="823" name="TextBox 822">
            <a:extLst>
              <a:ext uri="{FF2B5EF4-FFF2-40B4-BE49-F238E27FC236}">
                <a16:creationId xmlns:a16="http://schemas.microsoft.com/office/drawing/2014/main" id="{CE3DC98A-C8C0-830C-2663-440E843C32CD}"/>
              </a:ext>
            </a:extLst>
          </p:cNvPr>
          <p:cNvSpPr txBox="1"/>
          <p:nvPr/>
        </p:nvSpPr>
        <p:spPr>
          <a:xfrm>
            <a:off x="8231404" y="2142621"/>
            <a:ext cx="770010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Copper*</a:t>
            </a:r>
          </a:p>
        </p:txBody>
      </p:sp>
      <p:cxnSp>
        <p:nvCxnSpPr>
          <p:cNvPr id="824" name="Straight Connector 823">
            <a:extLst>
              <a:ext uri="{FF2B5EF4-FFF2-40B4-BE49-F238E27FC236}">
                <a16:creationId xmlns:a16="http://schemas.microsoft.com/office/drawing/2014/main" id="{E83428C8-C0C0-1FB6-9B79-3109BD4EA263}"/>
              </a:ext>
            </a:extLst>
          </p:cNvPr>
          <p:cNvCxnSpPr>
            <a:cxnSpLocks/>
          </p:cNvCxnSpPr>
          <p:nvPr/>
        </p:nvCxnSpPr>
        <p:spPr>
          <a:xfrm>
            <a:off x="7503039" y="2506894"/>
            <a:ext cx="180934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5" name="Graphic 824" descr="Production with solid fill">
            <a:extLst>
              <a:ext uri="{FF2B5EF4-FFF2-40B4-BE49-F238E27FC236}">
                <a16:creationId xmlns:a16="http://schemas.microsoft.com/office/drawing/2014/main" id="{47432984-D3DF-CA66-1F51-AF238199432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644036" y="1902955"/>
            <a:ext cx="598488" cy="598488"/>
          </a:xfrm>
          <a:prstGeom prst="rect">
            <a:avLst/>
          </a:prstGeom>
        </p:spPr>
      </p:pic>
      <p:sp>
        <p:nvSpPr>
          <p:cNvPr id="826" name="Oval 825">
            <a:extLst>
              <a:ext uri="{FF2B5EF4-FFF2-40B4-BE49-F238E27FC236}">
                <a16:creationId xmlns:a16="http://schemas.microsoft.com/office/drawing/2014/main" id="{89555263-896B-15AB-19EA-8D462C23E824}"/>
              </a:ext>
            </a:extLst>
          </p:cNvPr>
          <p:cNvSpPr/>
          <p:nvPr/>
        </p:nvSpPr>
        <p:spPr>
          <a:xfrm>
            <a:off x="7390689" y="2142723"/>
            <a:ext cx="91440" cy="91440"/>
          </a:xfrm>
          <a:prstGeom prst="ellipse">
            <a:avLst/>
          </a:prstGeom>
          <a:solidFill>
            <a:srgbClr val="E84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27" name="Oval 826">
            <a:extLst>
              <a:ext uri="{FF2B5EF4-FFF2-40B4-BE49-F238E27FC236}">
                <a16:creationId xmlns:a16="http://schemas.microsoft.com/office/drawing/2014/main" id="{6B9BCEC7-43B0-EE5F-31CA-FEF67EB405BF}"/>
              </a:ext>
            </a:extLst>
          </p:cNvPr>
          <p:cNvSpPr/>
          <p:nvPr/>
        </p:nvSpPr>
        <p:spPr>
          <a:xfrm>
            <a:off x="7390689" y="2763125"/>
            <a:ext cx="91440" cy="914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828" name="Group 827">
            <a:extLst>
              <a:ext uri="{FF2B5EF4-FFF2-40B4-BE49-F238E27FC236}">
                <a16:creationId xmlns:a16="http://schemas.microsoft.com/office/drawing/2014/main" id="{55549E77-66D5-4E73-E40C-9DF99725BAED}"/>
              </a:ext>
            </a:extLst>
          </p:cNvPr>
          <p:cNvGrpSpPr/>
          <p:nvPr/>
        </p:nvGrpSpPr>
        <p:grpSpPr>
          <a:xfrm>
            <a:off x="7644036" y="2727094"/>
            <a:ext cx="1417644" cy="163502"/>
            <a:chOff x="9834015" y="2088862"/>
            <a:chExt cx="1900785" cy="219224"/>
          </a:xfrm>
        </p:grpSpPr>
        <p:sp>
          <p:nvSpPr>
            <p:cNvPr id="829" name="Rounded Rectangle 828">
              <a:extLst>
                <a:ext uri="{FF2B5EF4-FFF2-40B4-BE49-F238E27FC236}">
                  <a16:creationId xmlns:a16="http://schemas.microsoft.com/office/drawing/2014/main" id="{E180AA70-0A06-D1EE-2765-48E568B98B8E}"/>
                </a:ext>
              </a:extLst>
            </p:cNvPr>
            <p:cNvSpPr/>
            <p:nvPr/>
          </p:nvSpPr>
          <p:spPr>
            <a:xfrm>
              <a:off x="9834015" y="2088862"/>
              <a:ext cx="1900785" cy="21922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30" name="Rounded Rectangle 829">
              <a:extLst>
                <a:ext uri="{FF2B5EF4-FFF2-40B4-BE49-F238E27FC236}">
                  <a16:creationId xmlns:a16="http://schemas.microsoft.com/office/drawing/2014/main" id="{BFE1660A-AC20-B867-26AB-5C9505A9B18F}"/>
                </a:ext>
              </a:extLst>
            </p:cNvPr>
            <p:cNvSpPr/>
            <p:nvPr/>
          </p:nvSpPr>
          <p:spPr>
            <a:xfrm>
              <a:off x="9834018" y="2088862"/>
              <a:ext cx="417473" cy="219224"/>
            </a:xfrm>
            <a:prstGeom prst="roundRect">
              <a:avLst>
                <a:gd name="adj" fmla="val 50000"/>
              </a:avLst>
            </a:prstGeom>
            <a:solidFill>
              <a:srgbClr val="B87333"/>
            </a:solidFill>
            <a:ln w="6152" cap="flat">
              <a:noFill/>
              <a:prstDash val="solid"/>
              <a:miter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6%</a:t>
              </a:r>
            </a:p>
          </p:txBody>
        </p:sp>
      </p:grpSp>
      <p:sp>
        <p:nvSpPr>
          <p:cNvPr id="832" name="Rounded Rectangle 831">
            <a:extLst>
              <a:ext uri="{FF2B5EF4-FFF2-40B4-BE49-F238E27FC236}">
                <a16:creationId xmlns:a16="http://schemas.microsoft.com/office/drawing/2014/main" id="{DAAD73F8-F180-FD0B-CF32-ECAEE19BBAC3}"/>
              </a:ext>
            </a:extLst>
          </p:cNvPr>
          <p:cNvSpPr/>
          <p:nvPr/>
        </p:nvSpPr>
        <p:spPr>
          <a:xfrm>
            <a:off x="9549008" y="1746319"/>
            <a:ext cx="2185792" cy="1315578"/>
          </a:xfrm>
          <a:prstGeom prst="roundRect">
            <a:avLst>
              <a:gd name="adj" fmla="val 6436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34" name="TextBox 833">
            <a:extLst>
              <a:ext uri="{FF2B5EF4-FFF2-40B4-BE49-F238E27FC236}">
                <a16:creationId xmlns:a16="http://schemas.microsoft.com/office/drawing/2014/main" id="{8DB0DDCA-D097-D531-3C9C-6BB5179C58F8}"/>
              </a:ext>
            </a:extLst>
          </p:cNvPr>
          <p:cNvSpPr txBox="1"/>
          <p:nvPr/>
        </p:nvSpPr>
        <p:spPr>
          <a:xfrm>
            <a:off x="11477222" y="1847737"/>
            <a:ext cx="13201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835" name="TextBox 834">
            <a:extLst>
              <a:ext uri="{FF2B5EF4-FFF2-40B4-BE49-F238E27FC236}">
                <a16:creationId xmlns:a16="http://schemas.microsoft.com/office/drawing/2014/main" id="{621B211F-4233-55C7-79DD-AEF560B0EE9A}"/>
              </a:ext>
            </a:extLst>
          </p:cNvPr>
          <p:cNvSpPr txBox="1"/>
          <p:nvPr/>
        </p:nvSpPr>
        <p:spPr>
          <a:xfrm>
            <a:off x="10515287" y="2142621"/>
            <a:ext cx="808482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Graphite</a:t>
            </a:r>
          </a:p>
        </p:txBody>
      </p:sp>
      <p:cxnSp>
        <p:nvCxnSpPr>
          <p:cNvPr id="836" name="Straight Connector 835">
            <a:extLst>
              <a:ext uri="{FF2B5EF4-FFF2-40B4-BE49-F238E27FC236}">
                <a16:creationId xmlns:a16="http://schemas.microsoft.com/office/drawing/2014/main" id="{A14D7AC0-AD24-B6BE-990D-07BDCB881153}"/>
              </a:ext>
            </a:extLst>
          </p:cNvPr>
          <p:cNvCxnSpPr>
            <a:cxnSpLocks/>
          </p:cNvCxnSpPr>
          <p:nvPr/>
        </p:nvCxnSpPr>
        <p:spPr>
          <a:xfrm>
            <a:off x="9786922" y="2506894"/>
            <a:ext cx="180934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7" name="Graphic 836" descr="Production with solid fill">
            <a:extLst>
              <a:ext uri="{FF2B5EF4-FFF2-40B4-BE49-F238E27FC236}">
                <a16:creationId xmlns:a16="http://schemas.microsoft.com/office/drawing/2014/main" id="{0BA01BE4-212B-1AF4-6F82-21BEA4763BF5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927919" y="1902955"/>
            <a:ext cx="598488" cy="598488"/>
          </a:xfrm>
          <a:prstGeom prst="rect">
            <a:avLst/>
          </a:prstGeom>
        </p:spPr>
      </p:pic>
      <p:sp>
        <p:nvSpPr>
          <p:cNvPr id="838" name="Oval 837">
            <a:extLst>
              <a:ext uri="{FF2B5EF4-FFF2-40B4-BE49-F238E27FC236}">
                <a16:creationId xmlns:a16="http://schemas.microsoft.com/office/drawing/2014/main" id="{847F9D84-AF08-73BE-55DB-8E7B3C441916}"/>
              </a:ext>
            </a:extLst>
          </p:cNvPr>
          <p:cNvSpPr/>
          <p:nvPr/>
        </p:nvSpPr>
        <p:spPr>
          <a:xfrm>
            <a:off x="9674572" y="2142723"/>
            <a:ext cx="91440" cy="91440"/>
          </a:xfrm>
          <a:prstGeom prst="ellipse">
            <a:avLst/>
          </a:prstGeom>
          <a:solidFill>
            <a:srgbClr val="E84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39" name="Oval 838">
            <a:extLst>
              <a:ext uri="{FF2B5EF4-FFF2-40B4-BE49-F238E27FC236}">
                <a16:creationId xmlns:a16="http://schemas.microsoft.com/office/drawing/2014/main" id="{D7FC60E2-D93B-AA9B-BA16-9521979B4429}"/>
              </a:ext>
            </a:extLst>
          </p:cNvPr>
          <p:cNvSpPr/>
          <p:nvPr/>
        </p:nvSpPr>
        <p:spPr>
          <a:xfrm>
            <a:off x="9674572" y="2763125"/>
            <a:ext cx="91440" cy="914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840" name="Group 839">
            <a:extLst>
              <a:ext uri="{FF2B5EF4-FFF2-40B4-BE49-F238E27FC236}">
                <a16:creationId xmlns:a16="http://schemas.microsoft.com/office/drawing/2014/main" id="{D884D3F3-8F24-A755-2E53-5FF32140EB87}"/>
              </a:ext>
            </a:extLst>
          </p:cNvPr>
          <p:cNvGrpSpPr/>
          <p:nvPr/>
        </p:nvGrpSpPr>
        <p:grpSpPr>
          <a:xfrm>
            <a:off x="9927919" y="2727094"/>
            <a:ext cx="1417644" cy="163502"/>
            <a:chOff x="9834015" y="2088862"/>
            <a:chExt cx="1900785" cy="219224"/>
          </a:xfrm>
        </p:grpSpPr>
        <p:sp>
          <p:nvSpPr>
            <p:cNvPr id="841" name="Rounded Rectangle 840">
              <a:extLst>
                <a:ext uri="{FF2B5EF4-FFF2-40B4-BE49-F238E27FC236}">
                  <a16:creationId xmlns:a16="http://schemas.microsoft.com/office/drawing/2014/main" id="{71FBA8F2-0C1E-E93F-0741-10611AD39533}"/>
                </a:ext>
              </a:extLst>
            </p:cNvPr>
            <p:cNvSpPr/>
            <p:nvPr/>
          </p:nvSpPr>
          <p:spPr>
            <a:xfrm>
              <a:off x="9834015" y="2088862"/>
              <a:ext cx="1900785" cy="21922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42" name="Rounded Rectangle 841">
              <a:extLst>
                <a:ext uri="{FF2B5EF4-FFF2-40B4-BE49-F238E27FC236}">
                  <a16:creationId xmlns:a16="http://schemas.microsoft.com/office/drawing/2014/main" id="{9D6CBF89-C909-F0D6-3C90-F46183D5D4B4}"/>
                </a:ext>
              </a:extLst>
            </p:cNvPr>
            <p:cNvSpPr/>
            <p:nvPr/>
          </p:nvSpPr>
          <p:spPr>
            <a:xfrm>
              <a:off x="9834018" y="2088862"/>
              <a:ext cx="417473" cy="219224"/>
            </a:xfrm>
            <a:prstGeom prst="roundRect">
              <a:avLst>
                <a:gd name="adj" fmla="val 50000"/>
              </a:avLst>
            </a:prstGeom>
            <a:noFill/>
            <a:ln w="6152" cap="flat">
              <a:noFill/>
              <a:prstDash val="solid"/>
              <a:miter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/>
                <a:t>-</a:t>
              </a:r>
            </a:p>
          </p:txBody>
        </p:sp>
      </p:grpSp>
      <p:sp>
        <p:nvSpPr>
          <p:cNvPr id="844" name="Rounded Rectangle 843">
            <a:extLst>
              <a:ext uri="{FF2B5EF4-FFF2-40B4-BE49-F238E27FC236}">
                <a16:creationId xmlns:a16="http://schemas.microsoft.com/office/drawing/2014/main" id="{2B7E704B-20B3-A0E3-2B2A-1DEDDB1B1DC0}"/>
              </a:ext>
            </a:extLst>
          </p:cNvPr>
          <p:cNvSpPr/>
          <p:nvPr/>
        </p:nvSpPr>
        <p:spPr>
          <a:xfrm>
            <a:off x="4981241" y="3164767"/>
            <a:ext cx="2185792" cy="1315578"/>
          </a:xfrm>
          <a:prstGeom prst="roundRect">
            <a:avLst>
              <a:gd name="adj" fmla="val 6436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46" name="TextBox 845">
            <a:extLst>
              <a:ext uri="{FF2B5EF4-FFF2-40B4-BE49-F238E27FC236}">
                <a16:creationId xmlns:a16="http://schemas.microsoft.com/office/drawing/2014/main" id="{478B4BFA-8D86-2208-F319-FFCC998A5DD5}"/>
              </a:ext>
            </a:extLst>
          </p:cNvPr>
          <p:cNvSpPr txBox="1"/>
          <p:nvPr/>
        </p:nvSpPr>
        <p:spPr>
          <a:xfrm>
            <a:off x="6909455" y="3266185"/>
            <a:ext cx="132015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400" b="1" dirty="0">
                <a:solidFill>
                  <a:schemeClr val="accent1"/>
                </a:solidFill>
                <a:ea typeface="Lato" panose="020F0502020204030203" pitchFamily="34" charset="0"/>
                <a:cs typeface="Arial" panose="020B0604020202020204" pitchFamily="34" charset="0"/>
              </a:rPr>
              <a:t>-</a:t>
            </a:r>
            <a:endParaRPr kumimoji="0" lang="en-AU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847" name="TextBox 846">
            <a:extLst>
              <a:ext uri="{FF2B5EF4-FFF2-40B4-BE49-F238E27FC236}">
                <a16:creationId xmlns:a16="http://schemas.microsoft.com/office/drawing/2014/main" id="{93B81402-711F-6D97-7DE4-3AF94F215B9A}"/>
              </a:ext>
            </a:extLst>
          </p:cNvPr>
          <p:cNvSpPr txBox="1"/>
          <p:nvPr/>
        </p:nvSpPr>
        <p:spPr>
          <a:xfrm>
            <a:off x="5947520" y="3561069"/>
            <a:ext cx="718714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Lithium</a:t>
            </a:r>
          </a:p>
        </p:txBody>
      </p: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C6BBC3A7-2496-4A05-4E30-A0B7706CAB62}"/>
              </a:ext>
            </a:extLst>
          </p:cNvPr>
          <p:cNvCxnSpPr>
            <a:cxnSpLocks/>
          </p:cNvCxnSpPr>
          <p:nvPr/>
        </p:nvCxnSpPr>
        <p:spPr>
          <a:xfrm>
            <a:off x="5219155" y="3925342"/>
            <a:ext cx="180934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9" name="Graphic 848" descr="Production with solid fill">
            <a:extLst>
              <a:ext uri="{FF2B5EF4-FFF2-40B4-BE49-F238E27FC236}">
                <a16:creationId xmlns:a16="http://schemas.microsoft.com/office/drawing/2014/main" id="{D4D2C671-0921-ED90-06D7-2D11DDAB5936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360152" y="3321403"/>
            <a:ext cx="598488" cy="598488"/>
          </a:xfrm>
          <a:prstGeom prst="rect">
            <a:avLst/>
          </a:prstGeom>
        </p:spPr>
      </p:pic>
      <p:sp>
        <p:nvSpPr>
          <p:cNvPr id="850" name="Oval 849">
            <a:extLst>
              <a:ext uri="{FF2B5EF4-FFF2-40B4-BE49-F238E27FC236}">
                <a16:creationId xmlns:a16="http://schemas.microsoft.com/office/drawing/2014/main" id="{54AFD591-2C41-7CF6-FBAD-CD34CC2ED49A}"/>
              </a:ext>
            </a:extLst>
          </p:cNvPr>
          <p:cNvSpPr/>
          <p:nvPr/>
        </p:nvSpPr>
        <p:spPr>
          <a:xfrm>
            <a:off x="5106805" y="3561171"/>
            <a:ext cx="91440" cy="91440"/>
          </a:xfrm>
          <a:prstGeom prst="ellipse">
            <a:avLst/>
          </a:prstGeom>
          <a:solidFill>
            <a:srgbClr val="E84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51" name="Oval 850">
            <a:extLst>
              <a:ext uri="{FF2B5EF4-FFF2-40B4-BE49-F238E27FC236}">
                <a16:creationId xmlns:a16="http://schemas.microsoft.com/office/drawing/2014/main" id="{6BEDD63B-4AED-F39F-09AF-85532B54855B}"/>
              </a:ext>
            </a:extLst>
          </p:cNvPr>
          <p:cNvSpPr/>
          <p:nvPr/>
        </p:nvSpPr>
        <p:spPr>
          <a:xfrm>
            <a:off x="5106805" y="4181573"/>
            <a:ext cx="91440" cy="914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852" name="Group 851">
            <a:extLst>
              <a:ext uri="{FF2B5EF4-FFF2-40B4-BE49-F238E27FC236}">
                <a16:creationId xmlns:a16="http://schemas.microsoft.com/office/drawing/2014/main" id="{3653C978-CA4B-564F-A6DD-0BD4103106E7}"/>
              </a:ext>
            </a:extLst>
          </p:cNvPr>
          <p:cNvGrpSpPr/>
          <p:nvPr/>
        </p:nvGrpSpPr>
        <p:grpSpPr>
          <a:xfrm>
            <a:off x="5360152" y="4145542"/>
            <a:ext cx="1417644" cy="163502"/>
            <a:chOff x="9834015" y="2088862"/>
            <a:chExt cx="1900785" cy="219224"/>
          </a:xfrm>
        </p:grpSpPr>
        <p:sp>
          <p:nvSpPr>
            <p:cNvPr id="853" name="Rounded Rectangle 852">
              <a:extLst>
                <a:ext uri="{FF2B5EF4-FFF2-40B4-BE49-F238E27FC236}">
                  <a16:creationId xmlns:a16="http://schemas.microsoft.com/office/drawing/2014/main" id="{261825F5-72F4-08BC-B216-A0EBA1B2FBE7}"/>
                </a:ext>
              </a:extLst>
            </p:cNvPr>
            <p:cNvSpPr/>
            <p:nvPr/>
          </p:nvSpPr>
          <p:spPr>
            <a:xfrm>
              <a:off x="9834015" y="2088862"/>
              <a:ext cx="1900785" cy="21922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54" name="Rounded Rectangle 853">
              <a:extLst>
                <a:ext uri="{FF2B5EF4-FFF2-40B4-BE49-F238E27FC236}">
                  <a16:creationId xmlns:a16="http://schemas.microsoft.com/office/drawing/2014/main" id="{A9C0588A-1EEA-17AF-6B0E-52364240DE17}"/>
                </a:ext>
              </a:extLst>
            </p:cNvPr>
            <p:cNvSpPr/>
            <p:nvPr/>
          </p:nvSpPr>
          <p:spPr>
            <a:xfrm>
              <a:off x="9834018" y="2088862"/>
              <a:ext cx="417473" cy="219224"/>
            </a:xfrm>
            <a:prstGeom prst="roundRect">
              <a:avLst>
                <a:gd name="adj" fmla="val 50000"/>
              </a:avLst>
            </a:prstGeom>
            <a:noFill/>
            <a:ln w="6152" cap="flat">
              <a:noFill/>
              <a:prstDash val="solid"/>
              <a:miter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/>
                <a:t>-</a:t>
              </a:r>
            </a:p>
          </p:txBody>
        </p:sp>
      </p:grpSp>
      <p:sp>
        <p:nvSpPr>
          <p:cNvPr id="856" name="Rounded Rectangle 855">
            <a:extLst>
              <a:ext uri="{FF2B5EF4-FFF2-40B4-BE49-F238E27FC236}">
                <a16:creationId xmlns:a16="http://schemas.microsoft.com/office/drawing/2014/main" id="{2240E854-484F-6A6A-3CDC-7E65FBC15E28}"/>
              </a:ext>
            </a:extLst>
          </p:cNvPr>
          <p:cNvSpPr/>
          <p:nvPr/>
        </p:nvSpPr>
        <p:spPr>
          <a:xfrm>
            <a:off x="7265125" y="3164767"/>
            <a:ext cx="2185792" cy="1315578"/>
          </a:xfrm>
          <a:prstGeom prst="roundRect">
            <a:avLst>
              <a:gd name="adj" fmla="val 6436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58" name="TextBox 857">
            <a:extLst>
              <a:ext uri="{FF2B5EF4-FFF2-40B4-BE49-F238E27FC236}">
                <a16:creationId xmlns:a16="http://schemas.microsoft.com/office/drawing/2014/main" id="{AA599BA0-5F8D-6733-B14D-72EB148B4DC3}"/>
              </a:ext>
            </a:extLst>
          </p:cNvPr>
          <p:cNvSpPr txBox="1"/>
          <p:nvPr/>
        </p:nvSpPr>
        <p:spPr>
          <a:xfrm>
            <a:off x="9053878" y="3266185"/>
            <a:ext cx="271476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859" name="TextBox 858">
            <a:extLst>
              <a:ext uri="{FF2B5EF4-FFF2-40B4-BE49-F238E27FC236}">
                <a16:creationId xmlns:a16="http://schemas.microsoft.com/office/drawing/2014/main" id="{A0AE6528-6B5B-DAE6-ACE7-41C4B79FA04F}"/>
              </a:ext>
            </a:extLst>
          </p:cNvPr>
          <p:cNvSpPr txBox="1"/>
          <p:nvPr/>
        </p:nvSpPr>
        <p:spPr>
          <a:xfrm>
            <a:off x="8231404" y="3561069"/>
            <a:ext cx="1186790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Manganese**</a:t>
            </a:r>
          </a:p>
        </p:txBody>
      </p:sp>
      <p:cxnSp>
        <p:nvCxnSpPr>
          <p:cNvPr id="860" name="Straight Connector 859">
            <a:extLst>
              <a:ext uri="{FF2B5EF4-FFF2-40B4-BE49-F238E27FC236}">
                <a16:creationId xmlns:a16="http://schemas.microsoft.com/office/drawing/2014/main" id="{1B45ABB2-FA12-444D-8615-69DDEE12BF2F}"/>
              </a:ext>
            </a:extLst>
          </p:cNvPr>
          <p:cNvCxnSpPr>
            <a:cxnSpLocks/>
          </p:cNvCxnSpPr>
          <p:nvPr/>
        </p:nvCxnSpPr>
        <p:spPr>
          <a:xfrm>
            <a:off x="7503039" y="3925342"/>
            <a:ext cx="180934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1" name="Graphic 860" descr="Production with solid fill">
            <a:extLst>
              <a:ext uri="{FF2B5EF4-FFF2-40B4-BE49-F238E27FC236}">
                <a16:creationId xmlns:a16="http://schemas.microsoft.com/office/drawing/2014/main" id="{1451E69C-ED04-72A4-2BED-BCDABFE45F9B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644036" y="3321403"/>
            <a:ext cx="598488" cy="598488"/>
          </a:xfrm>
          <a:prstGeom prst="rect">
            <a:avLst/>
          </a:prstGeom>
        </p:spPr>
      </p:pic>
      <p:sp>
        <p:nvSpPr>
          <p:cNvPr id="862" name="Oval 861">
            <a:extLst>
              <a:ext uri="{FF2B5EF4-FFF2-40B4-BE49-F238E27FC236}">
                <a16:creationId xmlns:a16="http://schemas.microsoft.com/office/drawing/2014/main" id="{3EC9C9FC-5E7F-CF54-CCA8-E2D3CB2CED51}"/>
              </a:ext>
            </a:extLst>
          </p:cNvPr>
          <p:cNvSpPr/>
          <p:nvPr/>
        </p:nvSpPr>
        <p:spPr>
          <a:xfrm>
            <a:off x="7390689" y="3561171"/>
            <a:ext cx="91440" cy="91440"/>
          </a:xfrm>
          <a:prstGeom prst="ellipse">
            <a:avLst/>
          </a:prstGeom>
          <a:solidFill>
            <a:srgbClr val="E84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63" name="Oval 862">
            <a:extLst>
              <a:ext uri="{FF2B5EF4-FFF2-40B4-BE49-F238E27FC236}">
                <a16:creationId xmlns:a16="http://schemas.microsoft.com/office/drawing/2014/main" id="{36F05F0C-8269-2CEE-020B-4F1FF28339C8}"/>
              </a:ext>
            </a:extLst>
          </p:cNvPr>
          <p:cNvSpPr/>
          <p:nvPr/>
        </p:nvSpPr>
        <p:spPr>
          <a:xfrm>
            <a:off x="7390689" y="4181573"/>
            <a:ext cx="91440" cy="914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864" name="Group 863">
            <a:extLst>
              <a:ext uri="{FF2B5EF4-FFF2-40B4-BE49-F238E27FC236}">
                <a16:creationId xmlns:a16="http://schemas.microsoft.com/office/drawing/2014/main" id="{72E99E09-6537-925C-91C2-9D340DCAC73F}"/>
              </a:ext>
            </a:extLst>
          </p:cNvPr>
          <p:cNvGrpSpPr/>
          <p:nvPr/>
        </p:nvGrpSpPr>
        <p:grpSpPr>
          <a:xfrm>
            <a:off x="7644036" y="4145542"/>
            <a:ext cx="1417644" cy="163502"/>
            <a:chOff x="9834015" y="2088862"/>
            <a:chExt cx="1900785" cy="219224"/>
          </a:xfrm>
        </p:grpSpPr>
        <p:sp>
          <p:nvSpPr>
            <p:cNvPr id="865" name="Rounded Rectangle 864">
              <a:extLst>
                <a:ext uri="{FF2B5EF4-FFF2-40B4-BE49-F238E27FC236}">
                  <a16:creationId xmlns:a16="http://schemas.microsoft.com/office/drawing/2014/main" id="{583D9AE2-D410-87CA-FD55-500B0378B2E3}"/>
                </a:ext>
              </a:extLst>
            </p:cNvPr>
            <p:cNvSpPr/>
            <p:nvPr/>
          </p:nvSpPr>
          <p:spPr>
            <a:xfrm>
              <a:off x="9834015" y="2088862"/>
              <a:ext cx="1900785" cy="21922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66" name="Rounded Rectangle 865">
              <a:extLst>
                <a:ext uri="{FF2B5EF4-FFF2-40B4-BE49-F238E27FC236}">
                  <a16:creationId xmlns:a16="http://schemas.microsoft.com/office/drawing/2014/main" id="{B62491BC-AA02-F353-16D4-A501FE159F45}"/>
                </a:ext>
              </a:extLst>
            </p:cNvPr>
            <p:cNvSpPr/>
            <p:nvPr/>
          </p:nvSpPr>
          <p:spPr>
            <a:xfrm>
              <a:off x="9834018" y="2088862"/>
              <a:ext cx="570977" cy="219224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 w="6152" cap="flat">
              <a:noFill/>
              <a:prstDash val="solid"/>
              <a:miter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5%</a:t>
              </a:r>
            </a:p>
          </p:txBody>
        </p:sp>
      </p:grpSp>
      <p:sp>
        <p:nvSpPr>
          <p:cNvPr id="868" name="Rounded Rectangle 867">
            <a:extLst>
              <a:ext uri="{FF2B5EF4-FFF2-40B4-BE49-F238E27FC236}">
                <a16:creationId xmlns:a16="http://schemas.microsoft.com/office/drawing/2014/main" id="{C05EB5CD-9E28-8708-9621-4E1595A69279}"/>
              </a:ext>
            </a:extLst>
          </p:cNvPr>
          <p:cNvSpPr/>
          <p:nvPr/>
        </p:nvSpPr>
        <p:spPr>
          <a:xfrm>
            <a:off x="9549008" y="3164767"/>
            <a:ext cx="2185792" cy="1315578"/>
          </a:xfrm>
          <a:prstGeom prst="roundRect">
            <a:avLst>
              <a:gd name="adj" fmla="val 6436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70" name="TextBox 869">
            <a:extLst>
              <a:ext uri="{FF2B5EF4-FFF2-40B4-BE49-F238E27FC236}">
                <a16:creationId xmlns:a16="http://schemas.microsoft.com/office/drawing/2014/main" id="{FE617AD5-4C0E-EF53-DE70-4079917EF07C}"/>
              </a:ext>
            </a:extLst>
          </p:cNvPr>
          <p:cNvSpPr txBox="1"/>
          <p:nvPr/>
        </p:nvSpPr>
        <p:spPr>
          <a:xfrm>
            <a:off x="11337761" y="3266185"/>
            <a:ext cx="271476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39</a:t>
            </a:r>
          </a:p>
        </p:txBody>
      </p:sp>
      <p:sp>
        <p:nvSpPr>
          <p:cNvPr id="871" name="TextBox 870">
            <a:extLst>
              <a:ext uri="{FF2B5EF4-FFF2-40B4-BE49-F238E27FC236}">
                <a16:creationId xmlns:a16="http://schemas.microsoft.com/office/drawing/2014/main" id="{4F7A9BE2-7ED7-43A7-D3D2-0CACF1556061}"/>
              </a:ext>
            </a:extLst>
          </p:cNvPr>
          <p:cNvSpPr txBox="1"/>
          <p:nvPr/>
        </p:nvSpPr>
        <p:spPr>
          <a:xfrm>
            <a:off x="10515287" y="3561069"/>
            <a:ext cx="670624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Nickel*</a:t>
            </a:r>
          </a:p>
        </p:txBody>
      </p:sp>
      <p:cxnSp>
        <p:nvCxnSpPr>
          <p:cNvPr id="872" name="Straight Connector 871">
            <a:extLst>
              <a:ext uri="{FF2B5EF4-FFF2-40B4-BE49-F238E27FC236}">
                <a16:creationId xmlns:a16="http://schemas.microsoft.com/office/drawing/2014/main" id="{CCA607C3-EA5B-3027-EF4B-DF19DA070AB7}"/>
              </a:ext>
            </a:extLst>
          </p:cNvPr>
          <p:cNvCxnSpPr>
            <a:cxnSpLocks/>
          </p:cNvCxnSpPr>
          <p:nvPr/>
        </p:nvCxnSpPr>
        <p:spPr>
          <a:xfrm>
            <a:off x="9786922" y="3925342"/>
            <a:ext cx="180934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3" name="Graphic 872" descr="Production with solid fill">
            <a:extLst>
              <a:ext uri="{FF2B5EF4-FFF2-40B4-BE49-F238E27FC236}">
                <a16:creationId xmlns:a16="http://schemas.microsoft.com/office/drawing/2014/main" id="{09D22A6C-1857-06BB-1711-38B571D1968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927919" y="3321403"/>
            <a:ext cx="598488" cy="598488"/>
          </a:xfrm>
          <a:prstGeom prst="rect">
            <a:avLst/>
          </a:prstGeom>
        </p:spPr>
      </p:pic>
      <p:sp>
        <p:nvSpPr>
          <p:cNvPr id="874" name="Oval 873">
            <a:extLst>
              <a:ext uri="{FF2B5EF4-FFF2-40B4-BE49-F238E27FC236}">
                <a16:creationId xmlns:a16="http://schemas.microsoft.com/office/drawing/2014/main" id="{D247F47E-E7FB-F665-58AE-F398BC1ECEFD}"/>
              </a:ext>
            </a:extLst>
          </p:cNvPr>
          <p:cNvSpPr/>
          <p:nvPr/>
        </p:nvSpPr>
        <p:spPr>
          <a:xfrm>
            <a:off x="9674572" y="3561171"/>
            <a:ext cx="91440" cy="91440"/>
          </a:xfrm>
          <a:prstGeom prst="ellipse">
            <a:avLst/>
          </a:prstGeom>
          <a:solidFill>
            <a:srgbClr val="E84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75" name="Oval 874">
            <a:extLst>
              <a:ext uri="{FF2B5EF4-FFF2-40B4-BE49-F238E27FC236}">
                <a16:creationId xmlns:a16="http://schemas.microsoft.com/office/drawing/2014/main" id="{8031D906-A639-C250-8B09-307DB358639C}"/>
              </a:ext>
            </a:extLst>
          </p:cNvPr>
          <p:cNvSpPr/>
          <p:nvPr/>
        </p:nvSpPr>
        <p:spPr>
          <a:xfrm>
            <a:off x="9674572" y="4181573"/>
            <a:ext cx="91440" cy="914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876" name="Group 875">
            <a:extLst>
              <a:ext uri="{FF2B5EF4-FFF2-40B4-BE49-F238E27FC236}">
                <a16:creationId xmlns:a16="http://schemas.microsoft.com/office/drawing/2014/main" id="{7DC9ACC0-89ED-430F-A557-4F729055BF4C}"/>
              </a:ext>
            </a:extLst>
          </p:cNvPr>
          <p:cNvGrpSpPr/>
          <p:nvPr/>
        </p:nvGrpSpPr>
        <p:grpSpPr>
          <a:xfrm>
            <a:off x="9927919" y="4145542"/>
            <a:ext cx="1417644" cy="163502"/>
            <a:chOff x="9834015" y="2088862"/>
            <a:chExt cx="1900785" cy="219224"/>
          </a:xfrm>
        </p:grpSpPr>
        <p:sp>
          <p:nvSpPr>
            <p:cNvPr id="877" name="Rounded Rectangle 876">
              <a:extLst>
                <a:ext uri="{FF2B5EF4-FFF2-40B4-BE49-F238E27FC236}">
                  <a16:creationId xmlns:a16="http://schemas.microsoft.com/office/drawing/2014/main" id="{E8B4F91B-68A9-B343-19B9-B211C7D37F84}"/>
                </a:ext>
              </a:extLst>
            </p:cNvPr>
            <p:cNvSpPr/>
            <p:nvPr/>
          </p:nvSpPr>
          <p:spPr>
            <a:xfrm>
              <a:off x="9834015" y="2088862"/>
              <a:ext cx="1900785" cy="21922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78" name="Rounded Rectangle 877">
              <a:extLst>
                <a:ext uri="{FF2B5EF4-FFF2-40B4-BE49-F238E27FC236}">
                  <a16:creationId xmlns:a16="http://schemas.microsoft.com/office/drawing/2014/main" id="{A6417D95-F625-D68C-F2EE-834523B72FAF}"/>
                </a:ext>
              </a:extLst>
            </p:cNvPr>
            <p:cNvSpPr/>
            <p:nvPr/>
          </p:nvSpPr>
          <p:spPr>
            <a:xfrm>
              <a:off x="9834018" y="2088862"/>
              <a:ext cx="417473" cy="219224"/>
            </a:xfrm>
            <a:prstGeom prst="roundRect">
              <a:avLst>
                <a:gd name="adj" fmla="val 50000"/>
              </a:avLst>
            </a:prstGeom>
            <a:solidFill>
              <a:srgbClr val="00B050"/>
            </a:solidFill>
            <a:ln w="6152" cap="flat">
              <a:noFill/>
              <a:prstDash val="solid"/>
              <a:miter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2%</a:t>
              </a:r>
            </a:p>
          </p:txBody>
        </p:sp>
      </p:grpSp>
      <p:sp>
        <p:nvSpPr>
          <p:cNvPr id="880" name="Rounded Rectangle 879">
            <a:extLst>
              <a:ext uri="{FF2B5EF4-FFF2-40B4-BE49-F238E27FC236}">
                <a16:creationId xmlns:a16="http://schemas.microsoft.com/office/drawing/2014/main" id="{30A8F994-A953-C153-1B92-32A2DBA7CBF2}"/>
              </a:ext>
            </a:extLst>
          </p:cNvPr>
          <p:cNvSpPr/>
          <p:nvPr/>
        </p:nvSpPr>
        <p:spPr>
          <a:xfrm>
            <a:off x="4981241" y="4576983"/>
            <a:ext cx="2185792" cy="1315578"/>
          </a:xfrm>
          <a:prstGeom prst="roundRect">
            <a:avLst>
              <a:gd name="adj" fmla="val 6436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82" name="TextBox 881">
            <a:extLst>
              <a:ext uri="{FF2B5EF4-FFF2-40B4-BE49-F238E27FC236}">
                <a16:creationId xmlns:a16="http://schemas.microsoft.com/office/drawing/2014/main" id="{7D3E09DC-7DC4-7B06-64F1-8172B99764AA}"/>
              </a:ext>
            </a:extLst>
          </p:cNvPr>
          <p:cNvSpPr txBox="1"/>
          <p:nvPr/>
        </p:nvSpPr>
        <p:spPr>
          <a:xfrm>
            <a:off x="6571222" y="4678401"/>
            <a:ext cx="47024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8730</a:t>
            </a:r>
          </a:p>
        </p:txBody>
      </p:sp>
      <p:sp>
        <p:nvSpPr>
          <p:cNvPr id="883" name="TextBox 882">
            <a:extLst>
              <a:ext uri="{FF2B5EF4-FFF2-40B4-BE49-F238E27FC236}">
                <a16:creationId xmlns:a16="http://schemas.microsoft.com/office/drawing/2014/main" id="{15C2E4DD-3050-0542-6821-66D5A86EFA08}"/>
              </a:ext>
            </a:extLst>
          </p:cNvPr>
          <p:cNvSpPr txBox="1"/>
          <p:nvPr/>
        </p:nvSpPr>
        <p:spPr>
          <a:xfrm>
            <a:off x="5947520" y="4973285"/>
            <a:ext cx="1198011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Lato" panose="020F0502020204030203" pitchFamily="34" charset="0"/>
                <a:cs typeface="Arial" panose="020B0604020202020204" pitchFamily="34" charset="0"/>
              </a:rPr>
              <a:t>Phosphate***</a:t>
            </a:r>
          </a:p>
        </p:txBody>
      </p:sp>
      <p:cxnSp>
        <p:nvCxnSpPr>
          <p:cNvPr id="884" name="Straight Connector 883">
            <a:extLst>
              <a:ext uri="{FF2B5EF4-FFF2-40B4-BE49-F238E27FC236}">
                <a16:creationId xmlns:a16="http://schemas.microsoft.com/office/drawing/2014/main" id="{BB8E69E3-7104-B59B-51CF-E4F1343216D6}"/>
              </a:ext>
            </a:extLst>
          </p:cNvPr>
          <p:cNvCxnSpPr>
            <a:cxnSpLocks/>
          </p:cNvCxnSpPr>
          <p:nvPr/>
        </p:nvCxnSpPr>
        <p:spPr>
          <a:xfrm>
            <a:off x="5219155" y="5337558"/>
            <a:ext cx="180934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5" name="Graphic 884" descr="Production with solid fill">
            <a:extLst>
              <a:ext uri="{FF2B5EF4-FFF2-40B4-BE49-F238E27FC236}">
                <a16:creationId xmlns:a16="http://schemas.microsoft.com/office/drawing/2014/main" id="{A3365129-05A6-E273-0BCA-9DDB60206F4C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360152" y="4733619"/>
            <a:ext cx="598488" cy="598488"/>
          </a:xfrm>
          <a:prstGeom prst="rect">
            <a:avLst/>
          </a:prstGeom>
        </p:spPr>
      </p:pic>
      <p:sp>
        <p:nvSpPr>
          <p:cNvPr id="886" name="Oval 885">
            <a:extLst>
              <a:ext uri="{FF2B5EF4-FFF2-40B4-BE49-F238E27FC236}">
                <a16:creationId xmlns:a16="http://schemas.microsoft.com/office/drawing/2014/main" id="{67C3B747-BF90-F022-F69E-700C80BD7ADC}"/>
              </a:ext>
            </a:extLst>
          </p:cNvPr>
          <p:cNvSpPr/>
          <p:nvPr/>
        </p:nvSpPr>
        <p:spPr>
          <a:xfrm>
            <a:off x="5106805" y="4973387"/>
            <a:ext cx="91440" cy="91440"/>
          </a:xfrm>
          <a:prstGeom prst="ellipse">
            <a:avLst/>
          </a:prstGeom>
          <a:solidFill>
            <a:srgbClr val="E84B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87" name="Oval 886">
            <a:extLst>
              <a:ext uri="{FF2B5EF4-FFF2-40B4-BE49-F238E27FC236}">
                <a16:creationId xmlns:a16="http://schemas.microsoft.com/office/drawing/2014/main" id="{2011A9F8-4E45-EE01-95B8-EC1126716D67}"/>
              </a:ext>
            </a:extLst>
          </p:cNvPr>
          <p:cNvSpPr/>
          <p:nvPr/>
        </p:nvSpPr>
        <p:spPr>
          <a:xfrm>
            <a:off x="5106805" y="5593789"/>
            <a:ext cx="91440" cy="914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grpSp>
        <p:nvGrpSpPr>
          <p:cNvPr id="888" name="Group 887">
            <a:extLst>
              <a:ext uri="{FF2B5EF4-FFF2-40B4-BE49-F238E27FC236}">
                <a16:creationId xmlns:a16="http://schemas.microsoft.com/office/drawing/2014/main" id="{62C32A5F-A21A-364D-3D1D-D27E81923101}"/>
              </a:ext>
            </a:extLst>
          </p:cNvPr>
          <p:cNvGrpSpPr/>
          <p:nvPr/>
        </p:nvGrpSpPr>
        <p:grpSpPr>
          <a:xfrm>
            <a:off x="5360152" y="5557758"/>
            <a:ext cx="1417644" cy="163502"/>
            <a:chOff x="9834015" y="2088862"/>
            <a:chExt cx="1900785" cy="219224"/>
          </a:xfrm>
        </p:grpSpPr>
        <p:sp>
          <p:nvSpPr>
            <p:cNvPr id="889" name="Rounded Rectangle 888">
              <a:extLst>
                <a:ext uri="{FF2B5EF4-FFF2-40B4-BE49-F238E27FC236}">
                  <a16:creationId xmlns:a16="http://schemas.microsoft.com/office/drawing/2014/main" id="{A3D39890-8A99-D115-5A42-293DCDE74523}"/>
                </a:ext>
              </a:extLst>
            </p:cNvPr>
            <p:cNvSpPr/>
            <p:nvPr/>
          </p:nvSpPr>
          <p:spPr>
            <a:xfrm>
              <a:off x="9834015" y="2088862"/>
              <a:ext cx="1900785" cy="21922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90" name="Rounded Rectangle 889">
              <a:extLst>
                <a:ext uri="{FF2B5EF4-FFF2-40B4-BE49-F238E27FC236}">
                  <a16:creationId xmlns:a16="http://schemas.microsoft.com/office/drawing/2014/main" id="{CD262F5D-9560-5BAE-C526-81701507EF37}"/>
                </a:ext>
              </a:extLst>
            </p:cNvPr>
            <p:cNvSpPr/>
            <p:nvPr/>
          </p:nvSpPr>
          <p:spPr>
            <a:xfrm>
              <a:off x="9834018" y="2088862"/>
              <a:ext cx="577949" cy="219224"/>
            </a:xfrm>
            <a:prstGeom prst="roundRect">
              <a:avLst>
                <a:gd name="adj" fmla="val 50000"/>
              </a:avLst>
            </a:prstGeom>
            <a:solidFill>
              <a:srgbClr val="FFC000"/>
            </a:solidFill>
            <a:ln w="6152" cap="flat">
              <a:noFill/>
              <a:prstDash val="solid"/>
              <a:miter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19%</a:t>
              </a:r>
            </a:p>
          </p:txBody>
        </p:sp>
      </p:grpSp>
      <p:grpSp>
        <p:nvGrpSpPr>
          <p:cNvPr id="895" name="Group 894">
            <a:extLst>
              <a:ext uri="{FF2B5EF4-FFF2-40B4-BE49-F238E27FC236}">
                <a16:creationId xmlns:a16="http://schemas.microsoft.com/office/drawing/2014/main" id="{4672DF48-604A-6C1A-2C7B-2C2FE3E627D3}"/>
              </a:ext>
            </a:extLst>
          </p:cNvPr>
          <p:cNvGrpSpPr/>
          <p:nvPr/>
        </p:nvGrpSpPr>
        <p:grpSpPr>
          <a:xfrm>
            <a:off x="7955398" y="1401621"/>
            <a:ext cx="2076535" cy="138499"/>
            <a:chOff x="7565338" y="1401621"/>
            <a:chExt cx="2076535" cy="138499"/>
          </a:xfrm>
        </p:grpSpPr>
        <p:sp>
          <p:nvSpPr>
            <p:cNvPr id="892" name="Oval 891">
              <a:extLst>
                <a:ext uri="{FF2B5EF4-FFF2-40B4-BE49-F238E27FC236}">
                  <a16:creationId xmlns:a16="http://schemas.microsoft.com/office/drawing/2014/main" id="{592B8253-5F82-CD7D-E087-EC21F27DE1EB}"/>
                </a:ext>
              </a:extLst>
            </p:cNvPr>
            <p:cNvSpPr/>
            <p:nvPr/>
          </p:nvSpPr>
          <p:spPr>
            <a:xfrm>
              <a:off x="7565338" y="1425150"/>
              <a:ext cx="91440" cy="914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894" name="TextBox 893">
              <a:extLst>
                <a:ext uri="{FF2B5EF4-FFF2-40B4-BE49-F238E27FC236}">
                  <a16:creationId xmlns:a16="http://schemas.microsoft.com/office/drawing/2014/main" id="{EA20DC7E-5132-EBF7-5599-E6301566BA0A}"/>
                </a:ext>
              </a:extLst>
            </p:cNvPr>
            <p:cNvSpPr txBox="1"/>
            <p:nvPr/>
          </p:nvSpPr>
          <p:spPr>
            <a:xfrm>
              <a:off x="7737506" y="1401621"/>
              <a:ext cx="1904367" cy="138499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r>
                <a:rPr lang="en-US" sz="900" b="1" dirty="0">
                  <a:solidFill>
                    <a:schemeClr val="tx2"/>
                  </a:solidFill>
                </a:rPr>
                <a:t>Africa’s refinery production (in kt)</a:t>
              </a:r>
            </a:p>
          </p:txBody>
        </p:sp>
      </p:grpSp>
      <p:sp>
        <p:nvSpPr>
          <p:cNvPr id="897" name="Oval 896">
            <a:extLst>
              <a:ext uri="{FF2B5EF4-FFF2-40B4-BE49-F238E27FC236}">
                <a16:creationId xmlns:a16="http://schemas.microsoft.com/office/drawing/2014/main" id="{E4528944-7785-F0B2-6254-C9AFB58AE6D3}"/>
              </a:ext>
            </a:extLst>
          </p:cNvPr>
          <p:cNvSpPr/>
          <p:nvPr/>
        </p:nvSpPr>
        <p:spPr>
          <a:xfrm>
            <a:off x="10156072" y="1425150"/>
            <a:ext cx="91440" cy="914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898" name="TextBox 897">
            <a:extLst>
              <a:ext uri="{FF2B5EF4-FFF2-40B4-BE49-F238E27FC236}">
                <a16:creationId xmlns:a16="http://schemas.microsoft.com/office/drawing/2014/main" id="{2BB19CC7-4019-7CE6-761C-6C3C579A67D8}"/>
              </a:ext>
            </a:extLst>
          </p:cNvPr>
          <p:cNvSpPr txBox="1"/>
          <p:nvPr/>
        </p:nvSpPr>
        <p:spPr>
          <a:xfrm>
            <a:off x="10328240" y="1401621"/>
            <a:ext cx="1423467" cy="13849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en-US" sz="900" b="1" dirty="0">
                <a:solidFill>
                  <a:schemeClr val="tx2"/>
                </a:solidFill>
              </a:rPr>
              <a:t>As % of world production</a:t>
            </a:r>
          </a:p>
        </p:txBody>
      </p:sp>
      <p:sp>
        <p:nvSpPr>
          <p:cNvPr id="2" name="Rectangle 51">
            <a:extLst>
              <a:ext uri="{FF2B5EF4-FFF2-40B4-BE49-F238E27FC236}">
                <a16:creationId xmlns:a16="http://schemas.microsoft.com/office/drawing/2014/main" id="{BDDD06CA-FC0C-D05A-53A6-8B7D0B638A3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340" y="6353540"/>
            <a:ext cx="7786761" cy="115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/>
          <a:lstStyle/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Source: Hatch, S&amp;P Global, BGS, USGS,IFA, </a:t>
            </a:r>
            <a:r>
              <a:rPr lang="en-US" sz="800" dirty="0" err="1">
                <a:solidFill>
                  <a:schemeClr val="tx2"/>
                </a:solidFill>
                <a:latin typeface="+mj-lt"/>
              </a:rPr>
              <a:t>IMnI</a:t>
            </a:r>
            <a:endParaRPr lang="en-US" sz="800" dirty="0">
              <a:solidFill>
                <a:schemeClr val="tx2"/>
              </a:solidFill>
              <a:latin typeface="+mj-lt"/>
            </a:endParaRPr>
          </a:p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Notes: *as of 2020 **as of 2022 ***as of 2021</a:t>
            </a:r>
          </a:p>
        </p:txBody>
      </p:sp>
    </p:spTree>
    <p:extLst>
      <p:ext uri="{BB962C8B-B14F-4D97-AF65-F5344CB8AC3E}">
        <p14:creationId xmlns:p14="http://schemas.microsoft.com/office/powerpoint/2010/main" val="3135165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4308163-D23F-76BD-0D22-083B97814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167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308163-D23F-76BD-0D22-083B97814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7" name="Title 646">
            <a:extLst>
              <a:ext uri="{FF2B5EF4-FFF2-40B4-BE49-F238E27FC236}">
                <a16:creationId xmlns:a16="http://schemas.microsoft.com/office/drawing/2014/main" id="{524A67F4-EA6A-B361-18E0-0398EEDF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ZA" dirty="0"/>
              <a:t>However, the surge in demand presents supply chain issues due to lead times associated with the value chain of the battery mineral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FFA7C5-F487-E7D6-70E7-917297441475}"/>
              </a:ext>
            </a:extLst>
          </p:cNvPr>
          <p:cNvSpPr txBox="1"/>
          <p:nvPr/>
        </p:nvSpPr>
        <p:spPr>
          <a:xfrm>
            <a:off x="6096000" y="1457126"/>
            <a:ext cx="5638800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accent2"/>
                </a:solidFill>
              </a:rPr>
              <a:t>The longest lead times are in the development of primary LIB material sources, due to: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D8E021A-965E-43C8-1F4A-A88EA94DAC19}"/>
              </a:ext>
            </a:extLst>
          </p:cNvPr>
          <p:cNvGrpSpPr/>
          <p:nvPr/>
        </p:nvGrpSpPr>
        <p:grpSpPr>
          <a:xfrm>
            <a:off x="8062511" y="2167827"/>
            <a:ext cx="384244" cy="360784"/>
            <a:chOff x="4690787" y="3024710"/>
            <a:chExt cx="558583" cy="524478"/>
          </a:xfrm>
        </p:grpSpPr>
        <p:sp>
          <p:nvSpPr>
            <p:cNvPr id="26" name="Freeform 565">
              <a:extLst>
                <a:ext uri="{FF2B5EF4-FFF2-40B4-BE49-F238E27FC236}">
                  <a16:creationId xmlns:a16="http://schemas.microsoft.com/office/drawing/2014/main" id="{4B0062AC-2187-6B86-2CA1-8B877AE01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0787" y="3024710"/>
              <a:ext cx="558583" cy="155776"/>
            </a:xfrm>
            <a:custGeom>
              <a:avLst/>
              <a:gdLst>
                <a:gd name="T0" fmla="*/ 302 w 606"/>
                <a:gd name="T1" fmla="*/ 0 h 169"/>
                <a:gd name="T2" fmla="*/ 0 w 606"/>
                <a:gd name="T3" fmla="*/ 169 h 169"/>
                <a:gd name="T4" fmla="*/ 606 w 606"/>
                <a:gd name="T5" fmla="*/ 169 h 169"/>
                <a:gd name="T6" fmla="*/ 302 w 606"/>
                <a:gd name="T7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6" h="169">
                  <a:moveTo>
                    <a:pt x="302" y="0"/>
                  </a:moveTo>
                  <a:lnTo>
                    <a:pt x="0" y="169"/>
                  </a:lnTo>
                  <a:lnTo>
                    <a:pt x="606" y="169"/>
                  </a:lnTo>
                  <a:lnTo>
                    <a:pt x="302" y="0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566">
              <a:extLst>
                <a:ext uri="{FF2B5EF4-FFF2-40B4-BE49-F238E27FC236}">
                  <a16:creationId xmlns:a16="http://schemas.microsoft.com/office/drawing/2014/main" id="{A5893034-CBD3-0EF3-459C-A9CE51E11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423" y="3180487"/>
              <a:ext cx="479312" cy="34105"/>
            </a:xfrm>
            <a:custGeom>
              <a:avLst/>
              <a:gdLst>
                <a:gd name="T0" fmla="*/ 520 w 520"/>
                <a:gd name="T1" fmla="*/ 0 h 37"/>
                <a:gd name="T2" fmla="*/ 520 w 520"/>
                <a:gd name="T3" fmla="*/ 37 h 37"/>
                <a:gd name="T4" fmla="*/ 0 w 520"/>
                <a:gd name="T5" fmla="*/ 37 h 37"/>
                <a:gd name="T6" fmla="*/ 0 w 520"/>
                <a:gd name="T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0" h="37">
                  <a:moveTo>
                    <a:pt x="520" y="0"/>
                  </a:moveTo>
                  <a:lnTo>
                    <a:pt x="520" y="37"/>
                  </a:lnTo>
                  <a:lnTo>
                    <a:pt x="0" y="37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567">
              <a:extLst>
                <a:ext uri="{FF2B5EF4-FFF2-40B4-BE49-F238E27FC236}">
                  <a16:creationId xmlns:a16="http://schemas.microsoft.com/office/drawing/2014/main" id="{20595989-78DD-B1CF-3883-E1AA1FBB1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423" y="3465308"/>
              <a:ext cx="479312" cy="45166"/>
            </a:xfrm>
            <a:custGeom>
              <a:avLst/>
              <a:gdLst>
                <a:gd name="T0" fmla="*/ 520 w 520"/>
                <a:gd name="T1" fmla="*/ 49 h 49"/>
                <a:gd name="T2" fmla="*/ 520 w 520"/>
                <a:gd name="T3" fmla="*/ 0 h 49"/>
                <a:gd name="T4" fmla="*/ 0 w 520"/>
                <a:gd name="T5" fmla="*/ 0 h 49"/>
                <a:gd name="T6" fmla="*/ 0 w 520"/>
                <a:gd name="T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0" h="49">
                  <a:moveTo>
                    <a:pt x="520" y="49"/>
                  </a:moveTo>
                  <a:lnTo>
                    <a:pt x="520" y="0"/>
                  </a:lnTo>
                  <a:lnTo>
                    <a:pt x="0" y="0"/>
                  </a:lnTo>
                  <a:lnTo>
                    <a:pt x="0" y="49"/>
                  </a:ln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68">
              <a:extLst>
                <a:ext uri="{FF2B5EF4-FFF2-40B4-BE49-F238E27FC236}">
                  <a16:creationId xmlns:a16="http://schemas.microsoft.com/office/drawing/2014/main" id="{FEEE2D5C-F1E8-9072-8A58-B681E0D3E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423" y="3214591"/>
              <a:ext cx="88488" cy="44244"/>
            </a:xfrm>
            <a:custGeom>
              <a:avLst/>
              <a:gdLst>
                <a:gd name="T0" fmla="*/ 36 w 36"/>
                <a:gd name="T1" fmla="*/ 12 h 18"/>
                <a:gd name="T2" fmla="*/ 30 w 36"/>
                <a:gd name="T3" fmla="*/ 18 h 18"/>
                <a:gd name="T4" fmla="*/ 24 w 36"/>
                <a:gd name="T5" fmla="*/ 12 h 18"/>
                <a:gd name="T6" fmla="*/ 12 w 36"/>
                <a:gd name="T7" fmla="*/ 12 h 18"/>
                <a:gd name="T8" fmla="*/ 6 w 36"/>
                <a:gd name="T9" fmla="*/ 18 h 18"/>
                <a:gd name="T10" fmla="*/ 0 w 36"/>
                <a:gd name="T11" fmla="*/ 12 h 18"/>
                <a:gd name="T12" fmla="*/ 0 w 36"/>
                <a:gd name="T13" fmla="*/ 0 h 18"/>
                <a:gd name="T14" fmla="*/ 36 w 36"/>
                <a:gd name="T15" fmla="*/ 0 h 18"/>
                <a:gd name="T16" fmla="*/ 36 w 36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cubicBezTo>
                    <a:pt x="36" y="16"/>
                    <a:pt x="33" y="18"/>
                    <a:pt x="30" y="18"/>
                  </a:cubicBezTo>
                  <a:cubicBezTo>
                    <a:pt x="26" y="18"/>
                    <a:pt x="24" y="16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6"/>
                    <a:pt x="10" y="18"/>
                    <a:pt x="6" y="18"/>
                  </a:cubicBezTo>
                  <a:cubicBezTo>
                    <a:pt x="3" y="18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36" y="12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69">
              <a:extLst>
                <a:ext uri="{FF2B5EF4-FFF2-40B4-BE49-F238E27FC236}">
                  <a16:creationId xmlns:a16="http://schemas.microsoft.com/office/drawing/2014/main" id="{C930AEDD-C7ED-CCD9-4E3D-6B69B2925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423" y="3421064"/>
              <a:ext cx="88488" cy="44244"/>
            </a:xfrm>
            <a:custGeom>
              <a:avLst/>
              <a:gdLst>
                <a:gd name="T0" fmla="*/ 36 w 36"/>
                <a:gd name="T1" fmla="*/ 6 h 18"/>
                <a:gd name="T2" fmla="*/ 30 w 36"/>
                <a:gd name="T3" fmla="*/ 0 h 18"/>
                <a:gd name="T4" fmla="*/ 24 w 36"/>
                <a:gd name="T5" fmla="*/ 6 h 18"/>
                <a:gd name="T6" fmla="*/ 12 w 36"/>
                <a:gd name="T7" fmla="*/ 6 h 18"/>
                <a:gd name="T8" fmla="*/ 6 w 36"/>
                <a:gd name="T9" fmla="*/ 0 h 18"/>
                <a:gd name="T10" fmla="*/ 0 w 36"/>
                <a:gd name="T11" fmla="*/ 6 h 18"/>
                <a:gd name="T12" fmla="*/ 0 w 36"/>
                <a:gd name="T13" fmla="*/ 18 h 18"/>
                <a:gd name="T14" fmla="*/ 36 w 36"/>
                <a:gd name="T15" fmla="*/ 18 h 18"/>
                <a:gd name="T16" fmla="*/ 36 w 36"/>
                <a:gd name="T1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36" y="6"/>
                  </a:moveTo>
                  <a:cubicBezTo>
                    <a:pt x="36" y="3"/>
                    <a:pt x="33" y="0"/>
                    <a:pt x="30" y="0"/>
                  </a:cubicBezTo>
                  <a:cubicBezTo>
                    <a:pt x="26" y="0"/>
                    <a:pt x="24" y="3"/>
                    <a:pt x="24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10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6" y="18"/>
                    <a:pt x="36" y="18"/>
                    <a:pt x="36" y="18"/>
                  </a:cubicBezTo>
                  <a:lnTo>
                    <a:pt x="36" y="6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70">
              <a:extLst>
                <a:ext uri="{FF2B5EF4-FFF2-40B4-BE49-F238E27FC236}">
                  <a16:creationId xmlns:a16="http://schemas.microsoft.com/office/drawing/2014/main" id="{649F2594-5FD2-9919-CCCD-FEB79014C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913" y="3421064"/>
              <a:ext cx="88488" cy="44244"/>
            </a:xfrm>
            <a:custGeom>
              <a:avLst/>
              <a:gdLst>
                <a:gd name="T0" fmla="*/ 36 w 36"/>
                <a:gd name="T1" fmla="*/ 6 h 18"/>
                <a:gd name="T2" fmla="*/ 30 w 36"/>
                <a:gd name="T3" fmla="*/ 0 h 18"/>
                <a:gd name="T4" fmla="*/ 24 w 36"/>
                <a:gd name="T5" fmla="*/ 6 h 18"/>
                <a:gd name="T6" fmla="*/ 13 w 36"/>
                <a:gd name="T7" fmla="*/ 6 h 18"/>
                <a:gd name="T8" fmla="*/ 7 w 36"/>
                <a:gd name="T9" fmla="*/ 0 h 18"/>
                <a:gd name="T10" fmla="*/ 0 w 36"/>
                <a:gd name="T11" fmla="*/ 6 h 18"/>
                <a:gd name="T12" fmla="*/ 0 w 36"/>
                <a:gd name="T13" fmla="*/ 18 h 18"/>
                <a:gd name="T14" fmla="*/ 36 w 36"/>
                <a:gd name="T15" fmla="*/ 18 h 18"/>
                <a:gd name="T16" fmla="*/ 36 w 36"/>
                <a:gd name="T1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36" y="6"/>
                  </a:moveTo>
                  <a:cubicBezTo>
                    <a:pt x="36" y="3"/>
                    <a:pt x="34" y="0"/>
                    <a:pt x="30" y="0"/>
                  </a:cubicBezTo>
                  <a:cubicBezTo>
                    <a:pt x="27" y="0"/>
                    <a:pt x="24" y="3"/>
                    <a:pt x="24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"/>
                    <a:pt x="10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6" y="18"/>
                    <a:pt x="36" y="18"/>
                    <a:pt x="36" y="18"/>
                  </a:cubicBezTo>
                  <a:lnTo>
                    <a:pt x="36" y="6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571">
              <a:extLst>
                <a:ext uri="{FF2B5EF4-FFF2-40B4-BE49-F238E27FC236}">
                  <a16:creationId xmlns:a16="http://schemas.microsoft.com/office/drawing/2014/main" id="{8C084CD9-66CE-250E-ACF6-BA8ED6666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1246" y="3421064"/>
              <a:ext cx="88488" cy="44244"/>
            </a:xfrm>
            <a:custGeom>
              <a:avLst/>
              <a:gdLst>
                <a:gd name="T0" fmla="*/ 36 w 36"/>
                <a:gd name="T1" fmla="*/ 6 h 18"/>
                <a:gd name="T2" fmla="*/ 30 w 36"/>
                <a:gd name="T3" fmla="*/ 0 h 18"/>
                <a:gd name="T4" fmla="*/ 23 w 36"/>
                <a:gd name="T5" fmla="*/ 6 h 18"/>
                <a:gd name="T6" fmla="*/ 12 w 36"/>
                <a:gd name="T7" fmla="*/ 6 h 18"/>
                <a:gd name="T8" fmla="*/ 6 w 36"/>
                <a:gd name="T9" fmla="*/ 0 h 18"/>
                <a:gd name="T10" fmla="*/ 0 w 36"/>
                <a:gd name="T11" fmla="*/ 6 h 18"/>
                <a:gd name="T12" fmla="*/ 0 w 36"/>
                <a:gd name="T13" fmla="*/ 18 h 18"/>
                <a:gd name="T14" fmla="*/ 36 w 36"/>
                <a:gd name="T15" fmla="*/ 18 h 18"/>
                <a:gd name="T16" fmla="*/ 36 w 36"/>
                <a:gd name="T17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36" y="6"/>
                  </a:moveTo>
                  <a:cubicBezTo>
                    <a:pt x="36" y="3"/>
                    <a:pt x="33" y="0"/>
                    <a:pt x="30" y="0"/>
                  </a:cubicBezTo>
                  <a:cubicBezTo>
                    <a:pt x="26" y="0"/>
                    <a:pt x="23" y="3"/>
                    <a:pt x="23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6" y="18"/>
                    <a:pt x="36" y="18"/>
                    <a:pt x="36" y="18"/>
                  </a:cubicBezTo>
                  <a:lnTo>
                    <a:pt x="36" y="6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572">
              <a:extLst>
                <a:ext uri="{FF2B5EF4-FFF2-40B4-BE49-F238E27FC236}">
                  <a16:creationId xmlns:a16="http://schemas.microsoft.com/office/drawing/2014/main" id="{8D03775C-4F9F-238A-D5D6-2422AF396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913" y="3214591"/>
              <a:ext cx="88488" cy="44244"/>
            </a:xfrm>
            <a:custGeom>
              <a:avLst/>
              <a:gdLst>
                <a:gd name="T0" fmla="*/ 36 w 36"/>
                <a:gd name="T1" fmla="*/ 12 h 18"/>
                <a:gd name="T2" fmla="*/ 30 w 36"/>
                <a:gd name="T3" fmla="*/ 18 h 18"/>
                <a:gd name="T4" fmla="*/ 24 w 36"/>
                <a:gd name="T5" fmla="*/ 12 h 18"/>
                <a:gd name="T6" fmla="*/ 13 w 36"/>
                <a:gd name="T7" fmla="*/ 12 h 18"/>
                <a:gd name="T8" fmla="*/ 7 w 36"/>
                <a:gd name="T9" fmla="*/ 18 h 18"/>
                <a:gd name="T10" fmla="*/ 0 w 36"/>
                <a:gd name="T11" fmla="*/ 12 h 18"/>
                <a:gd name="T12" fmla="*/ 0 w 36"/>
                <a:gd name="T13" fmla="*/ 0 h 18"/>
                <a:gd name="T14" fmla="*/ 36 w 36"/>
                <a:gd name="T15" fmla="*/ 0 h 18"/>
                <a:gd name="T16" fmla="*/ 36 w 36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cubicBezTo>
                    <a:pt x="36" y="16"/>
                    <a:pt x="34" y="18"/>
                    <a:pt x="30" y="18"/>
                  </a:cubicBezTo>
                  <a:cubicBezTo>
                    <a:pt x="27" y="18"/>
                    <a:pt x="24" y="16"/>
                    <a:pt x="24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6"/>
                    <a:pt x="10" y="18"/>
                    <a:pt x="7" y="18"/>
                  </a:cubicBezTo>
                  <a:cubicBezTo>
                    <a:pt x="3" y="18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36" y="12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573">
              <a:extLst>
                <a:ext uri="{FF2B5EF4-FFF2-40B4-BE49-F238E27FC236}">
                  <a16:creationId xmlns:a16="http://schemas.microsoft.com/office/drawing/2014/main" id="{46EAFA83-1067-BD13-9912-F33E0062B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1246" y="3214591"/>
              <a:ext cx="88488" cy="44244"/>
            </a:xfrm>
            <a:custGeom>
              <a:avLst/>
              <a:gdLst>
                <a:gd name="T0" fmla="*/ 36 w 36"/>
                <a:gd name="T1" fmla="*/ 12 h 18"/>
                <a:gd name="T2" fmla="*/ 30 w 36"/>
                <a:gd name="T3" fmla="*/ 18 h 18"/>
                <a:gd name="T4" fmla="*/ 23 w 36"/>
                <a:gd name="T5" fmla="*/ 12 h 18"/>
                <a:gd name="T6" fmla="*/ 12 w 36"/>
                <a:gd name="T7" fmla="*/ 12 h 18"/>
                <a:gd name="T8" fmla="*/ 6 w 36"/>
                <a:gd name="T9" fmla="*/ 18 h 18"/>
                <a:gd name="T10" fmla="*/ 0 w 36"/>
                <a:gd name="T11" fmla="*/ 12 h 18"/>
                <a:gd name="T12" fmla="*/ 0 w 36"/>
                <a:gd name="T13" fmla="*/ 0 h 18"/>
                <a:gd name="T14" fmla="*/ 36 w 36"/>
                <a:gd name="T15" fmla="*/ 0 h 18"/>
                <a:gd name="T16" fmla="*/ 36 w 36"/>
                <a:gd name="T1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8">
                  <a:moveTo>
                    <a:pt x="36" y="12"/>
                  </a:moveTo>
                  <a:cubicBezTo>
                    <a:pt x="36" y="16"/>
                    <a:pt x="33" y="18"/>
                    <a:pt x="30" y="18"/>
                  </a:cubicBezTo>
                  <a:cubicBezTo>
                    <a:pt x="26" y="18"/>
                    <a:pt x="23" y="16"/>
                    <a:pt x="23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6"/>
                    <a:pt x="9" y="18"/>
                    <a:pt x="6" y="18"/>
                  </a:cubicBezTo>
                  <a:cubicBezTo>
                    <a:pt x="3" y="18"/>
                    <a:pt x="0" y="16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36" y="12"/>
                  </a:ln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Line 574">
              <a:extLst>
                <a:ext uri="{FF2B5EF4-FFF2-40B4-BE49-F238E27FC236}">
                  <a16:creationId xmlns:a16="http://schemas.microsoft.com/office/drawing/2014/main" id="{55876EF0-D1B5-0A16-1E62-498B637915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45171" y="3258836"/>
              <a:ext cx="0" cy="162229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Line 575">
              <a:extLst>
                <a:ext uri="{FF2B5EF4-FFF2-40B4-BE49-F238E27FC236}">
                  <a16:creationId xmlns:a16="http://schemas.microsoft.com/office/drawing/2014/main" id="{F0E9B1CA-6192-2FEC-D5C8-A92DED1F3F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04163" y="3258836"/>
              <a:ext cx="0" cy="162229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8" name="Line 576">
              <a:extLst>
                <a:ext uri="{FF2B5EF4-FFF2-40B4-BE49-F238E27FC236}">
                  <a16:creationId xmlns:a16="http://schemas.microsoft.com/office/drawing/2014/main" id="{5C46B61F-CEAD-1C1C-2DBA-8506E72A6A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41504" y="3258836"/>
              <a:ext cx="0" cy="162229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0" name="Line 577">
              <a:extLst>
                <a:ext uri="{FF2B5EF4-FFF2-40B4-BE49-F238E27FC236}">
                  <a16:creationId xmlns:a16="http://schemas.microsoft.com/office/drawing/2014/main" id="{01EF0BA4-E303-0EAA-A447-8CEF504ED9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98653" y="3258836"/>
              <a:ext cx="0" cy="162229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1" name="Line 578">
              <a:extLst>
                <a:ext uri="{FF2B5EF4-FFF2-40B4-BE49-F238E27FC236}">
                  <a16:creationId xmlns:a16="http://schemas.microsoft.com/office/drawing/2014/main" id="{95319653-E2E1-C47B-A2AC-6040AFBEED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35994" y="3258836"/>
              <a:ext cx="0" cy="162229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2" name="Line 579">
              <a:extLst>
                <a:ext uri="{FF2B5EF4-FFF2-40B4-BE49-F238E27FC236}">
                  <a16:creationId xmlns:a16="http://schemas.microsoft.com/office/drawing/2014/main" id="{AA854010-ABAE-E2EA-94AD-A87AEDD6AA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4986" y="3258836"/>
              <a:ext cx="0" cy="162229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3" name="Freeform 580">
              <a:extLst>
                <a:ext uri="{FF2B5EF4-FFF2-40B4-BE49-F238E27FC236}">
                  <a16:creationId xmlns:a16="http://schemas.microsoft.com/office/drawing/2014/main" id="{EA6119A8-9276-3324-7F1E-C444D9E6A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0787" y="3510474"/>
              <a:ext cx="558583" cy="38714"/>
            </a:xfrm>
            <a:custGeom>
              <a:avLst/>
              <a:gdLst>
                <a:gd name="T0" fmla="*/ 227 w 227"/>
                <a:gd name="T1" fmla="*/ 16 h 16"/>
                <a:gd name="T2" fmla="*/ 0 w 227"/>
                <a:gd name="T3" fmla="*/ 16 h 16"/>
                <a:gd name="T4" fmla="*/ 0 w 227"/>
                <a:gd name="T5" fmla="*/ 16 h 16"/>
                <a:gd name="T6" fmla="*/ 15 w 227"/>
                <a:gd name="T7" fmla="*/ 0 h 16"/>
                <a:gd name="T8" fmla="*/ 212 w 227"/>
                <a:gd name="T9" fmla="*/ 0 h 16"/>
                <a:gd name="T10" fmla="*/ 227 w 227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7" h="16">
                  <a:moveTo>
                    <a:pt x="227" y="16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20" y="0"/>
                    <a:pt x="227" y="7"/>
                    <a:pt x="227" y="16"/>
                  </a:cubicBez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64" name="Group 663">
            <a:extLst>
              <a:ext uri="{FF2B5EF4-FFF2-40B4-BE49-F238E27FC236}">
                <a16:creationId xmlns:a16="http://schemas.microsoft.com/office/drawing/2014/main" id="{4ADCA0E3-2097-0016-24C3-A2FEC1BF4262}"/>
              </a:ext>
            </a:extLst>
          </p:cNvPr>
          <p:cNvGrpSpPr/>
          <p:nvPr/>
        </p:nvGrpSpPr>
        <p:grpSpPr>
          <a:xfrm rot="5400000">
            <a:off x="9916640" y="2222549"/>
            <a:ext cx="373246" cy="238877"/>
            <a:chOff x="10385425" y="4310062"/>
            <a:chExt cx="515938" cy="330200"/>
          </a:xfrm>
        </p:grpSpPr>
        <p:sp>
          <p:nvSpPr>
            <p:cNvPr id="665" name="Freeform 356">
              <a:extLst>
                <a:ext uri="{FF2B5EF4-FFF2-40B4-BE49-F238E27FC236}">
                  <a16:creationId xmlns:a16="http://schemas.microsoft.com/office/drawing/2014/main" id="{75D524FB-B775-F0CA-C098-04B5E2A81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1788" y="4310062"/>
              <a:ext cx="409575" cy="330200"/>
            </a:xfrm>
            <a:custGeom>
              <a:avLst/>
              <a:gdLst>
                <a:gd name="T0" fmla="*/ 0 w 258"/>
                <a:gd name="T1" fmla="*/ 45 h 208"/>
                <a:gd name="T2" fmla="*/ 158 w 258"/>
                <a:gd name="T3" fmla="*/ 45 h 208"/>
                <a:gd name="T4" fmla="*/ 158 w 258"/>
                <a:gd name="T5" fmla="*/ 0 h 208"/>
                <a:gd name="T6" fmla="*/ 258 w 258"/>
                <a:gd name="T7" fmla="*/ 104 h 208"/>
                <a:gd name="T8" fmla="*/ 163 w 258"/>
                <a:gd name="T9" fmla="*/ 208 h 208"/>
                <a:gd name="T10" fmla="*/ 163 w 258"/>
                <a:gd name="T11" fmla="*/ 161 h 208"/>
                <a:gd name="T12" fmla="*/ 0 w 258"/>
                <a:gd name="T13" fmla="*/ 161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208">
                  <a:moveTo>
                    <a:pt x="0" y="45"/>
                  </a:moveTo>
                  <a:lnTo>
                    <a:pt x="158" y="45"/>
                  </a:lnTo>
                  <a:lnTo>
                    <a:pt x="158" y="0"/>
                  </a:lnTo>
                  <a:lnTo>
                    <a:pt x="258" y="104"/>
                  </a:lnTo>
                  <a:lnTo>
                    <a:pt x="163" y="208"/>
                  </a:lnTo>
                  <a:lnTo>
                    <a:pt x="163" y="161"/>
                  </a:lnTo>
                  <a:lnTo>
                    <a:pt x="0" y="161"/>
                  </a:ln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6" name="Line 357">
              <a:extLst>
                <a:ext uri="{FF2B5EF4-FFF2-40B4-BE49-F238E27FC236}">
                  <a16:creationId xmlns:a16="http://schemas.microsoft.com/office/drawing/2014/main" id="{0B0E263D-E025-C138-336F-0B64FC8460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385425" y="4502150"/>
              <a:ext cx="312738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7" name="Line 358">
              <a:extLst>
                <a:ext uri="{FF2B5EF4-FFF2-40B4-BE49-F238E27FC236}">
                  <a16:creationId xmlns:a16="http://schemas.microsoft.com/office/drawing/2014/main" id="{6B050D96-BBAD-D25A-981A-5D4E76E82E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56863" y="4441825"/>
              <a:ext cx="241300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68" name="Group 667">
            <a:extLst>
              <a:ext uri="{FF2B5EF4-FFF2-40B4-BE49-F238E27FC236}">
                <a16:creationId xmlns:a16="http://schemas.microsoft.com/office/drawing/2014/main" id="{B40031EE-C6F5-3498-1160-D10916AF078C}"/>
              </a:ext>
            </a:extLst>
          </p:cNvPr>
          <p:cNvGrpSpPr/>
          <p:nvPr/>
        </p:nvGrpSpPr>
        <p:grpSpPr>
          <a:xfrm>
            <a:off x="6095424" y="3563892"/>
            <a:ext cx="320257" cy="272154"/>
            <a:chOff x="9601201" y="1423988"/>
            <a:chExt cx="401638" cy="341312"/>
          </a:xfrm>
        </p:grpSpPr>
        <p:sp>
          <p:nvSpPr>
            <p:cNvPr id="669" name="Freeform 133">
              <a:extLst>
                <a:ext uri="{FF2B5EF4-FFF2-40B4-BE49-F238E27FC236}">
                  <a16:creationId xmlns:a16="http://schemas.microsoft.com/office/drawing/2014/main" id="{8FDE4B5B-01AB-95C9-2D5C-3BD69A5F9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201" y="1574800"/>
              <a:ext cx="349250" cy="190500"/>
            </a:xfrm>
            <a:custGeom>
              <a:avLst/>
              <a:gdLst>
                <a:gd name="T0" fmla="*/ 75 w 125"/>
                <a:gd name="T1" fmla="*/ 31 h 68"/>
                <a:gd name="T2" fmla="*/ 60 w 125"/>
                <a:gd name="T3" fmla="*/ 41 h 68"/>
                <a:gd name="T4" fmla="*/ 47 w 125"/>
                <a:gd name="T5" fmla="*/ 38 h 68"/>
                <a:gd name="T6" fmla="*/ 47 w 125"/>
                <a:gd name="T7" fmla="*/ 38 h 68"/>
                <a:gd name="T8" fmla="*/ 50 w 125"/>
                <a:gd name="T9" fmla="*/ 25 h 68"/>
                <a:gd name="T10" fmla="*/ 74 w 125"/>
                <a:gd name="T11" fmla="*/ 10 h 68"/>
                <a:gd name="T12" fmla="*/ 105 w 125"/>
                <a:gd name="T13" fmla="*/ 14 h 68"/>
                <a:gd name="T14" fmla="*/ 125 w 125"/>
                <a:gd name="T15" fmla="*/ 26 h 68"/>
                <a:gd name="T16" fmla="*/ 125 w 125"/>
                <a:gd name="T17" fmla="*/ 58 h 68"/>
                <a:gd name="T18" fmla="*/ 99 w 125"/>
                <a:gd name="T19" fmla="*/ 43 h 68"/>
                <a:gd name="T20" fmla="*/ 71 w 125"/>
                <a:gd name="T21" fmla="*/ 61 h 68"/>
                <a:gd name="T22" fmla="*/ 51 w 125"/>
                <a:gd name="T23" fmla="*/ 64 h 68"/>
                <a:gd name="T24" fmla="*/ 42 w 125"/>
                <a:gd name="T25" fmla="*/ 58 h 68"/>
                <a:gd name="T26" fmla="*/ 6 w 125"/>
                <a:gd name="T27" fmla="*/ 33 h 68"/>
                <a:gd name="T28" fmla="*/ 2 w 125"/>
                <a:gd name="T29" fmla="*/ 22 h 68"/>
                <a:gd name="T30" fmla="*/ 2 w 125"/>
                <a:gd name="T31" fmla="*/ 22 h 68"/>
                <a:gd name="T32" fmla="*/ 13 w 125"/>
                <a:gd name="T33" fmla="*/ 19 h 68"/>
                <a:gd name="T34" fmla="*/ 46 w 125"/>
                <a:gd name="T3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68">
                  <a:moveTo>
                    <a:pt x="75" y="31"/>
                  </a:moveTo>
                  <a:cubicBezTo>
                    <a:pt x="60" y="41"/>
                    <a:pt x="60" y="41"/>
                    <a:pt x="60" y="41"/>
                  </a:cubicBezTo>
                  <a:cubicBezTo>
                    <a:pt x="56" y="43"/>
                    <a:pt x="50" y="42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4" y="33"/>
                    <a:pt x="46" y="28"/>
                    <a:pt x="50" y="25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4" y="10"/>
                    <a:pt x="84" y="0"/>
                    <a:pt x="105" y="14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9" y="43"/>
                    <a:pt x="81" y="54"/>
                    <a:pt x="71" y="61"/>
                  </a:cubicBezTo>
                  <a:cubicBezTo>
                    <a:pt x="60" y="68"/>
                    <a:pt x="51" y="64"/>
                    <a:pt x="51" y="64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2" y="30"/>
                    <a:pt x="0" y="25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4" y="18"/>
                    <a:pt x="9" y="16"/>
                    <a:pt x="13" y="19"/>
                  </a:cubicBezTo>
                  <a:cubicBezTo>
                    <a:pt x="46" y="34"/>
                    <a:pt x="46" y="34"/>
                    <a:pt x="46" y="34"/>
                  </a:cubicBez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0" name="Rectangle 134">
              <a:extLst>
                <a:ext uri="{FF2B5EF4-FFF2-40B4-BE49-F238E27FC236}">
                  <a16:creationId xmlns:a16="http://schemas.microsoft.com/office/drawing/2014/main" id="{CC7E2707-AD45-B8B6-F38C-7076249CF9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52039" y="1627188"/>
              <a:ext cx="50800" cy="117475"/>
            </a:xfrm>
            <a:prstGeom prst="rect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1" name="Freeform 135">
              <a:extLst>
                <a:ext uri="{FF2B5EF4-FFF2-40B4-BE49-F238E27FC236}">
                  <a16:creationId xmlns:a16="http://schemas.microsoft.com/office/drawing/2014/main" id="{0C64AB88-5506-5815-D293-B13BE2C68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7564" y="1497013"/>
              <a:ext cx="66675" cy="107950"/>
            </a:xfrm>
            <a:custGeom>
              <a:avLst/>
              <a:gdLst>
                <a:gd name="T0" fmla="*/ 24 w 24"/>
                <a:gd name="T1" fmla="*/ 0 h 39"/>
                <a:gd name="T2" fmla="*/ 0 w 24"/>
                <a:gd name="T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39">
                  <a:moveTo>
                    <a:pt x="24" y="0"/>
                  </a:moveTo>
                  <a:cubicBezTo>
                    <a:pt x="24" y="0"/>
                    <a:pt x="5" y="1"/>
                    <a:pt x="0" y="39"/>
                  </a:cubicBez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2" name="Freeform 136">
              <a:extLst>
                <a:ext uri="{FF2B5EF4-FFF2-40B4-BE49-F238E27FC236}">
                  <a16:creationId xmlns:a16="http://schemas.microsoft.com/office/drawing/2014/main" id="{516675C3-FF6B-CFC8-1538-F23D1167A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6926" y="1423988"/>
              <a:ext cx="165100" cy="179388"/>
            </a:xfrm>
            <a:custGeom>
              <a:avLst/>
              <a:gdLst>
                <a:gd name="T0" fmla="*/ 3 w 59"/>
                <a:gd name="T1" fmla="*/ 40 h 64"/>
                <a:gd name="T2" fmla="*/ 38 w 59"/>
                <a:gd name="T3" fmla="*/ 7 h 64"/>
                <a:gd name="T4" fmla="*/ 51 w 59"/>
                <a:gd name="T5" fmla="*/ 0 h 64"/>
                <a:gd name="T6" fmla="*/ 54 w 59"/>
                <a:gd name="T7" fmla="*/ 23 h 64"/>
                <a:gd name="T8" fmla="*/ 25 w 59"/>
                <a:gd name="T9" fmla="*/ 50 h 64"/>
                <a:gd name="T10" fmla="*/ 3 w 59"/>
                <a:gd name="T11" fmla="*/ 4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64">
                  <a:moveTo>
                    <a:pt x="3" y="40"/>
                  </a:moveTo>
                  <a:cubicBezTo>
                    <a:pt x="3" y="40"/>
                    <a:pt x="3" y="6"/>
                    <a:pt x="38" y="7"/>
                  </a:cubicBezTo>
                  <a:cubicBezTo>
                    <a:pt x="41" y="7"/>
                    <a:pt x="47" y="0"/>
                    <a:pt x="51" y="0"/>
                  </a:cubicBezTo>
                  <a:cubicBezTo>
                    <a:pt x="51" y="0"/>
                    <a:pt x="59" y="5"/>
                    <a:pt x="54" y="23"/>
                  </a:cubicBezTo>
                  <a:cubicBezTo>
                    <a:pt x="54" y="23"/>
                    <a:pt x="53" y="39"/>
                    <a:pt x="25" y="50"/>
                  </a:cubicBezTo>
                  <a:cubicBezTo>
                    <a:pt x="25" y="50"/>
                    <a:pt x="0" y="64"/>
                    <a:pt x="3" y="40"/>
                  </a:cubicBezTo>
                  <a:close/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73" name="Group 59">
            <a:extLst>
              <a:ext uri="{FF2B5EF4-FFF2-40B4-BE49-F238E27FC236}">
                <a16:creationId xmlns:a16="http://schemas.microsoft.com/office/drawing/2014/main" id="{9758D8FB-3B81-C352-6FB9-5FA2C05BB9A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62511" y="3581090"/>
            <a:ext cx="346834" cy="254956"/>
            <a:chOff x="1249" y="1194"/>
            <a:chExt cx="453" cy="333"/>
          </a:xfrm>
        </p:grpSpPr>
        <p:sp>
          <p:nvSpPr>
            <p:cNvPr id="674" name="Freeform 60">
              <a:extLst>
                <a:ext uri="{FF2B5EF4-FFF2-40B4-BE49-F238E27FC236}">
                  <a16:creationId xmlns:a16="http://schemas.microsoft.com/office/drawing/2014/main" id="{3767C7DD-9D14-6F06-82F6-59D7BA6FA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194"/>
              <a:ext cx="143" cy="333"/>
            </a:xfrm>
            <a:custGeom>
              <a:avLst/>
              <a:gdLst>
                <a:gd name="T0" fmla="*/ 0 w 69"/>
                <a:gd name="T1" fmla="*/ 0 h 165"/>
                <a:gd name="T2" fmla="*/ 7 w 69"/>
                <a:gd name="T3" fmla="*/ 0 h 165"/>
                <a:gd name="T4" fmla="*/ 7 w 69"/>
                <a:gd name="T5" fmla="*/ 138 h 165"/>
                <a:gd name="T6" fmla="*/ 34 w 69"/>
                <a:gd name="T7" fmla="*/ 165 h 165"/>
                <a:gd name="T8" fmla="*/ 34 w 69"/>
                <a:gd name="T9" fmla="*/ 165 h 165"/>
                <a:gd name="T10" fmla="*/ 61 w 69"/>
                <a:gd name="T11" fmla="*/ 138 h 165"/>
                <a:gd name="T12" fmla="*/ 61 w 69"/>
                <a:gd name="T13" fmla="*/ 0 h 165"/>
                <a:gd name="T14" fmla="*/ 69 w 69"/>
                <a:gd name="T1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165">
                  <a:moveTo>
                    <a:pt x="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53"/>
                    <a:pt x="19" y="165"/>
                    <a:pt x="34" y="165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9" y="165"/>
                    <a:pt x="61" y="153"/>
                    <a:pt x="61" y="138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9" y="0"/>
                    <a:pt x="69" y="0"/>
                    <a:pt x="69" y="0"/>
                  </a:cubicBez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5" name="Line 61">
              <a:extLst>
                <a:ext uri="{FF2B5EF4-FFF2-40B4-BE49-F238E27FC236}">
                  <a16:creationId xmlns:a16="http://schemas.microsoft.com/office/drawing/2014/main" id="{1526A171-863D-4252-6F19-3E318E9E75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64" y="1341"/>
              <a:ext cx="111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6" name="Freeform 62">
              <a:extLst>
                <a:ext uri="{FF2B5EF4-FFF2-40B4-BE49-F238E27FC236}">
                  <a16:creationId xmlns:a16="http://schemas.microsoft.com/office/drawing/2014/main" id="{BC2969C0-4758-1A01-23A5-EEA3AD84B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4" y="1194"/>
              <a:ext cx="143" cy="333"/>
            </a:xfrm>
            <a:custGeom>
              <a:avLst/>
              <a:gdLst>
                <a:gd name="T0" fmla="*/ 0 w 69"/>
                <a:gd name="T1" fmla="*/ 0 h 165"/>
                <a:gd name="T2" fmla="*/ 7 w 69"/>
                <a:gd name="T3" fmla="*/ 0 h 165"/>
                <a:gd name="T4" fmla="*/ 7 w 69"/>
                <a:gd name="T5" fmla="*/ 138 h 165"/>
                <a:gd name="T6" fmla="*/ 34 w 69"/>
                <a:gd name="T7" fmla="*/ 165 h 165"/>
                <a:gd name="T8" fmla="*/ 34 w 69"/>
                <a:gd name="T9" fmla="*/ 165 h 165"/>
                <a:gd name="T10" fmla="*/ 61 w 69"/>
                <a:gd name="T11" fmla="*/ 138 h 165"/>
                <a:gd name="T12" fmla="*/ 61 w 69"/>
                <a:gd name="T13" fmla="*/ 0 h 165"/>
                <a:gd name="T14" fmla="*/ 69 w 69"/>
                <a:gd name="T1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165">
                  <a:moveTo>
                    <a:pt x="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53"/>
                    <a:pt x="19" y="165"/>
                    <a:pt x="34" y="165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9" y="165"/>
                    <a:pt x="61" y="153"/>
                    <a:pt x="61" y="138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9" y="0"/>
                    <a:pt x="69" y="0"/>
                    <a:pt x="69" y="0"/>
                  </a:cubicBez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7" name="Line 63">
              <a:extLst>
                <a:ext uri="{FF2B5EF4-FFF2-40B4-BE49-F238E27FC236}">
                  <a16:creationId xmlns:a16="http://schemas.microsoft.com/office/drawing/2014/main" id="{9B33F553-DCA3-B92F-F159-3669CEC49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19" y="1341"/>
              <a:ext cx="111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8" name="Freeform 64">
              <a:extLst>
                <a:ext uri="{FF2B5EF4-FFF2-40B4-BE49-F238E27FC236}">
                  <a16:creationId xmlns:a16="http://schemas.microsoft.com/office/drawing/2014/main" id="{B1D3EEC6-B559-C772-E045-CE77627B1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1" y="1194"/>
              <a:ext cx="141" cy="333"/>
            </a:xfrm>
            <a:custGeom>
              <a:avLst/>
              <a:gdLst>
                <a:gd name="T0" fmla="*/ 0 w 68"/>
                <a:gd name="T1" fmla="*/ 0 h 165"/>
                <a:gd name="T2" fmla="*/ 6 w 68"/>
                <a:gd name="T3" fmla="*/ 0 h 165"/>
                <a:gd name="T4" fmla="*/ 6 w 68"/>
                <a:gd name="T5" fmla="*/ 138 h 165"/>
                <a:gd name="T6" fmla="*/ 33 w 68"/>
                <a:gd name="T7" fmla="*/ 165 h 165"/>
                <a:gd name="T8" fmla="*/ 33 w 68"/>
                <a:gd name="T9" fmla="*/ 165 h 165"/>
                <a:gd name="T10" fmla="*/ 60 w 68"/>
                <a:gd name="T11" fmla="*/ 138 h 165"/>
                <a:gd name="T12" fmla="*/ 60 w 68"/>
                <a:gd name="T13" fmla="*/ 0 h 165"/>
                <a:gd name="T14" fmla="*/ 68 w 68"/>
                <a:gd name="T1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165">
                  <a:moveTo>
                    <a:pt x="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138"/>
                    <a:pt x="6" y="138"/>
                    <a:pt x="6" y="138"/>
                  </a:cubicBezTo>
                  <a:cubicBezTo>
                    <a:pt x="6" y="153"/>
                    <a:pt x="18" y="165"/>
                    <a:pt x="33" y="165"/>
                  </a:cubicBezTo>
                  <a:cubicBezTo>
                    <a:pt x="33" y="165"/>
                    <a:pt x="33" y="165"/>
                    <a:pt x="33" y="165"/>
                  </a:cubicBezTo>
                  <a:cubicBezTo>
                    <a:pt x="48" y="165"/>
                    <a:pt x="60" y="153"/>
                    <a:pt x="60" y="138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8" y="0"/>
                    <a:pt x="68" y="0"/>
                    <a:pt x="68" y="0"/>
                  </a:cubicBezTo>
                </a:path>
              </a:pathLst>
            </a:cu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9" name="Line 65">
              <a:extLst>
                <a:ext uri="{FF2B5EF4-FFF2-40B4-BE49-F238E27FC236}">
                  <a16:creationId xmlns:a16="http://schemas.microsoft.com/office/drawing/2014/main" id="{4E704DB7-A2A0-7C6E-EB86-4B90D6C1C4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4" y="1341"/>
              <a:ext cx="111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CA6FD9AF-0F7D-00F6-FFDE-F09C6D497C70}"/>
              </a:ext>
            </a:extLst>
          </p:cNvPr>
          <p:cNvSpPr txBox="1"/>
          <p:nvPr/>
        </p:nvSpPr>
        <p:spPr>
          <a:xfrm>
            <a:off x="6095424" y="2694986"/>
            <a:ext cx="1510664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200" dirty="0">
                <a:solidFill>
                  <a:schemeClr val="tx2"/>
                </a:solidFill>
                <a:sym typeface="Wingdings" panose="05000000000000000000" pitchFamily="2" charset="2"/>
              </a:rPr>
              <a:t>Cyclicality of metal prices and exploration spending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73835B2-5094-17A5-02E7-E3E693B10422}"/>
              </a:ext>
            </a:extLst>
          </p:cNvPr>
          <p:cNvGrpSpPr/>
          <p:nvPr/>
        </p:nvGrpSpPr>
        <p:grpSpPr>
          <a:xfrm>
            <a:off x="6095424" y="2226283"/>
            <a:ext cx="302328" cy="302328"/>
            <a:chOff x="9034463" y="3163888"/>
            <a:chExt cx="385763" cy="385763"/>
          </a:xfrm>
        </p:grpSpPr>
        <p:sp>
          <p:nvSpPr>
            <p:cNvPr id="22" name="Line 1174">
              <a:extLst>
                <a:ext uri="{FF2B5EF4-FFF2-40B4-BE49-F238E27FC236}">
                  <a16:creationId xmlns:a16="http://schemas.microsoft.com/office/drawing/2014/main" id="{8EBB92C7-8F56-ECAE-ECC4-F678402F7A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4151" y="3163888"/>
              <a:ext cx="0" cy="385763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Line 1175">
              <a:extLst>
                <a:ext uri="{FF2B5EF4-FFF2-40B4-BE49-F238E27FC236}">
                  <a16:creationId xmlns:a16="http://schemas.microsoft.com/office/drawing/2014/main" id="{09D2EF57-85E9-EAE3-4A4F-A4172F8C42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34463" y="3506788"/>
              <a:ext cx="385763" cy="0"/>
            </a:xfrm>
            <a:prstGeom prst="line">
              <a:avLst/>
            </a:prstGeom>
            <a:noFill/>
            <a:ln w="9525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176">
              <a:extLst>
                <a:ext uri="{FF2B5EF4-FFF2-40B4-BE49-F238E27FC236}">
                  <a16:creationId xmlns:a16="http://schemas.microsoft.com/office/drawing/2014/main" id="{330FD22D-F12D-739C-E0A9-0661F609E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5426" y="3230563"/>
              <a:ext cx="304800" cy="211138"/>
            </a:xfrm>
            <a:custGeom>
              <a:avLst/>
              <a:gdLst>
                <a:gd name="T0" fmla="*/ 0 w 192"/>
                <a:gd name="T1" fmla="*/ 133 h 133"/>
                <a:gd name="T2" fmla="*/ 83 w 192"/>
                <a:gd name="T3" fmla="*/ 54 h 133"/>
                <a:gd name="T4" fmla="*/ 106 w 192"/>
                <a:gd name="T5" fmla="*/ 86 h 133"/>
                <a:gd name="T6" fmla="*/ 164 w 192"/>
                <a:gd name="T7" fmla="*/ 27 h 133"/>
                <a:gd name="T8" fmla="*/ 192 w 192"/>
                <a:gd name="T9" fmla="*/ 0 h 133"/>
                <a:gd name="T10" fmla="*/ 132 w 192"/>
                <a:gd name="T11" fmla="*/ 0 h 133"/>
                <a:gd name="T12" fmla="*/ 192 w 192"/>
                <a:gd name="T13" fmla="*/ 0 h 133"/>
                <a:gd name="T14" fmla="*/ 192 w 192"/>
                <a:gd name="T15" fmla="*/ 54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133">
                  <a:moveTo>
                    <a:pt x="0" y="133"/>
                  </a:moveTo>
                  <a:lnTo>
                    <a:pt x="83" y="54"/>
                  </a:lnTo>
                  <a:lnTo>
                    <a:pt x="106" y="86"/>
                  </a:lnTo>
                  <a:lnTo>
                    <a:pt x="164" y="27"/>
                  </a:lnTo>
                  <a:lnTo>
                    <a:pt x="192" y="0"/>
                  </a:lnTo>
                  <a:lnTo>
                    <a:pt x="132" y="0"/>
                  </a:lnTo>
                  <a:lnTo>
                    <a:pt x="192" y="0"/>
                  </a:lnTo>
                  <a:lnTo>
                    <a:pt x="192" y="54"/>
                  </a:lnTo>
                </a:path>
              </a:pathLst>
            </a:custGeom>
            <a:noFill/>
            <a:ln w="952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28149E14-DE10-426C-11D9-27AD393D9437}"/>
              </a:ext>
            </a:extLst>
          </p:cNvPr>
          <p:cNvCxnSpPr>
            <a:cxnSpLocks/>
          </p:cNvCxnSpPr>
          <p:nvPr/>
        </p:nvCxnSpPr>
        <p:spPr>
          <a:xfrm>
            <a:off x="6095424" y="2606065"/>
            <a:ext cx="1705203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" name="TextBox 683">
            <a:extLst>
              <a:ext uri="{FF2B5EF4-FFF2-40B4-BE49-F238E27FC236}">
                <a16:creationId xmlns:a16="http://schemas.microsoft.com/office/drawing/2014/main" id="{40EADDA5-C914-9665-5492-A96B8BB34022}"/>
              </a:ext>
            </a:extLst>
          </p:cNvPr>
          <p:cNvSpPr txBox="1"/>
          <p:nvPr/>
        </p:nvSpPr>
        <p:spPr>
          <a:xfrm>
            <a:off x="8062511" y="2694986"/>
            <a:ext cx="1705202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200" dirty="0">
                <a:solidFill>
                  <a:schemeClr val="tx2"/>
                </a:solidFill>
                <a:sym typeface="Wingdings" panose="05000000000000000000" pitchFamily="2" charset="2"/>
              </a:rPr>
              <a:t>Concentration of mineral resources in volatile political regions</a:t>
            </a:r>
          </a:p>
        </p:txBody>
      </p: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A3B7FB5C-1EBF-EE57-7F2B-C78E1F43C757}"/>
              </a:ext>
            </a:extLst>
          </p:cNvPr>
          <p:cNvCxnSpPr>
            <a:cxnSpLocks/>
          </p:cNvCxnSpPr>
          <p:nvPr/>
        </p:nvCxnSpPr>
        <p:spPr>
          <a:xfrm>
            <a:off x="8062511" y="2606065"/>
            <a:ext cx="1705203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1" name="TextBox 690">
            <a:extLst>
              <a:ext uri="{FF2B5EF4-FFF2-40B4-BE49-F238E27FC236}">
                <a16:creationId xmlns:a16="http://schemas.microsoft.com/office/drawing/2014/main" id="{759CF939-52A5-00FF-32E6-9EB0E93DE321}"/>
              </a:ext>
            </a:extLst>
          </p:cNvPr>
          <p:cNvSpPr txBox="1"/>
          <p:nvPr/>
        </p:nvSpPr>
        <p:spPr>
          <a:xfrm>
            <a:off x="10029596" y="2694986"/>
            <a:ext cx="1705203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200" dirty="0">
                <a:solidFill>
                  <a:schemeClr val="tx2"/>
                </a:solidFill>
                <a:sym typeface="Wingdings" panose="05000000000000000000" pitchFamily="2" charset="2"/>
              </a:rPr>
              <a:t>Low exploration success rate (1 mine out of 100 discoveries)</a:t>
            </a:r>
          </a:p>
        </p:txBody>
      </p:sp>
      <p:cxnSp>
        <p:nvCxnSpPr>
          <p:cNvPr id="693" name="Straight Connector 692">
            <a:extLst>
              <a:ext uri="{FF2B5EF4-FFF2-40B4-BE49-F238E27FC236}">
                <a16:creationId xmlns:a16="http://schemas.microsoft.com/office/drawing/2014/main" id="{3B311466-708A-5386-C7F5-291C32B01859}"/>
              </a:ext>
            </a:extLst>
          </p:cNvPr>
          <p:cNvCxnSpPr>
            <a:cxnSpLocks/>
          </p:cNvCxnSpPr>
          <p:nvPr/>
        </p:nvCxnSpPr>
        <p:spPr>
          <a:xfrm>
            <a:off x="10029597" y="2606065"/>
            <a:ext cx="1705203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8" name="TextBox 697">
            <a:extLst>
              <a:ext uri="{FF2B5EF4-FFF2-40B4-BE49-F238E27FC236}">
                <a16:creationId xmlns:a16="http://schemas.microsoft.com/office/drawing/2014/main" id="{286958AB-2679-15C2-DCDD-56B46A144D0F}"/>
              </a:ext>
            </a:extLst>
          </p:cNvPr>
          <p:cNvSpPr txBox="1"/>
          <p:nvPr/>
        </p:nvSpPr>
        <p:spPr>
          <a:xfrm>
            <a:off x="6095424" y="4029358"/>
            <a:ext cx="1510664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200" dirty="0">
                <a:solidFill>
                  <a:schemeClr val="tx2"/>
                </a:solidFill>
                <a:sym typeface="Wingdings" panose="05000000000000000000" pitchFamily="2" charset="2"/>
              </a:rPr>
              <a:t>Ever increasing regulatory requirements </a:t>
            </a:r>
            <a:br>
              <a:rPr lang="en-US" sz="1200" dirty="0">
                <a:solidFill>
                  <a:schemeClr val="tx2"/>
                </a:solidFill>
                <a:sym typeface="Wingdings" panose="05000000000000000000" pitchFamily="2" charset="2"/>
              </a:rPr>
            </a:br>
            <a:r>
              <a:rPr lang="en-US" sz="1200" dirty="0">
                <a:solidFill>
                  <a:schemeClr val="tx2"/>
                </a:solidFill>
                <a:sym typeface="Wingdings" panose="05000000000000000000" pitchFamily="2" charset="2"/>
              </a:rPr>
              <a:t>(ESG, permitting)</a:t>
            </a:r>
          </a:p>
        </p:txBody>
      </p: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819E4A9E-11CE-46D6-3E2C-DAEA36246569}"/>
              </a:ext>
            </a:extLst>
          </p:cNvPr>
          <p:cNvCxnSpPr>
            <a:cxnSpLocks/>
          </p:cNvCxnSpPr>
          <p:nvPr/>
        </p:nvCxnSpPr>
        <p:spPr>
          <a:xfrm>
            <a:off x="6095424" y="3940437"/>
            <a:ext cx="1705203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1" name="TextBox 720">
            <a:extLst>
              <a:ext uri="{FF2B5EF4-FFF2-40B4-BE49-F238E27FC236}">
                <a16:creationId xmlns:a16="http://schemas.microsoft.com/office/drawing/2014/main" id="{0EF60D35-C982-F943-BD11-55E053D3837A}"/>
              </a:ext>
            </a:extLst>
          </p:cNvPr>
          <p:cNvSpPr txBox="1"/>
          <p:nvPr/>
        </p:nvSpPr>
        <p:spPr>
          <a:xfrm>
            <a:off x="8062511" y="4029358"/>
            <a:ext cx="171375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en-US" sz="1200" dirty="0">
                <a:solidFill>
                  <a:schemeClr val="tx2"/>
                </a:solidFill>
                <a:sym typeface="Wingdings" panose="05000000000000000000" pitchFamily="2" charset="2"/>
              </a:rPr>
              <a:t>Test-work for and development of projects in ever more remote locations takes time</a:t>
            </a:r>
          </a:p>
        </p:txBody>
      </p:sp>
      <p:cxnSp>
        <p:nvCxnSpPr>
          <p:cNvPr id="722" name="Straight Connector 721">
            <a:extLst>
              <a:ext uri="{FF2B5EF4-FFF2-40B4-BE49-F238E27FC236}">
                <a16:creationId xmlns:a16="http://schemas.microsoft.com/office/drawing/2014/main" id="{CCCA7269-9B2A-E2FE-40CA-EE1612219D4E}"/>
              </a:ext>
            </a:extLst>
          </p:cNvPr>
          <p:cNvCxnSpPr>
            <a:cxnSpLocks/>
          </p:cNvCxnSpPr>
          <p:nvPr/>
        </p:nvCxnSpPr>
        <p:spPr>
          <a:xfrm>
            <a:off x="8062511" y="3940437"/>
            <a:ext cx="1705203" cy="0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3" name="Rectangle 722">
            <a:extLst>
              <a:ext uri="{FF2B5EF4-FFF2-40B4-BE49-F238E27FC236}">
                <a16:creationId xmlns:a16="http://schemas.microsoft.com/office/drawing/2014/main" id="{29894BD6-636C-2972-C2AF-C22D5D333B43}"/>
              </a:ext>
            </a:extLst>
          </p:cNvPr>
          <p:cNvSpPr/>
          <p:nvPr/>
        </p:nvSpPr>
        <p:spPr>
          <a:xfrm>
            <a:off x="6096000" y="5092066"/>
            <a:ext cx="5638799" cy="12325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725" name="TextBox 724">
            <a:extLst>
              <a:ext uri="{FF2B5EF4-FFF2-40B4-BE49-F238E27FC236}">
                <a16:creationId xmlns:a16="http://schemas.microsoft.com/office/drawing/2014/main" id="{D120EE56-347B-FD9D-450D-B81C06417565}"/>
              </a:ext>
            </a:extLst>
          </p:cNvPr>
          <p:cNvSpPr txBox="1"/>
          <p:nvPr/>
        </p:nvSpPr>
        <p:spPr>
          <a:xfrm>
            <a:off x="7497991" y="5296495"/>
            <a:ext cx="3957055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bg1"/>
                </a:solidFill>
              </a:rPr>
              <a:t>There is an inherent disconnect between upstream and downstream project delivery timelines, as well as their respective flexibility in product specs</a:t>
            </a:r>
          </a:p>
        </p:txBody>
      </p:sp>
      <p:grpSp>
        <p:nvGrpSpPr>
          <p:cNvPr id="729" name="Group 728">
            <a:extLst>
              <a:ext uri="{FF2B5EF4-FFF2-40B4-BE49-F238E27FC236}">
                <a16:creationId xmlns:a16="http://schemas.microsoft.com/office/drawing/2014/main" id="{BDD35BF1-B9D6-04FF-5FD5-DC00A4A056B5}"/>
              </a:ext>
            </a:extLst>
          </p:cNvPr>
          <p:cNvGrpSpPr/>
          <p:nvPr/>
        </p:nvGrpSpPr>
        <p:grpSpPr>
          <a:xfrm>
            <a:off x="7191177" y="5248262"/>
            <a:ext cx="125260" cy="958241"/>
            <a:chOff x="6904973" y="5248262"/>
            <a:chExt cx="125260" cy="958241"/>
          </a:xfrm>
        </p:grpSpPr>
        <p:cxnSp>
          <p:nvCxnSpPr>
            <p:cNvPr id="727" name="Straight Connector 726">
              <a:extLst>
                <a:ext uri="{FF2B5EF4-FFF2-40B4-BE49-F238E27FC236}">
                  <a16:creationId xmlns:a16="http://schemas.microsoft.com/office/drawing/2014/main" id="{AC829216-CF94-12B7-D62F-2B0CB79E8DFB}"/>
                </a:ext>
              </a:extLst>
            </p:cNvPr>
            <p:cNvCxnSpPr>
              <a:cxnSpLocks/>
            </p:cNvCxnSpPr>
            <p:nvPr/>
          </p:nvCxnSpPr>
          <p:spPr>
            <a:xfrm>
              <a:off x="6926893" y="5248262"/>
              <a:ext cx="0" cy="958241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8" name="Triangle 727">
              <a:extLst>
                <a:ext uri="{FF2B5EF4-FFF2-40B4-BE49-F238E27FC236}">
                  <a16:creationId xmlns:a16="http://schemas.microsoft.com/office/drawing/2014/main" id="{FF9D7A26-C331-AEC6-66F4-B9C4C69FE466}"/>
                </a:ext>
              </a:extLst>
            </p:cNvPr>
            <p:cNvSpPr/>
            <p:nvPr/>
          </p:nvSpPr>
          <p:spPr>
            <a:xfrm rot="5400000">
              <a:off x="6748397" y="5664752"/>
              <a:ext cx="438411" cy="12526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730" name="Group 729">
            <a:extLst>
              <a:ext uri="{FF2B5EF4-FFF2-40B4-BE49-F238E27FC236}">
                <a16:creationId xmlns:a16="http://schemas.microsoft.com/office/drawing/2014/main" id="{21B23BAE-4E22-6EC7-0128-1FB46DF26401}"/>
              </a:ext>
            </a:extLst>
          </p:cNvPr>
          <p:cNvGrpSpPr/>
          <p:nvPr/>
        </p:nvGrpSpPr>
        <p:grpSpPr>
          <a:xfrm>
            <a:off x="6438838" y="5474262"/>
            <a:ext cx="497037" cy="506240"/>
            <a:chOff x="7324549" y="6194060"/>
            <a:chExt cx="264309" cy="269203"/>
          </a:xfrm>
        </p:grpSpPr>
        <p:sp>
          <p:nvSpPr>
            <p:cNvPr id="731" name="Freeform 698">
              <a:extLst>
                <a:ext uri="{FF2B5EF4-FFF2-40B4-BE49-F238E27FC236}">
                  <a16:creationId xmlns:a16="http://schemas.microsoft.com/office/drawing/2014/main" id="{CF48C03A-91BF-8133-0E62-74CC7D5B22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4549" y="6194060"/>
              <a:ext cx="264309" cy="176206"/>
            </a:xfrm>
            <a:custGeom>
              <a:avLst/>
              <a:gdLst>
                <a:gd name="T0" fmla="*/ 0 w 162"/>
                <a:gd name="T1" fmla="*/ 0 h 108"/>
                <a:gd name="T2" fmla="*/ 20 w 162"/>
                <a:gd name="T3" fmla="*/ 1 h 108"/>
                <a:gd name="T4" fmla="*/ 46 w 162"/>
                <a:gd name="T5" fmla="*/ 82 h 108"/>
                <a:gd name="T6" fmla="*/ 22 w 162"/>
                <a:gd name="T7" fmla="*/ 82 h 108"/>
                <a:gd name="T8" fmla="*/ 22 w 162"/>
                <a:gd name="T9" fmla="*/ 108 h 108"/>
                <a:gd name="T10" fmla="*/ 162 w 162"/>
                <a:gd name="T11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108">
                  <a:moveTo>
                    <a:pt x="0" y="0"/>
                  </a:moveTo>
                  <a:lnTo>
                    <a:pt x="20" y="1"/>
                  </a:lnTo>
                  <a:lnTo>
                    <a:pt x="46" y="82"/>
                  </a:lnTo>
                  <a:lnTo>
                    <a:pt x="22" y="82"/>
                  </a:lnTo>
                  <a:lnTo>
                    <a:pt x="22" y="108"/>
                  </a:lnTo>
                  <a:lnTo>
                    <a:pt x="162" y="108"/>
                  </a:ln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2" name="Freeform 699">
              <a:extLst>
                <a:ext uri="{FF2B5EF4-FFF2-40B4-BE49-F238E27FC236}">
                  <a16:creationId xmlns:a16="http://schemas.microsoft.com/office/drawing/2014/main" id="{4214FA2E-E6CC-EA33-F7CA-0BCACE5B3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2231" y="6290320"/>
              <a:ext cx="151734" cy="42420"/>
            </a:xfrm>
            <a:custGeom>
              <a:avLst/>
              <a:gdLst>
                <a:gd name="T0" fmla="*/ 58 w 64"/>
                <a:gd name="T1" fmla="*/ 18 h 18"/>
                <a:gd name="T2" fmla="*/ 7 w 64"/>
                <a:gd name="T3" fmla="*/ 18 h 18"/>
                <a:gd name="T4" fmla="*/ 0 w 64"/>
                <a:gd name="T5" fmla="*/ 11 h 18"/>
                <a:gd name="T6" fmla="*/ 0 w 64"/>
                <a:gd name="T7" fmla="*/ 6 h 18"/>
                <a:gd name="T8" fmla="*/ 7 w 64"/>
                <a:gd name="T9" fmla="*/ 0 h 18"/>
                <a:gd name="T10" fmla="*/ 58 w 64"/>
                <a:gd name="T11" fmla="*/ 0 h 18"/>
                <a:gd name="T12" fmla="*/ 64 w 64"/>
                <a:gd name="T13" fmla="*/ 6 h 18"/>
                <a:gd name="T14" fmla="*/ 64 w 64"/>
                <a:gd name="T15" fmla="*/ 11 h 18"/>
                <a:gd name="T16" fmla="*/ 58 w 64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18">
                  <a:moveTo>
                    <a:pt x="58" y="18"/>
                  </a:moveTo>
                  <a:cubicBezTo>
                    <a:pt x="7" y="18"/>
                    <a:pt x="7" y="18"/>
                    <a:pt x="7" y="18"/>
                  </a:cubicBezTo>
                  <a:cubicBezTo>
                    <a:pt x="3" y="18"/>
                    <a:pt x="0" y="15"/>
                    <a:pt x="0" y="1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1" y="0"/>
                    <a:pt x="64" y="3"/>
                    <a:pt x="64" y="6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5"/>
                    <a:pt x="61" y="18"/>
                    <a:pt x="58" y="18"/>
                  </a:cubicBez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3" name="Freeform 700">
              <a:extLst>
                <a:ext uri="{FF2B5EF4-FFF2-40B4-BE49-F238E27FC236}">
                  <a16:creationId xmlns:a16="http://schemas.microsoft.com/office/drawing/2014/main" id="{648D21DD-1871-D585-7044-AFF22CC0D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4284" y="6216901"/>
              <a:ext cx="148471" cy="42420"/>
            </a:xfrm>
            <a:custGeom>
              <a:avLst/>
              <a:gdLst>
                <a:gd name="T0" fmla="*/ 57 w 63"/>
                <a:gd name="T1" fmla="*/ 18 h 18"/>
                <a:gd name="T2" fmla="*/ 6 w 63"/>
                <a:gd name="T3" fmla="*/ 18 h 18"/>
                <a:gd name="T4" fmla="*/ 0 w 63"/>
                <a:gd name="T5" fmla="*/ 11 h 18"/>
                <a:gd name="T6" fmla="*/ 0 w 63"/>
                <a:gd name="T7" fmla="*/ 7 h 18"/>
                <a:gd name="T8" fmla="*/ 6 w 63"/>
                <a:gd name="T9" fmla="*/ 0 h 18"/>
                <a:gd name="T10" fmla="*/ 57 w 63"/>
                <a:gd name="T11" fmla="*/ 0 h 18"/>
                <a:gd name="T12" fmla="*/ 63 w 63"/>
                <a:gd name="T13" fmla="*/ 7 h 18"/>
                <a:gd name="T14" fmla="*/ 63 w 63"/>
                <a:gd name="T15" fmla="*/ 11 h 18"/>
                <a:gd name="T16" fmla="*/ 57 w 63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18">
                  <a:moveTo>
                    <a:pt x="57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3" y="18"/>
                    <a:pt x="0" y="15"/>
                    <a:pt x="0" y="1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0" y="0"/>
                    <a:pt x="63" y="3"/>
                    <a:pt x="63" y="7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5"/>
                    <a:pt x="60" y="18"/>
                    <a:pt x="57" y="18"/>
                  </a:cubicBezTo>
                  <a:close/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4" name="Oval 701">
              <a:extLst>
                <a:ext uri="{FF2B5EF4-FFF2-40B4-BE49-F238E27FC236}">
                  <a16:creationId xmlns:a16="http://schemas.microsoft.com/office/drawing/2014/main" id="{BF4B6012-7102-AAEB-FF58-6FCFCBE337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5650" y="6401265"/>
              <a:ext cx="61998" cy="61998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5" name="Oval 702">
              <a:extLst>
                <a:ext uri="{FF2B5EF4-FFF2-40B4-BE49-F238E27FC236}">
                  <a16:creationId xmlns:a16="http://schemas.microsoft.com/office/drawing/2014/main" id="{B7C8ED20-1A2A-1519-C185-C967FD28A9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3706" y="6401265"/>
              <a:ext cx="61998" cy="61998"/>
            </a:xfrm>
            <a:prstGeom prst="ellips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55A8A8A-3268-F25C-3FE7-D71CACADD59E}"/>
              </a:ext>
            </a:extLst>
          </p:cNvPr>
          <p:cNvGrpSpPr/>
          <p:nvPr/>
        </p:nvGrpSpPr>
        <p:grpSpPr>
          <a:xfrm>
            <a:off x="5754489" y="1448382"/>
            <a:ext cx="221387" cy="4852210"/>
            <a:chOff x="5754489" y="1448382"/>
            <a:chExt cx="221387" cy="4852210"/>
          </a:xfrm>
        </p:grpSpPr>
        <p:cxnSp>
          <p:nvCxnSpPr>
            <p:cNvPr id="737" name="Straight Connector 736">
              <a:extLst>
                <a:ext uri="{FF2B5EF4-FFF2-40B4-BE49-F238E27FC236}">
                  <a16:creationId xmlns:a16="http://schemas.microsoft.com/office/drawing/2014/main" id="{3E01CFAD-1AB3-1668-E63F-EBFCE9A30AED}"/>
                </a:ext>
              </a:extLst>
            </p:cNvPr>
            <p:cNvCxnSpPr>
              <a:cxnSpLocks/>
            </p:cNvCxnSpPr>
            <p:nvPr/>
          </p:nvCxnSpPr>
          <p:spPr>
            <a:xfrm>
              <a:off x="5778961" y="1448382"/>
              <a:ext cx="0" cy="485221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8" name="Triangle 737">
              <a:extLst>
                <a:ext uri="{FF2B5EF4-FFF2-40B4-BE49-F238E27FC236}">
                  <a16:creationId xmlns:a16="http://schemas.microsoft.com/office/drawing/2014/main" id="{F448A4A2-3951-E6AC-9070-E43CC381DF9C}"/>
                </a:ext>
              </a:extLst>
            </p:cNvPr>
            <p:cNvSpPr/>
            <p:nvPr/>
          </p:nvSpPr>
          <p:spPr>
            <a:xfrm rot="5400000">
              <a:off x="5508803" y="3763794"/>
              <a:ext cx="712759" cy="221387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92" name="Chart 191">
            <a:extLst>
              <a:ext uri="{FF2B5EF4-FFF2-40B4-BE49-F238E27FC236}">
                <a16:creationId xmlns:a16="http://schemas.microsoft.com/office/drawing/2014/main" id="{DD449AAD-689C-7AB3-2065-8E27FF2E0E1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518610"/>
              </p:ext>
            </p:extLst>
          </p:nvPr>
        </p:nvGraphicFramePr>
        <p:xfrm>
          <a:off x="1493196" y="1899930"/>
          <a:ext cx="3081338" cy="3532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B55B6274-D7CE-2B86-F0E9-D99463061031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H="1" flipV="1">
            <a:off x="1612259" y="3800167"/>
            <a:ext cx="57150" cy="69850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82FA05E3-9D19-0C8D-D101-30EE6BCE189A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H="1" flipV="1">
            <a:off x="1612259" y="4471680"/>
            <a:ext cx="57150" cy="69850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44B0F7DF-50B6-929D-8C37-1F695764043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H="1" flipV="1">
            <a:off x="1612259" y="5143192"/>
            <a:ext cx="57150" cy="69850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A7FE40F8-4C31-2C10-FFE2-97E1E65C480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51846" y="2222192"/>
            <a:ext cx="555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CF01BF-DA6E-4789-9708-FA5784B91F0C}" type="datetime'M''''''''''''i''n''''''''''''''i''''''''n''''g''*'''">
              <a:rPr lang="en-CA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ining*</a:t>
            </a:fld>
            <a:endParaRPr lang="en-CA" sz="1200" dirty="0"/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EA906B9A-DAF0-5D18-22DE-817BDCA16F5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875784" y="2893705"/>
            <a:ext cx="27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CA" altLang="en-US" sz="1400" dirty="0">
                <a:solidFill>
                  <a:schemeClr val="bg1"/>
                </a:solidFill>
                <a:effectLst/>
              </a:rPr>
              <a:t>2-5</a:t>
            </a:r>
            <a:endParaRPr lang="en-CA" sz="1400" dirty="0">
              <a:solidFill>
                <a:schemeClr val="bg1"/>
              </a:solidFill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911F1C58-A85D-7022-BA95-7A92279D405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896546" y="2222192"/>
            <a:ext cx="27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CA" altLang="en-US" sz="1400" dirty="0">
                <a:effectLst/>
              </a:rPr>
              <a:t>1-</a:t>
            </a:r>
            <a:fld id="{1437548C-6158-47A7-B014-01AB3212A989}" type="datetime'''''''''''''''''2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CA" sz="1400" dirty="0"/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CB252E67-63B8-8EBF-C057-70290099C44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88384" y="4236730"/>
            <a:ext cx="319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428E07-FA88-4761-9C76-B4E4F6B6AFC8}" type="datetime'''''''''CA''''''''''''''''''''''M'''">
              <a:rPr lang="en-CA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M</a:t>
            </a:fld>
            <a:endParaRPr lang="en-CA" sz="1200" dirty="0"/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ACAB412D-C856-2432-732D-DDCB00FF1CB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209409" y="2222192"/>
            <a:ext cx="27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CA" altLang="en-US" sz="1400" dirty="0">
                <a:solidFill>
                  <a:schemeClr val="bg1"/>
                </a:solidFill>
                <a:effectLst/>
              </a:rPr>
              <a:t>1-3</a:t>
            </a:r>
            <a:endParaRPr lang="en-CA" sz="1400" dirty="0">
              <a:solidFill>
                <a:schemeClr val="bg1"/>
              </a:solidFill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02292C15-CEB5-C78C-BC7D-0EDAE2557D0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407721" y="2222192"/>
            <a:ext cx="27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CA" altLang="en-US" sz="1400" dirty="0">
                <a:solidFill>
                  <a:schemeClr val="bg1"/>
                </a:solidFill>
                <a:effectLst/>
              </a:rPr>
              <a:t>2-</a:t>
            </a:r>
            <a:fld id="{4D19A36F-3B84-4A4F-8D73-89B1BB29A2A8}" type="datetime'''''''''''''''''''''''''''''''''''''''''''''''''5'''''''">
              <a:rPr lang="en-US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CA" sz="1400" dirty="0">
              <a:solidFill>
                <a:schemeClr val="bg1"/>
              </a:solidFill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0030BEB5-CFD7-C030-DFAF-499701AF3B4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06034" y="2222192"/>
            <a:ext cx="27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CA" altLang="en-US" sz="1400" dirty="0">
                <a:solidFill>
                  <a:schemeClr val="bg1"/>
                </a:solidFill>
                <a:effectLst/>
              </a:rPr>
              <a:t>1-</a:t>
            </a:r>
            <a:fld id="{AB30E5F7-F3FB-47E3-801C-93CFBE82857D}" type="datetime'''''''''''2'''''''''''''''''''''''''''''''''''''">
              <a:rPr lang="en-US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CA" sz="1400" dirty="0">
              <a:solidFill>
                <a:schemeClr val="bg1"/>
              </a:solidFill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9AB78549-62E3-EEF6-83B9-FD5AC35C98B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905946" y="2222192"/>
            <a:ext cx="360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CA" altLang="en-US" sz="1400" dirty="0">
                <a:effectLst/>
              </a:rPr>
              <a:t>7-14</a:t>
            </a:r>
            <a:endParaRPr lang="en-CA" sz="1400" dirty="0"/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87E3A86C-BE78-A185-C4F8-E7AE77E746B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543996" y="2893705"/>
            <a:ext cx="136525" cy="1920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5C402E-412B-4BAC-BAA1-4C263ECABA35}" type="datetime'''''''''1''''''''''''''''''''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CA" sz="1400" dirty="0"/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D6BBC74B-B949-3B05-5640-2348DCA0A8D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78809" y="2796867"/>
            <a:ext cx="7286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5AD98F-8560-4D79-A85F-8CC92C394891}" type="datetime'''''''''''''S''m''e''''l''ting  &#10;&amp; Re''f''''i''ni''n''''g'''''">
              <a:rPr lang="en-CA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melting  
&amp; Refining</a:t>
            </a:fld>
            <a:endParaRPr lang="en-CA" sz="1200" dirty="0"/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1C83E8BA-6EAA-9A94-D778-E6348F97316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91546" y="3565217"/>
            <a:ext cx="415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A85930-E865-4E6B-8433-E8109AE2C621}" type="datetime'''''p''''''''C''''''''''''A''''''M'''''''''''''''">
              <a:rPr lang="en-CA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CAM</a:t>
            </a:fld>
            <a:endParaRPr lang="en-CA" sz="1200" dirty="0"/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E610BA71-D5D2-CA15-5298-A87D9306A52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167884" y="4236730"/>
            <a:ext cx="2746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CA" altLang="en-US" sz="1400" dirty="0">
                <a:solidFill>
                  <a:schemeClr val="bg1"/>
                </a:solidFill>
              </a:rPr>
              <a:t>2-</a:t>
            </a:r>
            <a:fld id="{F47B5684-6CFA-4847-A00C-D9DCDF5ACE27}" type="datetime'''3'''''''''''''''''''''''''''">
              <a:rPr lang="en-US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CA" sz="1400" dirty="0">
              <a:solidFill>
                <a:schemeClr val="bg1"/>
              </a:solidFill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38A62D17-C8D6-5519-D084-08FCC420FC4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83596" y="4908242"/>
            <a:ext cx="5238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32D983-0DF0-491F-932D-9219997C1123}" type="datetime'B''''a''''tt''''e''''''r''''''''''''''''''''y'''">
              <a:rPr lang="en-CA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attery</a:t>
            </a:fld>
            <a:endParaRPr lang="en-CA" sz="1200" dirty="0"/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4F343CFD-598D-1122-9AC0-B412E35E93C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517384" y="2222192"/>
            <a:ext cx="222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98D57D-B731-4BCB-96DB-E384EF9445FF}" type="datetime'''''''''''''''''''''2''''''''''''''''0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CA" sz="1400" dirty="0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E86768AB-A44E-2D8F-4F38-61CDC71C467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987034" y="2893705"/>
            <a:ext cx="222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5C9D93-D0E1-41B4-B121-EECC0C6B7ED0}" type="datetime'''1''''''''''''''''''''''''''''''''0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CA" sz="1400" dirty="0"/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D4FCF3BD-3367-110D-B291-9B0A84F22E8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402834" y="3565217"/>
            <a:ext cx="136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37D9CA-B3FA-49D2-A74C-F1E0A774B597}" type="datetime'''''''''''''''''6''''''''''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CA" sz="1400" dirty="0"/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BBA1D6CC-FEB7-ECC4-A0F6-3B7DDD267A9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548884" y="4236730"/>
            <a:ext cx="136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A91F76-8780-46F9-80DD-31F80F14B98E}" type="datetime'''''''''7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CA" sz="1400" dirty="0"/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ED8D3D2E-F39F-8536-3811-73D17CF3449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548884" y="4908242"/>
            <a:ext cx="1365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CB5DCE-F1DF-4C03-B952-66404D988472}" type="datetime'''7''''''''''''''''''''''''''''''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CA" sz="1400" dirty="0"/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A62513DF-28DB-ED5E-ED0A-6D952DCCBEA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539359" y="588693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50DE414D-2F32-9F73-F81C-4BB01F3CC162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84513" y="5617060"/>
            <a:ext cx="250825" cy="187325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5A5562F4-9026-B829-231B-DA7555AFF74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84513" y="5871060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084A231A-2595-DCEE-4A86-31F65E385594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2539359" y="5632935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B9F2BB8F-558E-CEB6-924A-BF4EDBA4CD94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158650" y="561706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C399E372-BC71-FA45-8722-E75953812060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158650" y="5871060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200" dirty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4554DF7C-53E9-35D6-C972-54C8BCA9344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86138" y="5628172"/>
            <a:ext cx="827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8ABC63-C3E3-4B80-B203-8BB129755A51}" type="datetime'e''''''xp''''''''''''''''l''or''''''''a''''''ti''''o''''n'''">
              <a:rPr lang="en-CA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xploration</a:t>
            </a:fld>
            <a:endParaRPr lang="en-CA" sz="1200" dirty="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29B46618-9ED4-E7AA-C6E0-5F6A8869A43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840984" y="5644047"/>
            <a:ext cx="688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7A6C5A-DE48-45A9-A3E6-4539E71BD246}" type="datetime'f''''e''a''''si''bil''''''''''i''''''''''t''''''''y'''''">
              <a:rPr lang="en-CA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easibility</a:t>
            </a:fld>
            <a:endParaRPr lang="en-CA" sz="1200" dirty="0"/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56EFDE86-AC06-12B9-AF7A-528FF213A01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86138" y="5882172"/>
            <a:ext cx="928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0F882C-DDB1-4B4A-B374-642D4FCFEDD7}" type="datetime'pre''f''ea''''''''si''''b''i''''''''''''''l''it''''y'''''">
              <a:rPr lang="en-CA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refeasibility</a:t>
            </a:fld>
            <a:endParaRPr lang="en-CA" sz="1200" dirty="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6A8FE785-D726-2134-CA0B-73C25554570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840984" y="5898047"/>
            <a:ext cx="7604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925787-863B-4816-ABE1-91A5B17AF4CD}" type="datetime'''''''p''''''e''r''''''''m''''it''''''''t''''i''''''''ng'">
              <a:rPr lang="en-CA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rmitting</a:t>
            </a:fld>
            <a:endParaRPr lang="en-CA" sz="1200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FC932DA9-488F-BE51-8025-B69B87C8A38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460275" y="5628172"/>
            <a:ext cx="914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C0A96E-198E-48DA-AEEF-133F39946E9F}" type="datetime'''''''''''''''''''cons''tru''''c''''''t''''''''i''on'''''''''">
              <a:rPr lang="en-CA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nstruction</a:t>
            </a:fld>
            <a:endParaRPr lang="en-CA" sz="1200" dirty="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66238149-72C2-65B2-FDFE-2DFE9E61381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460275" y="5882172"/>
            <a:ext cx="630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tx2"/>
              </a:buClr>
              <a:buSzPct val="8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ABB849-571D-4970-8AC3-E0C8FA119F2D}" type="datetime'''''''''r''a''''''''''''''''''''m''''p''''''''-''''''''''u''p'">
              <a:rPr lang="en-CA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amp-up</a:t>
            </a:fld>
            <a:endParaRPr lang="en-CA" sz="12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212274-16D1-0838-7D88-37307A75DFD9}"/>
              </a:ext>
            </a:extLst>
          </p:cNvPr>
          <p:cNvSpPr/>
          <p:nvPr/>
        </p:nvSpPr>
        <p:spPr>
          <a:xfrm>
            <a:off x="479424" y="1457126"/>
            <a:ext cx="3552894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  <a:latin typeface="+mj-lt"/>
              </a:rPr>
              <a:t>Stage completion requirements</a:t>
            </a:r>
          </a:p>
        </p:txBody>
      </p:sp>
      <p:sp>
        <p:nvSpPr>
          <p:cNvPr id="8" name="Rectangle 51">
            <a:extLst>
              <a:ext uri="{FF2B5EF4-FFF2-40B4-BE49-F238E27FC236}">
                <a16:creationId xmlns:a16="http://schemas.microsoft.com/office/drawing/2014/main" id="{6F5BFAC5-A383-374F-FE6D-F0160A8627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340" y="6353540"/>
            <a:ext cx="7786761" cy="115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/>
          <a:lstStyle/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Source Hatch estimates</a:t>
            </a:r>
          </a:p>
          <a:p>
            <a:r>
              <a:rPr lang="en-US" sz="800" dirty="0">
                <a:solidFill>
                  <a:schemeClr val="tx2"/>
                </a:solidFill>
                <a:latin typeface="+mj-lt"/>
              </a:rPr>
              <a:t>Notes: *Implies the successful discovery and development of an economic mineral deposit.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E6E0E1F-48AE-0FB2-02DA-EB7A302F92A7}"/>
              </a:ext>
            </a:extLst>
          </p:cNvPr>
          <p:cNvSpPr/>
          <p:nvPr/>
        </p:nvSpPr>
        <p:spPr>
          <a:xfrm>
            <a:off x="4486790" y="1787137"/>
            <a:ext cx="88905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0" rIns="0" bIns="0" rtlCol="0" anchor="ctr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Years</a:t>
            </a:r>
          </a:p>
        </p:txBody>
      </p:sp>
    </p:spTree>
    <p:extLst>
      <p:ext uri="{BB962C8B-B14F-4D97-AF65-F5344CB8AC3E}">
        <p14:creationId xmlns:p14="http://schemas.microsoft.com/office/powerpoint/2010/main" val="3471101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49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2.48671222476797160184E+00&quot;&gt;&lt;m_msothmcolidx val=&quot;0&quot;/&gt;&lt;m_rgb r=&quot;00&quot; g=&quot;B0&quot; b=&quot;F0&quot;/&gt;&lt;/elem&gt;&lt;elem m_fUsage=&quot;2.14417603094959696719E+00&quot;&gt;&lt;m_msothmcolidx val=&quot;0&quot;/&gt;&lt;m_rgb r=&quot;B8&quot; g=&quot;73&quot; b=&quot;33&quot;/&gt;&lt;/elem&gt;&lt;elem m_fUsage=&quot;1.83388097728652499363E+00&quot;&gt;&lt;m_msothmcolidx val=&quot;0&quot;/&gt;&lt;m_rgb r=&quot;FF&quot; g=&quot;C0&quot; b=&quot;00&quot;/&gt;&lt;/elem&gt;&lt;elem m_fUsage=&quot;1.69230309107156973170E+00&quot;&gt;&lt;m_msothmcolidx val=&quot;0&quot;/&gt;&lt;m_rgb r=&quot;00&quot; g=&quot;B0&quot; b=&quot;50&quot;/&gt;&lt;/elem&gt;&lt;elem m_fUsage=&quot;3.87420489000000145552E-01&quot;&gt;&lt;m_msothmcolidx val=&quot;0&quot;/&gt;&lt;m_rgb r=&quot;69&quot; g=&quot;69&quot; b=&quot;69&quot;/&gt;&lt;/elem&gt;&lt;elem m_fUsage=&quot;3.64946250141171157910E-01&quot;&gt;&lt;m_msothmcolidx val=&quot;0&quot;/&gt;&lt;m_rgb r=&quot;00&quot; g=&quot;47&quot; b=&quot;AB&quot;/&gt;&lt;/elem&gt;&lt;elem m_fUsage=&quot;2.05891132094649098594E-01&quot;&gt;&lt;m_msothmcolidx val=&quot;0&quot;/&gt;&lt;m_rgb r=&quot;A0&quot; g=&quot;A0&quot; b=&quot;A0&quot;/&gt;&lt;/elem&gt;&lt;elem m_fUsage=&quot;1.66771816996665767086E-01&quot;&gt;&lt;m_msothmcolidx val=&quot;0&quot;/&gt;&lt;m_rgb r=&quot;D6&quot; g=&quot;DE&quot; b=&quot;E3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ntaFFUSBBsdZ74HBdgd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AVG57NJuJHFO7kdane4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H_PgBegIv7bLKqFxQ5e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RdvJXjVcFf_Z32G0moL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p5AEdq2qs4z7c_fGWL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LJRCXCDyGQ9KywIcCWN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AxRgTXsIQZchNYvRwbv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jg7a.i1mS0OUu3cP2h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HyUmDt4JHdJlcDvo5M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3xOmz7HuvMflDvQGYYi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meEiwoeMXoHaD5SDRq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ob9SLwfL78VgnbN6dFm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rnmDgVKIUVq5ZyyXdQ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2Lll7jF5HRBEAq3W.zD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eFty.FYqSS7cCh77MXD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seGkcrxlnoCsOFOyZO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QjVAoUkeQp8gxx8Px41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HgHGChj_YIP.NkWxGRN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n9drTjoUYOcAgSULta9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4qZJhBPQpxtGlMEF_6U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WBZbDNQzkhWKYSokgPo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lz8biKEdeWBzm6Y946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oZiFrSBUxi5cFRQztmg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gPS6FC4Z40TPOYjNhP7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vKOyhE5U378KKrYazIj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7brZok6xyinv7slbpYs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g6T23W53z0abGKq2OBq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2Y4vXBTt7U8FXwaASB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o2S4_R34syGs6dm0U3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VElTTF9VUXKrZhcRe2_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YinD3n6KRpVHdFO2R7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PkwWaBhUgO8DQI6Bp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9YmjCnvFIGyz.W1P2U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46JmuOJoZ8lPvfBKkfq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X2tpWhlKDPkXMonmFj5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KrIx59MSVfjMYDOrbr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GwmiWQq8ZC2ozIJv8mC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4BulN0et7eR0l1auwC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2n9DwoaZPhb6tiHJDrO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YxKe6i9lhKukLGSGka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19RQ0lMHVsHx_foD3v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hU.l0JbJrmRuApcDoS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ksU7Rj8hHJkriQz7e8C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jC.H4B9GABnlk2PGpT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FD7V6GnuypHQYwNo5EX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oHyvJ6yAk09RXUuC2S8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AVG57NJuJHFO7kdane4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H_PgBegIv7bLKqFxQ5e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RdvJXjVcFf_Z32G0moL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p5AEdq2qs4z7c_fGWLu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LJRCXCDyGQ9KywIcCWN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AxRgTXsIQZchNYvRwb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jg7a.i1mS0OUu3cP2h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HyUmDt4JHdJlcDvo5M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xUmwPcu8B0jAi.TkEf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3xOmz7HuvMflDvQGYYi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meEiwoeMXoHaD5SDRqH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wrnmDgVKIUVq5ZyyXdQ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2Lll7jF5HRBEAq3W.zD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eFty.FYqSS7cCh77MXD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HgHGChj_YIP.NkWxGRN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n9drTjoUYOcAgSULta9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4qZJhBPQpxtGlMEF_6U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WBZbDNQzkhWKYSokgPo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lz8biKEdeWBzm6Y946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G45IgGdnE0G7NG3Jbfk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gPS6FC4Z40TPOYjNhP7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vKOyhE5U378KKrYazI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7brZok6xyinv7slbpYs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g6T23W53z0abGKq2OBq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2Y4vXBTt7U8FXwaASB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o2S4_R34syGs6dm0U3a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FPkwWaBhUgO8DQI6Bp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9YmjCnvFIGyz.W1P2Uh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X2tpWhlKDPkXMonmFj5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.KrIx59MSVfjMYDOrb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fYy8sZj03ApX.ijYXjH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GwmiWQq8ZC2ozIJv8mC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4BulN0et7eR0l1auwCC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2n9DwoaZPhb6tiHJDrO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uHFCAPJPXarQy3tWGKC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Tm0gksiFXvjKoSwuy.m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YxKe6i9lhKukLGSGkaq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19RQ0lMHVsHx_foD3vq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hU.l0JbJrmRuApcDoS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ksU7Rj8hHJkriQz7e8C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jC.H4B9GABnlk2PGpT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S9LYmFdyhy_s5bogxZ_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oHyvJ6yAk09RXUuC2S8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.w1s07Gk8sfVkrVna94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UsfuWo08DsDHuIeG1x3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_mpuQoLxzGXvKc3QDxK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KA_hTq2rt_NHYnQwgce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jV9YKzIPRrxNoiSSHV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XFEMPacWQrPjA_QOSD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wxZCJk6cPn9KeQpmrqu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cavPMNMlMTX1OuRlHl_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VrVaVWONrD8k9YakKl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290quRyfsc_nodh3UX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3LzWzjnPyrzaUFqg11s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UOLSF33KtoPZJsmNw1a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imAipgyARHx0HpIA57i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GPaLzGw68jC5lRONSdE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se53Mw954SRvKacV.qg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al2qHeQFvmlls237iX1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CVri.EIPdeV2IjuzT7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NqzxOhPaO8fMtRnsGWP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Z2gUJYVbopxtDw1tnx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9mvvimSApaLoUcyRRd4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SxmiKxRT.jEoHhRmlp4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_z1pW.PgP0J_e7q3CBS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EdTj36DPr1ALtSLwIg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H0zs.3.RTvwg226bYDX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r0fyz.wME.05Hzc7TJ8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csrHSmFQ_AlCiH9DvP6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TvvSXxz1UtYXIGfmDk6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fbUOCj7KZCu2W9gqoe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5wQvPtKKhlOKpBEGV8u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7xr_C2K43KbdI5Zr6cm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BRxiqhxIc6P3wCwo8O3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I0d.fdplkHdblqoxnsP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XDbvDm2RsVlGIyFJNYk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ZcT_VNR9Qh39tGmjEuC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2yknKYXj4AEE48_c0N4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mlVR9AyA1iuXE4UKjW6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7Od1RM6Sh8ImsfFgiGu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Dg1LKwqe43JVa_W.8PM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aUGzZwIb0xdFB.Oh7E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TutLRDyIUARaMIB4oC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cyyjBScUsFy1XvTsjQ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P_4lyGK98PlzkC0sqB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lpLN1EOjrzTYWI9Vce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vfcvFcQtqjtdLQ.1hx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LOJ20bvSoPdbIAFi_8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ILXkgnhGytPppU24rL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ObUuDdIHYUjIRX7aeW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lQa6UBzFNMf0cHnfNT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TmdmyZ5F35To06To0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Rfu3CR8A396nD1Bbk44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nJnEnTVTdSysa7b0Jm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iLK5MhQOWokUOH5ci4P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Onh7G.2ck03fWqxyrH1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yJiyDxzyWj6cyEkCoZ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.qN0lHabHi5Q_fl1PJ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F4RJDjsMMAfacnbG9o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81FoMKstgQHeKmbw12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PMTco_PhgSWP72u7Js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IyhdZAXx1qQs5zZdfG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Fav9X0VzAnrTv6ABR9V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IdjakWBEHPGfFVIGPC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y_ax1UdT.JNUUuEGc3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MWxbct8rklAV3kJeBD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2JOSjuUOcqspOwto_C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coLnGeFyEuefXFkk9j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ty3EQVmPDSA7RacFX66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Qwg4ajDnIePTFRxy12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yUaOWs1m5DD82uzHnE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n5SX7PYpLsi9saV6sd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EZZHeHjHiZA5EHwZww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WyOLzTrHeBRSR_DSaA_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RMWbhayPz1Y_4h2QZmL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F5b0WemuWe1QDWCQy88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g4a7.oy.l5XEVMdHQ1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FJF.aLsqX7C.civFplO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Mx9SL2s6OLdu.UnQKv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OFWiO1CFA1U5fMMW2u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obrZbffGaXXkeYOglS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EUhsmfB6n_gd3KQnI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7lvx_dhNz2Nwo_ETOXr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Do4gvlCSZOOT6xMoO77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cseX4S7PgaeOfJsT2A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VxXZYHAk4aioTfDK7q3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zKHgtiX0eojU7cdEXv0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2L8.PNDJoldDjjhVcTR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3BoUWWaDI4btkUcQqN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IIUv3mOL.9ydR4QN60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zbpTbsgCPhJIg3tEe_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SbbbW9jX6niBzlI_Uj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XOINPYkIUbq_EjpYDe7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CIKr3jmLCHmitjGe9QK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2HreVey9P5N0u5JyRXa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yPyOIFd6w.mjK_9i4I_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gVqtxnXcy6E32_CcWIK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d1IrF4Tl05oqdpCrhX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5Bhhiww74nJFx.PSxP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6vO6ZXvJyM8D8tV6wG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DJJPDH.afwVX3UwMHj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MecEk4Iw2uTU2juPC5j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9ZW4qD9A5iaRSA3JrkW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SOyCP3vH7yoZqgCgvnk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6N8XyrhH6kQC9XVXRu2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B4tQ0zrbR2Nop.farl9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.1tr.xhluS198liqPaj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iazXZDiKSw9bx8ySLUW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0iyNg.EBgRTMJNa_l_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BItuYsM0M7zl.NbGeos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R1zUQGX94Nvs5CYPw3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_E_Ois_FPJZA5etJxmk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zO69j6zE.bRMKwVCB3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w9HtdamBF1T7pyYney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NBMIaKlNajlxb5ZHovj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WV_6LcfkwS7EKZPPMfK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0SWX_TATM0VGtcXI19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oqt8myCIZ9mh8.1ro1s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NMFz8Obr6dvPeBd526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hoXUJshj8fTF1xMtwl8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qMOQZPBuonpth6u2Vam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oursTheme">
  <a:themeElements>
    <a:clrScheme name="Custom 2">
      <a:dk1>
        <a:sysClr val="windowText" lastClr="000000"/>
      </a:dk1>
      <a:lt1>
        <a:sysClr val="window" lastClr="FFFFFF"/>
      </a:lt1>
      <a:dk2>
        <a:srgbClr val="425563"/>
      </a:dk2>
      <a:lt2>
        <a:srgbClr val="E7E6E6"/>
      </a:lt2>
      <a:accent1>
        <a:srgbClr val="E84B37"/>
      </a:accent1>
      <a:accent2>
        <a:srgbClr val="425563"/>
      </a:accent2>
      <a:accent3>
        <a:srgbClr val="A5A5A5"/>
      </a:accent3>
      <a:accent4>
        <a:srgbClr val="E1E000"/>
      </a:accent4>
      <a:accent5>
        <a:srgbClr val="595959"/>
      </a:accent5>
      <a:accent6>
        <a:srgbClr val="F5AFA5"/>
      </a:accent6>
      <a:hlink>
        <a:srgbClr val="5F7A8F"/>
      </a:hlink>
      <a:folHlink>
        <a:srgbClr val="0563C1"/>
      </a:folHlink>
    </a:clrScheme>
    <a:fontScheme name="Custom 1">
      <a:majorFont>
        <a:latin typeface="Source Sans Pro Light"/>
        <a:ea typeface=""/>
        <a:cs typeface=""/>
      </a:majorFont>
      <a:minorFont>
        <a:latin typeface="Source Sans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>
        <a:norm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-HATCH_EN1.pptx" id="{6CCDEA27-B22C-42D0-BC30-582D2C725518}" vid="{A5A09378-A6BE-434E-AF02-0CA430AC148D}"/>
    </a:ext>
  </a:extLst>
</a:theme>
</file>

<file path=ppt/theme/theme2.xml><?xml version="1.0" encoding="utf-8"?>
<a:theme xmlns:a="http://schemas.openxmlformats.org/drawingml/2006/main" name="Design Toolbars">
  <a:themeElements>
    <a:clrScheme name="Hatch">
      <a:dk1>
        <a:sysClr val="windowText" lastClr="000000"/>
      </a:dk1>
      <a:lt1>
        <a:sysClr val="window" lastClr="FFFFFF"/>
      </a:lt1>
      <a:dk2>
        <a:srgbClr val="425563"/>
      </a:dk2>
      <a:lt2>
        <a:srgbClr val="E7E6E6"/>
      </a:lt2>
      <a:accent1>
        <a:srgbClr val="E84B37"/>
      </a:accent1>
      <a:accent2>
        <a:srgbClr val="425563"/>
      </a:accent2>
      <a:accent3>
        <a:srgbClr val="A5A5A5"/>
      </a:accent3>
      <a:accent4>
        <a:srgbClr val="E1E000"/>
      </a:accent4>
      <a:accent5>
        <a:srgbClr val="595959"/>
      </a:accent5>
      <a:accent6>
        <a:srgbClr val="F5AFA5"/>
      </a:accent6>
      <a:hlink>
        <a:srgbClr val="000000"/>
      </a:hlink>
      <a:folHlink>
        <a:srgbClr val="E84B37"/>
      </a:folHlink>
    </a:clrScheme>
    <a:fontScheme name="Design Toolba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000" rIns="0" bIns="3600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atch Global Advisory_Design Toolbars_2022.potx" id="{9E755EE5-6300-4C8B-B395-D61095BD479C}" vid="{3298BD19-E7E9-46A4-A391-32BB024BFD1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ad6daf8-4891-4343-9ad1-51f8909a2b53">
      <UserInfo>
        <DisplayName>Raman, Aravind</DisplayName>
        <AccountId>175</AccountId>
        <AccountType/>
      </UserInfo>
      <UserInfo>
        <DisplayName>Lindgren, Mikael</DisplayName>
        <AccountId>176</AccountId>
        <AccountType/>
      </UserInfo>
      <UserInfo>
        <DisplayName>Vintinner, Amanda</DisplayName>
        <AccountId>179</AccountId>
        <AccountType/>
      </UserInfo>
      <UserInfo>
        <DisplayName>Tyulyakova, Anna</DisplayName>
        <AccountId>180</AccountId>
        <AccountType/>
      </UserInfo>
      <UserInfo>
        <DisplayName>Stevens, Gord</DisplayName>
        <AccountId>181</AccountId>
        <AccountType/>
      </UserInfo>
      <UserInfo>
        <DisplayName>Elder, John</DisplayName>
        <AccountId>185</AccountId>
        <AccountType/>
      </UserInfo>
      <UserInfo>
        <DisplayName>Rebmann, Markus</DisplayName>
        <AccountId>186</AccountId>
        <AccountType/>
      </UserInfo>
    </SharedWithUsers>
    <_activity xmlns="653234a8-c330-4bce-9903-919a8a28afd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90E41A5956D447B995B45587305125" ma:contentTypeVersion="12" ma:contentTypeDescription="Create a new document." ma:contentTypeScope="" ma:versionID="351fbf123c20adceab465a30e94bd812">
  <xsd:schema xmlns:xsd="http://www.w3.org/2001/XMLSchema" xmlns:xs="http://www.w3.org/2001/XMLSchema" xmlns:p="http://schemas.microsoft.com/office/2006/metadata/properties" xmlns:ns3="653234a8-c330-4bce-9903-919a8a28afda" xmlns:ns4="8ad6daf8-4891-4343-9ad1-51f8909a2b53" targetNamespace="http://schemas.microsoft.com/office/2006/metadata/properties" ma:root="true" ma:fieldsID="78423ac8f8c8ee7f5d9edf57e9d1c28e" ns3:_="" ns4:_="">
    <xsd:import namespace="653234a8-c330-4bce-9903-919a8a28afda"/>
    <xsd:import namespace="8ad6daf8-4891-4343-9ad1-51f8909a2b5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3234a8-c330-4bce-9903-919a8a28af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8" nillable="true" ma:displayName="_activity" ma:hidden="true" ma:internalName="_activity">
      <xsd:simpleType>
        <xsd:restriction base="dms:Note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d6daf8-4891-4343-9ad1-51f8909a2b5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8273241-2994-47D9-B32E-9939519C2D13}">
  <ds:schemaRefs>
    <ds:schemaRef ds:uri="653234a8-c330-4bce-9903-919a8a28afda"/>
    <ds:schemaRef ds:uri="8ad6daf8-4891-4343-9ad1-51f8909a2b5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16EB0DE-EC8E-41F7-A0DD-898382BFF40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43070D-595C-439A-94BF-EC4E265E2DFF}">
  <ds:schemaRefs>
    <ds:schemaRef ds:uri="653234a8-c330-4bce-9903-919a8a28afda"/>
    <ds:schemaRef ds:uri="8ad6daf8-4891-4343-9ad1-51f8909a2b5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2-02-09 - Presentation for Nutrien_v1</Template>
  <TotalTime>8278</TotalTime>
  <Words>1681</Words>
  <Application>Microsoft Office PowerPoint</Application>
  <PresentationFormat>Widescreen</PresentationFormat>
  <Paragraphs>560</Paragraphs>
  <Slides>1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Courier New</vt:lpstr>
      <vt:lpstr>Source Sans Pro</vt:lpstr>
      <vt:lpstr>Source Sans Pro Light</vt:lpstr>
      <vt:lpstr>coloursTheme</vt:lpstr>
      <vt:lpstr>Design Toolbars</vt:lpstr>
      <vt:lpstr>think-cell Slide</vt:lpstr>
      <vt:lpstr>PowerPoint Presentation</vt:lpstr>
      <vt:lpstr>Agenda</vt:lpstr>
      <vt:lpstr>Electric vehicle sales are forecast to grow faster than internal  combustion engine vehicles</vt:lpstr>
      <vt:lpstr>This pattern triggers a demand in lithium-ion batteries projected  to grow at a CAGR of 14% </vt:lpstr>
      <vt:lpstr>Consequently, the demand in battery metals is projected to grow at a CAGR of 24% </vt:lpstr>
      <vt:lpstr>Agenda</vt:lpstr>
      <vt:lpstr>Africa has a role to play in the battery metals market as it holds some  of the key ingredients for the LIB value chain</vt:lpstr>
      <vt:lpstr>Currently, the continent has established industrial centers where these metals and minerals are converted into intermediate and final products</vt:lpstr>
      <vt:lpstr>However, the surge in demand presents supply chain issues due to lead times associated with the value chain of the battery minerals </vt:lpstr>
      <vt:lpstr>There is an opportunity for the continent to reimagine its role in the  supply chain</vt:lpstr>
      <vt:lpstr>Example: the nickel flow sheet is quite complex – many paths to make BG Ni sulphate</vt:lpstr>
      <vt:lpstr>Hatch’s dissolver can short-cut the BG Ni sulphate production process while assuring product quality </vt:lpstr>
      <vt:lpstr>There is an opportunity to simplify the Lithium flowsheet and encourage local beneficiation</vt:lpstr>
      <vt:lpstr>Agenda</vt:lpstr>
      <vt:lpstr>Critical success factors </vt:lpstr>
      <vt:lpstr>Tailoring technologies and engaging the right global partners should not be an afterthought</vt:lpstr>
      <vt:lpstr>HATCH has the expertise to help you throughout your entire journey!</vt:lpstr>
      <vt:lpstr>Thank you</vt:lpstr>
    </vt:vector>
  </TitlesOfParts>
  <Company>RR Donnell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DAC Africa Potential for Battery Materials Value Chain</dc:title>
  <dc:creator>jan.pfeifer@hatch.com</dc:creator>
  <cp:lastModifiedBy>Chagwedera, Taona</cp:lastModifiedBy>
  <cp:revision>69</cp:revision>
  <dcterms:created xsi:type="dcterms:W3CDTF">2022-02-04T10:07:58Z</dcterms:created>
  <dcterms:modified xsi:type="dcterms:W3CDTF">2023-05-31T07:0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90E41A5956D447B995B45587305125</vt:lpwstr>
  </property>
  <property fmtid="{D5CDD505-2E9C-101B-9397-08002B2CF9AE}" pid="3" name="MediaServiceImageTags">
    <vt:lpwstr/>
  </property>
  <property fmtid="{D5CDD505-2E9C-101B-9397-08002B2CF9AE}" pid="4" name="MSIP_Label_7c98ae39-46ba-4546-97ad-51268fbc8dc3_Enabled">
    <vt:lpwstr>true</vt:lpwstr>
  </property>
  <property fmtid="{D5CDD505-2E9C-101B-9397-08002B2CF9AE}" pid="5" name="MSIP_Label_7c98ae39-46ba-4546-97ad-51268fbc8dc3_SetDate">
    <vt:lpwstr>2023-05-29T06:21:55Z</vt:lpwstr>
  </property>
  <property fmtid="{D5CDD505-2E9C-101B-9397-08002B2CF9AE}" pid="6" name="MSIP_Label_7c98ae39-46ba-4546-97ad-51268fbc8dc3_Method">
    <vt:lpwstr>Privileged</vt:lpwstr>
  </property>
  <property fmtid="{D5CDD505-2E9C-101B-9397-08002B2CF9AE}" pid="7" name="MSIP_Label_7c98ae39-46ba-4546-97ad-51268fbc8dc3_Name">
    <vt:lpwstr>7c98ae39-46ba-4546-97ad-51268fbc8dc3</vt:lpwstr>
  </property>
  <property fmtid="{D5CDD505-2E9C-101B-9397-08002B2CF9AE}" pid="8" name="MSIP_Label_7c98ae39-46ba-4546-97ad-51268fbc8dc3_SiteId">
    <vt:lpwstr>e354cba3-2efc-41cb-9647-b0588f9346ab</vt:lpwstr>
  </property>
  <property fmtid="{D5CDD505-2E9C-101B-9397-08002B2CF9AE}" pid="9" name="MSIP_Label_7c98ae39-46ba-4546-97ad-51268fbc8dc3_ActionId">
    <vt:lpwstr>652ddc9b-92fc-402d-b5ff-897df6416009</vt:lpwstr>
  </property>
  <property fmtid="{D5CDD505-2E9C-101B-9397-08002B2CF9AE}" pid="10" name="MSIP_Label_7c98ae39-46ba-4546-97ad-51268fbc8dc3_ContentBits">
    <vt:lpwstr>0</vt:lpwstr>
  </property>
</Properties>
</file>